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xlsx" ContentType="application/vnd.openxmlformats-officedocument.spreadsheetml.sheet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56" r:id="rId2"/>
    <p:sldId id="302" r:id="rId3"/>
    <p:sldId id="314" r:id="rId4"/>
    <p:sldId id="308" r:id="rId5"/>
    <p:sldId id="310" r:id="rId6"/>
    <p:sldId id="311" r:id="rId7"/>
    <p:sldId id="312" r:id="rId8"/>
  </p:sldIdLst>
  <p:sldSz cx="9906000" cy="6858000" type="A4"/>
  <p:notesSz cx="6794500" cy="9931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424242"/>
    <a:srgbClr val="CBE7B4"/>
    <a:srgbClr val="003E7E"/>
    <a:srgbClr val="73B73B"/>
    <a:srgbClr val="9ED373"/>
    <a:srgbClr val="6BAB37"/>
    <a:srgbClr val="7AC142"/>
    <a:srgbClr val="003EA0"/>
    <a:srgbClr val="003E3C"/>
    <a:srgbClr val="4E7C28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99" d="100"/>
          <a:sy n="99" d="100"/>
        </p:scale>
        <p:origin x="-90" y="-174"/>
      </p:cViewPr>
      <p:guideLst>
        <p:guide orient="horz" pos="239"/>
        <p:guide orient="horz" pos="2464"/>
        <p:guide orient="horz" pos="4094"/>
        <p:guide orient="horz" pos="1298"/>
        <p:guide orient="horz" pos="2727"/>
        <p:guide orient="horz" pos="3992"/>
        <p:guide pos="6002"/>
        <p:guide pos="241"/>
        <p:guide pos="4239"/>
        <p:guide pos="4345"/>
        <p:guide pos="2584"/>
        <p:guide pos="5154"/>
        <p:guide pos="570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6" d="100"/>
          <a:sy n="86" d="100"/>
        </p:scale>
        <p:origin x="-3042" y="-96"/>
      </p:cViewPr>
      <p:guideLst>
        <p:guide orient="horz" pos="3128"/>
        <p:guide pos="214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GB"/>
  <c:style val="4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solidFill>
                <a:schemeClr val="bg2"/>
              </a:solidFill>
            </a:ln>
          </c:spPr>
          <c:dLbls>
            <c:txPr>
              <a:bodyPr/>
              <a:lstStyle/>
              <a:p>
                <a:pPr>
                  <a:defRPr sz="1400" b="1">
                    <a:solidFill>
                      <a:srgbClr val="003E7E"/>
                    </a:solidFill>
                  </a:defRPr>
                </a:pPr>
                <a:endParaRPr lang="en-US"/>
              </a:p>
            </c:txPr>
            <c:showVal val="1"/>
            <c:showLeaderLines val="1"/>
          </c:dLbls>
          <c:cat>
            <c:strRef>
              <c:f>Sheet1!$A$2:$A$8</c:f>
              <c:strCache>
                <c:ptCount val="7"/>
                <c:pt idx="0">
                  <c:v>Foodservice</c:v>
                </c:pt>
                <c:pt idx="1">
                  <c:v>Grocery</c:v>
                </c:pt>
                <c:pt idx="2">
                  <c:v>Cleaning &amp; Hygiene</c:v>
                </c:pt>
                <c:pt idx="3">
                  <c:v>Non-Food Retail</c:v>
                </c:pt>
                <c:pt idx="4">
                  <c:v>Safety</c:v>
                </c:pt>
                <c:pt idx="5">
                  <c:v>Healthcare</c:v>
                </c:pt>
                <c:pt idx="6">
                  <c:v>Other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29000000000000026</c:v>
                </c:pt>
                <c:pt idx="1">
                  <c:v>0.27</c:v>
                </c:pt>
                <c:pt idx="2">
                  <c:v>0.12000000000000002</c:v>
                </c:pt>
                <c:pt idx="3">
                  <c:v>0.12000000000000002</c:v>
                </c:pt>
                <c:pt idx="4">
                  <c:v>0.1</c:v>
                </c:pt>
                <c:pt idx="5">
                  <c:v>7.0000000000000034E-2</c:v>
                </c:pt>
                <c:pt idx="6">
                  <c:v>3.0000000000000027E-2</c:v>
                </c:pt>
              </c:numCache>
            </c:numRef>
          </c:val>
        </c:ser>
        <c:firstSliceAng val="0"/>
        <c:holeSize val="51"/>
      </c:doughnutChart>
    </c:plotArea>
    <c:plotVisOnly val="1"/>
    <c:dispBlanksAs val="zero"/>
  </c:chart>
  <c:txPr>
    <a:bodyPr/>
    <a:lstStyle/>
    <a:p>
      <a:pPr>
        <a:defRPr sz="1800"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GB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tx>
          <c:cat>
            <c:strRef>
              <c:f>Sheet1!$B$1:$G$1</c:f>
              <c:strCache>
                <c:ptCount val="6"/>
                <c:pt idx="0">
                  <c:v>2008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strCache>
            </c:strRef>
          </c:cat>
          <c:val>
            <c:numRef>
              <c:f>Sheet1!$B$2:$G$2</c:f>
              <c:numCache>
                <c:formatCode>_-* #,##0_-;\-* #,##0_-;_-* "-"??_-;_-@_-</c:formatCode>
                <c:ptCount val="6"/>
                <c:pt idx="0">
                  <c:v>37403.273809523773</c:v>
                </c:pt>
                <c:pt idx="1">
                  <c:v>60564.338235294199</c:v>
                </c:pt>
                <c:pt idx="2">
                  <c:v>76616.791044776022</c:v>
                </c:pt>
                <c:pt idx="3">
                  <c:v>107831.29032258065</c:v>
                </c:pt>
                <c:pt idx="4">
                  <c:v>192013.34569767828</c:v>
                </c:pt>
                <c:pt idx="5">
                  <c:v>250000</c:v>
                </c:pt>
              </c:numCache>
            </c:numRef>
          </c:val>
        </c:ser>
        <c:gapWidth val="100"/>
        <c:overlap val="100"/>
        <c:axId val="212471168"/>
        <c:axId val="233867520"/>
      </c:barChart>
      <c:catAx>
        <c:axId val="212471168"/>
        <c:scaling>
          <c:orientation val="minMax"/>
        </c:scaling>
        <c:axPos val="b"/>
        <c:tickLblPos val="nextTo"/>
        <c:txPr>
          <a:bodyPr/>
          <a:lstStyle/>
          <a:p>
            <a:pPr>
              <a:defRPr sz="1000" b="1"/>
            </a:pPr>
            <a:endParaRPr lang="en-US"/>
          </a:p>
        </c:txPr>
        <c:crossAx val="233867520"/>
        <c:crosses val="autoZero"/>
        <c:auto val="1"/>
        <c:lblAlgn val="ctr"/>
        <c:lblOffset val="100"/>
      </c:catAx>
      <c:valAx>
        <c:axId val="233867520"/>
        <c:scaling>
          <c:orientation val="minMax"/>
        </c:scaling>
        <c:delete val="1"/>
        <c:axPos val="l"/>
        <c:numFmt formatCode="_-* #,##0_-;\-* #,##0_-;_-* &quot;-&quot;??_-;_-@_-" sourceLinked="1"/>
        <c:tickLblPos val="none"/>
        <c:crossAx val="21247116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10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05AAA8-C423-4FBE-9527-8284CF0811F7}" type="datetimeFigureOut">
              <a:rPr lang="en-GB" smtClean="0"/>
              <a:pPr/>
              <a:t>28/01/201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2925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100" y="9432925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FAFC05-4FF6-442C-A841-1C3B1FA1D6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7320580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D9B0DE-61F6-4D15-93AC-AE90127C44FA}" type="datetimeFigureOut">
              <a:rPr lang="en-GB" smtClean="0"/>
              <a:pPr/>
              <a:t>28/01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B2612B-3171-41AC-9E56-374A88D8E9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56187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B2612B-3171-41AC-9E56-374A88D8E948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2652698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u="sng" dirty="0" smtClean="0">
                <a:solidFill>
                  <a:srgbClr val="FF0000"/>
                </a:solidFill>
              </a:rPr>
              <a:t>Source</a:t>
            </a:r>
            <a:r>
              <a:rPr lang="en-GB" dirty="0" smtClean="0">
                <a:solidFill>
                  <a:srgbClr val="FF0000"/>
                </a:solidFill>
              </a:rPr>
              <a:t>: Prior year FY </a:t>
            </a:r>
            <a:r>
              <a:rPr lang="en-GB" smtClean="0">
                <a:solidFill>
                  <a:srgbClr val="FF0000"/>
                </a:solidFill>
              </a:rPr>
              <a:t>results presentation 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B2612B-3171-41AC-9E56-374A88D8E948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120859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B2612B-3171-41AC-9E56-374A88D8E948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78F968AE-36C6-4567-9D5D-548EB8CBE446}" type="datetime8">
              <a:rPr lang="en-GB" smtClean="0">
                <a:solidFill>
                  <a:prstClr val="black"/>
                </a:solidFill>
              </a:rPr>
              <a:pPr/>
              <a:t>28/01/2015 14:0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12339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jpe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image" Target="../media/image2.jpeg"/><Relationship Id="rId16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11" Type="http://schemas.openxmlformats.org/officeDocument/2006/relationships/image" Target="../media/image11.jpe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Relationship Id="rId14" Type="http://schemas.openxmlformats.org/officeDocument/2006/relationships/image" Target="../media/image1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jpeg"/><Relationship Id="rId4" Type="http://schemas.openxmlformats.org/officeDocument/2006/relationships/image" Target="../media/image17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jpeg"/><Relationship Id="rId5" Type="http://schemas.openxmlformats.org/officeDocument/2006/relationships/image" Target="../media/image6.jpeg"/><Relationship Id="rId4" Type="http://schemas.openxmlformats.org/officeDocument/2006/relationships/image" Target="../media/image7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78004" y="372549"/>
            <a:ext cx="3566883" cy="3539843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8004" y="384423"/>
            <a:ext cx="3556214" cy="2563645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9514" y="1691150"/>
            <a:ext cx="3565373" cy="1752600"/>
          </a:xfrm>
        </p:spPr>
        <p:txBody>
          <a:bodyPr/>
          <a:lstStyle>
            <a:lvl1pPr marL="0" indent="0" algn="l">
              <a:buNone/>
              <a:defRPr>
                <a:solidFill>
                  <a:srgbClr val="7AC14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45288" y="7317432"/>
            <a:ext cx="1170000" cy="184666"/>
          </a:xfrm>
        </p:spPr>
        <p:txBody>
          <a:bodyPr/>
          <a:lstStyle/>
          <a:p>
            <a:fld id="{CE61D91D-E06D-4025-8648-9480D974BDDF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0552" y="6957392"/>
            <a:ext cx="1611141" cy="153888"/>
          </a:xfrm>
        </p:spPr>
        <p:txBody>
          <a:bodyPr/>
          <a:lstStyle/>
          <a:p>
            <a:r>
              <a:rPr lang="en-GB" smtClean="0"/>
              <a:t>Business Case Stud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82639" y="7317432"/>
            <a:ext cx="585000" cy="184666"/>
          </a:xfrm>
        </p:spPr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AutoShape 3" descr="http://www.bunzlmediamanager.com/lightbox/gallery/Customers/A%20member%20of%20the%20NH%20Hotels%20team%20attends%20rooms%20using%20Bunzl%20supplied%20products.jp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1" name="AutoShape 6" descr="http://www.bunzlmediamanager.com/lightbox/gallery/Products/Bunzls%20safety%20glasses%20and%20hair%20net%20worn%20in%20the%20workplace.jpg"/>
          <p:cNvSpPr>
            <a:spLocks noChangeAspect="1" noChangeArrowheads="1"/>
          </p:cNvSpPr>
          <p:nvPr userDrawn="1"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2" name="AutoShape 8" descr="http://www.bunzlmediamanager.com/lightbox/gallery/Products/Bunzls%20safety%20glasses%20and%20hair%20net%20worn%20in%20the%20workplace.jpg"/>
          <p:cNvSpPr>
            <a:spLocks noChangeAspect="1" noChangeArrowheads="1"/>
          </p:cNvSpPr>
          <p:nvPr userDrawn="1"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4" name="AutoShape 10" descr="http://www.bunzlmediamanager.com/lightbox/gallery/Facilities/BNA%20Chicago%20Warehouse%20Technology,%20RF%20Radio%20Frequency%20scanning%20handset%20(2).jpg"/>
          <p:cNvSpPr>
            <a:spLocks noChangeAspect="1" noChangeArrowheads="1"/>
          </p:cNvSpPr>
          <p:nvPr userDrawn="1"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25" name="Picture 2" descr="N:\Group Accounts\Dept\Financial Planning and Analysis\Presentation template\Pictures\bmm_Non-food consumables, supplied to hotels, restaurants, contract caterers, food processors and the leisure sector (3)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8778" r="6640" b="18778"/>
          <a:stretch/>
        </p:blipFill>
        <p:spPr bwMode="auto">
          <a:xfrm>
            <a:off x="5510014" y="5229200"/>
            <a:ext cx="1243186" cy="1245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N:\Group Accounts\Dept\Financial Planning and Analysis\Presentation template\Pictures\Disposable healthcare consumables supplied to the_healthcare sector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3920" t="-510" r="11679" b="510"/>
          <a:stretch/>
        </p:blipFill>
        <p:spPr bwMode="auto">
          <a:xfrm>
            <a:off x="8067675" y="372548"/>
            <a:ext cx="1460500" cy="150903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6308" y="2707197"/>
            <a:ext cx="1217801" cy="1188325"/>
          </a:xfrm>
          <a:prstGeom prst="rect">
            <a:avLst/>
          </a:prstGeom>
        </p:spPr>
      </p:pic>
      <p:pic>
        <p:nvPicPr>
          <p:cNvPr id="29" name="Picture 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59" y="2020016"/>
            <a:ext cx="3135015" cy="3045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2121" b="20866"/>
          <a:stretch/>
        </p:blipFill>
        <p:spPr>
          <a:xfrm>
            <a:off x="5503509" y="4332641"/>
            <a:ext cx="729031" cy="732818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8320" t="9781"/>
          <a:stretch/>
        </p:blipFill>
        <p:spPr>
          <a:xfrm>
            <a:off x="6890761" y="5221400"/>
            <a:ext cx="1277292" cy="1245175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23782"/>
          <a:stretch/>
        </p:blipFill>
        <p:spPr>
          <a:xfrm>
            <a:off x="5514492" y="2707197"/>
            <a:ext cx="730262" cy="734645"/>
          </a:xfrm>
          <a:prstGeom prst="rect">
            <a:avLst/>
          </a:prstGeom>
        </p:spPr>
      </p:pic>
      <p:pic>
        <p:nvPicPr>
          <p:cNvPr id="34" name="Picture 2" descr="N:\Group Accounts\Dept\13YE\Investor presentations\presentation pictures\140118_Bunzl_day2_888_RT .jpg"/>
          <p:cNvPicPr>
            <a:picLocks noChangeAspect="1" noChangeArrowheads="1"/>
          </p:cNvPicPr>
          <p:nvPr userDrawn="1"/>
        </p:nvPicPr>
        <p:blipFill rotWithShape="1">
          <a:blip r:embed="rId9" cstate="print"/>
          <a:srcRect l="31758" t="5853" r="24735" b="29027"/>
          <a:stretch/>
        </p:blipFill>
        <p:spPr bwMode="auto">
          <a:xfrm>
            <a:off x="6393159" y="2020016"/>
            <a:ext cx="3135015" cy="3045443"/>
          </a:xfrm>
          <a:prstGeom prst="rect">
            <a:avLst/>
          </a:prstGeom>
          <a:noFill/>
        </p:spPr>
      </p:pic>
      <p:pic>
        <p:nvPicPr>
          <p:cNvPr id="35" name="Picture 2" descr="N:\Group Accounts\Dept\Presentations\Business case\Pictures\Own brand Metro Cup coffee cups supplied by Bunzl Catering Supplies (1).jpg"/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398" t="-5649" r="8935" b="5649"/>
          <a:stretch/>
        </p:blipFill>
        <p:spPr bwMode="auto">
          <a:xfrm>
            <a:off x="5506690" y="3508372"/>
            <a:ext cx="727854" cy="7308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5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1244"/>
          <a:stretch/>
        </p:blipFill>
        <p:spPr>
          <a:xfrm>
            <a:off x="6393159" y="380247"/>
            <a:ext cx="1529996" cy="1501341"/>
          </a:xfrm>
          <a:prstGeom prst="rect">
            <a:avLst/>
          </a:prstGeom>
        </p:spPr>
      </p:pic>
      <p:pic>
        <p:nvPicPr>
          <p:cNvPr id="37" name="Picture 2" descr="N:\Group Accounts\Dept\Financial Planning and Analysis\Presentation template\Pictures\Goods not for resale supplied to grocery stores, supermarkets and retail chains.jpg"/>
          <p:cNvPicPr>
            <a:picLocks noChangeAspect="1" noChangeArrowheads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" b="32186"/>
          <a:stretch/>
        </p:blipFill>
        <p:spPr bwMode="auto">
          <a:xfrm>
            <a:off x="4116309" y="380247"/>
            <a:ext cx="2116231" cy="215260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" descr="N:\Group Accounts\Dept\Financial Planning and Analysis\Presentation template\Pictures\Goods being picked at the FoodHandler warehouse  in Charleston, USA (1).jpg"/>
          <p:cNvPicPr>
            <a:picLocks noChangeAspect="1" noChangeArrowheads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065" t="28256" r="38004" b="21541"/>
          <a:stretch/>
        </p:blipFill>
        <p:spPr bwMode="auto">
          <a:xfrm>
            <a:off x="8287879" y="5221400"/>
            <a:ext cx="1240295" cy="12451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7023" t="488" r="16563"/>
          <a:stretch/>
        </p:blipFill>
        <p:spPr>
          <a:xfrm>
            <a:off x="2943365" y="4076593"/>
            <a:ext cx="2393449" cy="2389983"/>
          </a:xfrm>
          <a:prstGeom prst="rect">
            <a:avLst/>
          </a:prstGeom>
        </p:spPr>
      </p:pic>
      <p:pic>
        <p:nvPicPr>
          <p:cNvPr id="40" name="Picture 3"/>
          <p:cNvPicPr>
            <a:picLocks noChangeAspect="1" noChangeArrowheads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4332" t="14644" r="7572" b="27078"/>
          <a:stretch/>
        </p:blipFill>
        <p:spPr bwMode="auto">
          <a:xfrm>
            <a:off x="378004" y="4076594"/>
            <a:ext cx="2408536" cy="2389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3" descr="N:\Group Accounts\Dept\13YE\Investor presentations\presentation pictures\140205_Bunzl_day_6_295 colour.jpg"/>
          <p:cNvPicPr>
            <a:picLocks noChangeAspect="1" noChangeArrowheads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9522" t="25572" r="19640" b="13672"/>
          <a:stretch/>
        </p:blipFill>
        <p:spPr bwMode="auto">
          <a:xfrm>
            <a:off x="378005" y="4076594"/>
            <a:ext cx="2408536" cy="23899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4672703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8000" y="399600"/>
            <a:ext cx="1972800" cy="1958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6736" y="404664"/>
            <a:ext cx="3276000" cy="2880000"/>
          </a:xfrm>
        </p:spPr>
        <p:txBody>
          <a:bodyPr>
            <a:normAutofit/>
          </a:bodyPr>
          <a:lstStyle>
            <a:lvl1pPr marL="179388" indent="-179388">
              <a:defRPr sz="1400">
                <a:solidFill>
                  <a:srgbClr val="424242"/>
                </a:solidFill>
              </a:defRPr>
            </a:lvl1pPr>
            <a:lvl2pPr marL="419100" indent="-234950">
              <a:defRPr sz="1400">
                <a:solidFill>
                  <a:srgbClr val="424242"/>
                </a:solidFill>
              </a:defRPr>
            </a:lvl2pPr>
            <a:lvl3pPr marL="641350" indent="-222250">
              <a:buClr>
                <a:srgbClr val="7AC142"/>
              </a:buClr>
              <a:defRPr sz="1400">
                <a:solidFill>
                  <a:srgbClr val="424242"/>
                </a:solidFill>
              </a:defRPr>
            </a:lvl3pPr>
            <a:lvl4pPr marL="882650" indent="-228600">
              <a:defRPr sz="1400">
                <a:solidFill>
                  <a:srgbClr val="424242"/>
                </a:solidFill>
              </a:defRPr>
            </a:lvl4pPr>
            <a:lvl5pPr marL="1116013" indent="-228600">
              <a:defRPr sz="1400">
                <a:solidFill>
                  <a:srgbClr val="42424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661ED6-251D-4D20-A610-F420A719F468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2"/>
          <p:cNvSpPr>
            <a:spLocks noGrp="1"/>
          </p:cNvSpPr>
          <p:nvPr>
            <p:ph sz="half" idx="16"/>
          </p:nvPr>
        </p:nvSpPr>
        <p:spPr>
          <a:xfrm>
            <a:off x="6249144" y="404664"/>
            <a:ext cx="3276000" cy="2880000"/>
          </a:xfrm>
        </p:spPr>
        <p:txBody>
          <a:bodyPr>
            <a:normAutofit/>
          </a:bodyPr>
          <a:lstStyle>
            <a:lvl1pPr marL="179388" indent="-179388">
              <a:defRPr sz="1400">
                <a:solidFill>
                  <a:srgbClr val="424242"/>
                </a:solidFill>
              </a:defRPr>
            </a:lvl1pPr>
            <a:lvl2pPr marL="419100" indent="-234950">
              <a:defRPr sz="1400">
                <a:solidFill>
                  <a:srgbClr val="424242"/>
                </a:solidFill>
              </a:defRPr>
            </a:lvl2pPr>
            <a:lvl3pPr marL="641350" indent="-222250">
              <a:buClr>
                <a:srgbClr val="7AC142"/>
              </a:buClr>
              <a:defRPr sz="1400">
                <a:solidFill>
                  <a:srgbClr val="424242"/>
                </a:solidFill>
              </a:defRPr>
            </a:lvl3pPr>
            <a:lvl4pPr marL="882650" indent="-228600">
              <a:defRPr sz="1400">
                <a:solidFill>
                  <a:srgbClr val="424242"/>
                </a:solidFill>
              </a:defRPr>
            </a:lvl4pPr>
            <a:lvl5pPr marL="1116013" indent="-228600">
              <a:defRPr sz="1400">
                <a:solidFill>
                  <a:srgbClr val="42424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2576736" y="3573336"/>
            <a:ext cx="3276000" cy="2880000"/>
          </a:xfrm>
        </p:spPr>
        <p:txBody>
          <a:bodyPr>
            <a:normAutofit/>
          </a:bodyPr>
          <a:lstStyle>
            <a:lvl1pPr marL="179388" indent="-179388">
              <a:defRPr sz="1400">
                <a:solidFill>
                  <a:srgbClr val="424242"/>
                </a:solidFill>
              </a:defRPr>
            </a:lvl1pPr>
            <a:lvl2pPr marL="419100" indent="-234950">
              <a:defRPr sz="1400">
                <a:solidFill>
                  <a:srgbClr val="424242"/>
                </a:solidFill>
              </a:defRPr>
            </a:lvl2pPr>
            <a:lvl3pPr marL="641350" indent="-222250">
              <a:buClr>
                <a:srgbClr val="7AC142"/>
              </a:buClr>
              <a:defRPr sz="1400">
                <a:solidFill>
                  <a:srgbClr val="424242"/>
                </a:solidFill>
              </a:defRPr>
            </a:lvl3pPr>
            <a:lvl4pPr marL="882650" indent="-228600">
              <a:defRPr sz="1400">
                <a:solidFill>
                  <a:srgbClr val="424242"/>
                </a:solidFill>
              </a:defRPr>
            </a:lvl4pPr>
            <a:lvl5pPr marL="1116013" indent="-228600">
              <a:defRPr sz="1400">
                <a:solidFill>
                  <a:srgbClr val="42424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8"/>
          </p:nvPr>
        </p:nvSpPr>
        <p:spPr>
          <a:xfrm>
            <a:off x="6249144" y="3573336"/>
            <a:ext cx="3276000" cy="2880000"/>
          </a:xfrm>
        </p:spPr>
        <p:txBody>
          <a:bodyPr>
            <a:normAutofit/>
          </a:bodyPr>
          <a:lstStyle>
            <a:lvl1pPr marL="179388" indent="-179388">
              <a:defRPr sz="1400">
                <a:solidFill>
                  <a:srgbClr val="424242"/>
                </a:solidFill>
              </a:defRPr>
            </a:lvl1pPr>
            <a:lvl2pPr marL="419100" indent="-234950">
              <a:defRPr sz="1400">
                <a:solidFill>
                  <a:srgbClr val="424242"/>
                </a:solidFill>
              </a:defRPr>
            </a:lvl2pPr>
            <a:lvl3pPr marL="641350" indent="-222250">
              <a:buClr>
                <a:srgbClr val="7AC142"/>
              </a:buClr>
              <a:defRPr sz="1400">
                <a:solidFill>
                  <a:srgbClr val="424242"/>
                </a:solidFill>
              </a:defRPr>
            </a:lvl3pPr>
            <a:lvl4pPr marL="882650" indent="-228600">
              <a:defRPr sz="1400">
                <a:solidFill>
                  <a:srgbClr val="424242"/>
                </a:solidFill>
              </a:defRPr>
            </a:lvl4pPr>
            <a:lvl5pPr marL="1116013" indent="-228600">
              <a:defRPr sz="1400">
                <a:solidFill>
                  <a:srgbClr val="42424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77740" y="2492896"/>
            <a:ext cx="1972800" cy="3240088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rgbClr val="003E7E"/>
                </a:solidFill>
              </a:defRPr>
            </a:lvl1pPr>
            <a:lvl2pPr marL="182563" indent="-182563">
              <a:buFont typeface="Wingdings" panose="05000000000000000000" pitchFamily="2" charset="2"/>
              <a:buChar char="§"/>
              <a:defRPr sz="1600" b="1">
                <a:solidFill>
                  <a:srgbClr val="003E7E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36804342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673" y="399600"/>
            <a:ext cx="1972039" cy="194421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1850EB-AE6D-4CAE-96BD-DE77DF6C138E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3"/>
          </p:nvPr>
        </p:nvSpPr>
        <p:spPr>
          <a:xfrm>
            <a:off x="2720752" y="907132"/>
            <a:ext cx="3206494" cy="241200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720752" y="573408"/>
            <a:ext cx="3206494" cy="25200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hart Placeholder 10"/>
          <p:cNvSpPr>
            <a:spLocks noGrp="1"/>
          </p:cNvSpPr>
          <p:nvPr>
            <p:ph type="chart" sz="quarter" idx="15"/>
          </p:nvPr>
        </p:nvSpPr>
        <p:spPr>
          <a:xfrm>
            <a:off x="2720752" y="3906740"/>
            <a:ext cx="3206494" cy="241200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2720752" y="3573016"/>
            <a:ext cx="3206494" cy="25200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hart Placeholder 10"/>
          <p:cNvSpPr>
            <a:spLocks noGrp="1"/>
          </p:cNvSpPr>
          <p:nvPr>
            <p:ph type="chart" sz="quarter" idx="17"/>
          </p:nvPr>
        </p:nvSpPr>
        <p:spPr>
          <a:xfrm>
            <a:off x="6177136" y="908720"/>
            <a:ext cx="3206494" cy="241200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177136" y="573408"/>
            <a:ext cx="3206494" cy="25200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Chart Placeholder 10"/>
          <p:cNvSpPr>
            <a:spLocks noGrp="1"/>
          </p:cNvSpPr>
          <p:nvPr>
            <p:ph type="chart" sz="quarter" idx="19"/>
          </p:nvPr>
        </p:nvSpPr>
        <p:spPr>
          <a:xfrm>
            <a:off x="6177136" y="3908328"/>
            <a:ext cx="3206494" cy="241200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177136" y="3573016"/>
            <a:ext cx="3206494" cy="252000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377740" y="2492896"/>
            <a:ext cx="1972800" cy="3240088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rgbClr val="003E7E"/>
                </a:solidFill>
              </a:defRPr>
            </a:lvl1pPr>
            <a:lvl2pPr marL="182563" indent="-182563">
              <a:buFont typeface="Wingdings" panose="05000000000000000000" pitchFamily="2" charset="2"/>
              <a:buChar char="§"/>
              <a:defRPr sz="1600" b="1">
                <a:solidFill>
                  <a:srgbClr val="003E7E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26959488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8000" y="399600"/>
            <a:ext cx="1972800" cy="1958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6736" y="356739"/>
            <a:ext cx="3276000" cy="6096596"/>
          </a:xfrm>
        </p:spPr>
        <p:txBody>
          <a:bodyPr>
            <a:normAutofit/>
          </a:bodyPr>
          <a:lstStyle>
            <a:lvl1pPr>
              <a:buClr>
                <a:srgbClr val="7AC142"/>
              </a:buClr>
              <a:defRPr sz="1800">
                <a:solidFill>
                  <a:srgbClr val="424242"/>
                </a:solidFill>
              </a:defRPr>
            </a:lvl1pPr>
            <a:lvl2pPr>
              <a:defRPr sz="1800">
                <a:solidFill>
                  <a:srgbClr val="424242"/>
                </a:solidFill>
              </a:defRPr>
            </a:lvl2pPr>
            <a:lvl3pPr>
              <a:defRPr sz="1800">
                <a:solidFill>
                  <a:srgbClr val="424242"/>
                </a:solidFill>
              </a:defRPr>
            </a:lvl3pPr>
            <a:lvl4pPr>
              <a:defRPr sz="1800">
                <a:solidFill>
                  <a:srgbClr val="424242"/>
                </a:solidFill>
              </a:defRPr>
            </a:lvl4pPr>
            <a:lvl5pPr>
              <a:defRPr sz="1800">
                <a:solidFill>
                  <a:srgbClr val="42424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6E676C-2E3B-4216-BB79-3689984781A7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sz="half" idx="16"/>
          </p:nvPr>
        </p:nvSpPr>
        <p:spPr>
          <a:xfrm>
            <a:off x="6249144" y="404664"/>
            <a:ext cx="3276000" cy="2880000"/>
          </a:xfrm>
        </p:spPr>
        <p:txBody>
          <a:bodyPr>
            <a:normAutofit/>
          </a:bodyPr>
          <a:lstStyle>
            <a:lvl1pPr marL="179388" indent="-179388">
              <a:defRPr sz="1400">
                <a:solidFill>
                  <a:srgbClr val="424242"/>
                </a:solidFill>
              </a:defRPr>
            </a:lvl1pPr>
            <a:lvl2pPr marL="419100" indent="-234950">
              <a:defRPr sz="1400">
                <a:solidFill>
                  <a:srgbClr val="424242"/>
                </a:solidFill>
              </a:defRPr>
            </a:lvl2pPr>
            <a:lvl3pPr marL="641350" indent="-222250">
              <a:buClr>
                <a:srgbClr val="7AC142"/>
              </a:buClr>
              <a:defRPr sz="1400">
                <a:solidFill>
                  <a:srgbClr val="424242"/>
                </a:solidFill>
              </a:defRPr>
            </a:lvl3pPr>
            <a:lvl4pPr marL="882650" indent="-228600">
              <a:defRPr sz="1400">
                <a:solidFill>
                  <a:srgbClr val="424242"/>
                </a:solidFill>
              </a:defRPr>
            </a:lvl4pPr>
            <a:lvl5pPr marL="1116013" indent="-228600">
              <a:defRPr sz="1400">
                <a:solidFill>
                  <a:srgbClr val="42424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8"/>
          </p:nvPr>
        </p:nvSpPr>
        <p:spPr>
          <a:xfrm>
            <a:off x="6249144" y="3573336"/>
            <a:ext cx="3276000" cy="2880000"/>
          </a:xfrm>
        </p:spPr>
        <p:txBody>
          <a:bodyPr>
            <a:normAutofit/>
          </a:bodyPr>
          <a:lstStyle>
            <a:lvl1pPr marL="179388" indent="-179388">
              <a:defRPr sz="1400">
                <a:solidFill>
                  <a:srgbClr val="424242"/>
                </a:solidFill>
              </a:defRPr>
            </a:lvl1pPr>
            <a:lvl2pPr marL="419100" indent="-234950">
              <a:defRPr sz="1400">
                <a:solidFill>
                  <a:srgbClr val="424242"/>
                </a:solidFill>
              </a:defRPr>
            </a:lvl2pPr>
            <a:lvl3pPr marL="641350" indent="-222250">
              <a:buClr>
                <a:srgbClr val="7AC142"/>
              </a:buClr>
              <a:defRPr sz="1400">
                <a:solidFill>
                  <a:srgbClr val="424242"/>
                </a:solidFill>
              </a:defRPr>
            </a:lvl3pPr>
            <a:lvl4pPr marL="882650" indent="-228600">
              <a:defRPr sz="1400">
                <a:solidFill>
                  <a:srgbClr val="424242"/>
                </a:solidFill>
              </a:defRPr>
            </a:lvl4pPr>
            <a:lvl5pPr marL="1116013" indent="-228600">
              <a:defRPr sz="1400">
                <a:solidFill>
                  <a:srgbClr val="42424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77740" y="2492896"/>
            <a:ext cx="1972800" cy="3240088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rgbClr val="003E7E"/>
                </a:solidFill>
              </a:defRPr>
            </a:lvl1pPr>
            <a:lvl2pPr marL="182563" indent="-182563">
              <a:buFont typeface="Wingdings" panose="05000000000000000000" pitchFamily="2" charset="2"/>
              <a:buChar char="§"/>
              <a:defRPr sz="1600" b="1">
                <a:solidFill>
                  <a:srgbClr val="003E7E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17470350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Text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673" y="404664"/>
            <a:ext cx="1972039" cy="194421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964C50-FCF7-44CD-B6DD-3FC07B6D9506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2576513" y="404812"/>
            <a:ext cx="6912000" cy="2952000"/>
          </a:xfrm>
        </p:spPr>
        <p:txBody>
          <a:bodyPr/>
          <a:lstStyle>
            <a:lvl1pPr>
              <a:defRPr>
                <a:solidFill>
                  <a:srgbClr val="424242"/>
                </a:solidFill>
              </a:defRPr>
            </a:lvl1pPr>
            <a:lvl2pPr>
              <a:defRPr>
                <a:solidFill>
                  <a:srgbClr val="424242"/>
                </a:solidFill>
              </a:defRPr>
            </a:lvl2pPr>
            <a:lvl3pPr>
              <a:buClr>
                <a:srgbClr val="7AC142"/>
              </a:buClr>
              <a:defRPr>
                <a:solidFill>
                  <a:srgbClr val="424242"/>
                </a:solidFill>
              </a:defRPr>
            </a:lvl3pPr>
            <a:lvl4pPr>
              <a:defRPr>
                <a:solidFill>
                  <a:srgbClr val="424242"/>
                </a:solidFill>
              </a:defRPr>
            </a:lvl4pPr>
            <a:lvl5pPr>
              <a:defRPr>
                <a:solidFill>
                  <a:srgbClr val="42424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4"/>
          </p:nvPr>
        </p:nvSpPr>
        <p:spPr>
          <a:xfrm>
            <a:off x="2576513" y="3501008"/>
            <a:ext cx="6912000" cy="2952000"/>
          </a:xfrm>
        </p:spPr>
        <p:txBody>
          <a:bodyPr/>
          <a:lstStyle>
            <a:lvl1pPr>
              <a:defRPr>
                <a:solidFill>
                  <a:srgbClr val="424242"/>
                </a:solidFill>
              </a:defRPr>
            </a:lvl1pPr>
            <a:lvl2pPr>
              <a:buClr>
                <a:srgbClr val="7AC142"/>
              </a:buClr>
              <a:defRPr>
                <a:solidFill>
                  <a:srgbClr val="424242"/>
                </a:solidFill>
              </a:defRPr>
            </a:lvl2pPr>
            <a:lvl3pPr>
              <a:defRPr>
                <a:solidFill>
                  <a:srgbClr val="424242"/>
                </a:solidFill>
              </a:defRPr>
            </a:lvl3pPr>
            <a:lvl4pPr>
              <a:defRPr>
                <a:solidFill>
                  <a:srgbClr val="424242"/>
                </a:solidFill>
              </a:defRPr>
            </a:lvl4pPr>
            <a:lvl5pPr>
              <a:defRPr>
                <a:solidFill>
                  <a:srgbClr val="42424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40" y="2492896"/>
            <a:ext cx="1972800" cy="3240088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rgbClr val="003E7E"/>
                </a:solidFill>
              </a:defRPr>
            </a:lvl1pPr>
            <a:lvl2pPr marL="182563" indent="-182563">
              <a:buFont typeface="Wingdings" panose="05000000000000000000" pitchFamily="2" charset="2"/>
              <a:buChar char="§"/>
              <a:defRPr sz="1600" b="1">
                <a:solidFill>
                  <a:srgbClr val="003E7E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8354727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4670A7-2FD9-4B3D-AAD0-3658B38164E7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77740" y="2492896"/>
            <a:ext cx="1972800" cy="3240088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rgbClr val="003E7E"/>
                </a:solidFill>
              </a:defRPr>
            </a:lvl1pPr>
            <a:lvl2pPr marL="182563" indent="-182563">
              <a:buFont typeface="Wingdings" panose="05000000000000000000" pitchFamily="2" charset="2"/>
              <a:buChar char="§"/>
              <a:defRPr sz="1600" b="1">
                <a:solidFill>
                  <a:srgbClr val="003E7E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18672351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719" y="379413"/>
            <a:ext cx="2021729" cy="1972796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2576736" y="379413"/>
            <a:ext cx="6951439" cy="61182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28336D-91E2-4A16-AAC1-125106AE18C1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72880" y="1471192"/>
            <a:ext cx="4380310" cy="21585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 smtClean="0"/>
              <a:t>Click to edit Nam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72880" y="1759050"/>
            <a:ext cx="4380310" cy="21585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 smtClean="0"/>
              <a:t>Click to edit Job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872880" y="2119090"/>
            <a:ext cx="4380310" cy="215850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 smtClean="0"/>
              <a:t>Click to edit Tel Number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872880" y="2390204"/>
            <a:ext cx="4380310" cy="215850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pPr lvl="0"/>
            <a:r>
              <a:rPr lang="en-US" dirty="0" smtClean="0"/>
              <a:t>Click to edit email address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872880" y="2780928"/>
            <a:ext cx="4380310" cy="263361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/>
            </a:lvl1pPr>
          </a:lstStyle>
          <a:p>
            <a:pPr lvl="0"/>
            <a:r>
              <a:rPr lang="en-US" dirty="0" smtClean="0"/>
              <a:t>Click to edit Address</a:t>
            </a:r>
          </a:p>
        </p:txBody>
      </p:sp>
    </p:spTree>
    <p:extLst>
      <p:ext uri="{BB962C8B-B14F-4D97-AF65-F5344CB8AC3E}">
        <p14:creationId xmlns="" xmlns:p14="http://schemas.microsoft.com/office/powerpoint/2010/main" val="24859671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93633-F90E-48FA-839C-1008A24E8B92}" type="datetime8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8/01/2015 14:01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Investor Day 2014 – Continental Europe 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53442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78004" y="372550"/>
            <a:ext cx="3566883" cy="3536240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8004" y="384423"/>
            <a:ext cx="3556214" cy="2563645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9514" y="1691150"/>
            <a:ext cx="3565373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45288" y="7317432"/>
            <a:ext cx="1170000" cy="184666"/>
          </a:xfrm>
        </p:spPr>
        <p:txBody>
          <a:bodyPr/>
          <a:lstStyle/>
          <a:p>
            <a:fld id="{CE61D91D-E06D-4025-8648-9480D974BDDF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20552" y="6957392"/>
            <a:ext cx="1611141" cy="153888"/>
          </a:xfrm>
        </p:spPr>
        <p:txBody>
          <a:bodyPr/>
          <a:lstStyle/>
          <a:p>
            <a:r>
              <a:rPr lang="en-GB" smtClean="0"/>
              <a:t>Business Case Stud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82639" y="7317432"/>
            <a:ext cx="585000" cy="184666"/>
          </a:xfrm>
        </p:spPr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AutoShape 3" descr="http://www.bunzlmediamanager.com/lightbox/gallery/Customers/A%20member%20of%20the%20NH%20Hotels%20team%20attends%20rooms%20using%20Bunzl%20supplied%20products.jp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1" name="AutoShape 6" descr="http://www.bunzlmediamanager.com/lightbox/gallery/Products/Bunzls%20safety%20glasses%20and%20hair%20net%20worn%20in%20the%20workplace.jpg"/>
          <p:cNvSpPr>
            <a:spLocks noChangeAspect="1" noChangeArrowheads="1"/>
          </p:cNvSpPr>
          <p:nvPr userDrawn="1"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2" name="AutoShape 8" descr="http://www.bunzlmediamanager.com/lightbox/gallery/Products/Bunzls%20safety%20glasses%20and%20hair%20net%20worn%20in%20the%20workplace.jpg"/>
          <p:cNvSpPr>
            <a:spLocks noChangeAspect="1" noChangeArrowheads="1"/>
          </p:cNvSpPr>
          <p:nvPr userDrawn="1"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4" name="AutoShape 10" descr="http://www.bunzlmediamanager.com/lightbox/gallery/Facilities/BNA%20Chicago%20Warehouse%20Technology,%20RF%20Radio%20Frequency%20scanning%20handset%20(2).jpg"/>
          <p:cNvSpPr>
            <a:spLocks noChangeAspect="1" noChangeArrowheads="1"/>
          </p:cNvSpPr>
          <p:nvPr userDrawn="1"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4104734" y="366712"/>
            <a:ext cx="2127792" cy="2198191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endParaRPr lang="en-GB"/>
          </a:p>
        </p:txBody>
      </p:sp>
      <p:sp>
        <p:nvSpPr>
          <p:cNvPr id="31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6399213" y="366713"/>
            <a:ext cx="1477962" cy="147796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endParaRPr lang="en-GB"/>
          </a:p>
        </p:txBody>
      </p:sp>
      <p:sp>
        <p:nvSpPr>
          <p:cNvPr id="32" name="Picture Placeholder 14"/>
          <p:cNvSpPr>
            <a:spLocks noGrp="1"/>
          </p:cNvSpPr>
          <p:nvPr>
            <p:ph type="pic" sz="quarter" idx="15"/>
          </p:nvPr>
        </p:nvSpPr>
        <p:spPr>
          <a:xfrm>
            <a:off x="8035418" y="366713"/>
            <a:ext cx="1477962" cy="147796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endParaRPr lang="en-GB"/>
          </a:p>
        </p:txBody>
      </p:sp>
      <p:sp>
        <p:nvSpPr>
          <p:cNvPr id="33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6399212" y="2020016"/>
            <a:ext cx="3114167" cy="3055222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endParaRPr lang="en-GB"/>
          </a:p>
        </p:txBody>
      </p:sp>
      <p:sp>
        <p:nvSpPr>
          <p:cNvPr id="34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378004" y="4089894"/>
            <a:ext cx="2414409" cy="2389875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endParaRPr lang="en-GB"/>
          </a:p>
        </p:txBody>
      </p:sp>
      <p:sp>
        <p:nvSpPr>
          <p:cNvPr id="35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2957513" y="4089894"/>
            <a:ext cx="2382837" cy="2389875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endParaRPr lang="en-GB"/>
          </a:p>
        </p:txBody>
      </p:sp>
      <p:sp>
        <p:nvSpPr>
          <p:cNvPr id="37" name="Picture Placeholder 14"/>
          <p:cNvSpPr>
            <a:spLocks noGrp="1"/>
          </p:cNvSpPr>
          <p:nvPr>
            <p:ph type="pic" sz="quarter" idx="19"/>
          </p:nvPr>
        </p:nvSpPr>
        <p:spPr>
          <a:xfrm>
            <a:off x="5504284" y="2700657"/>
            <a:ext cx="718567" cy="742631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endParaRPr lang="en-GB" dirty="0"/>
          </a:p>
        </p:txBody>
      </p:sp>
      <p:sp>
        <p:nvSpPr>
          <p:cNvPr id="38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5504284" y="3514885"/>
            <a:ext cx="718567" cy="742631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endParaRPr lang="en-GB" dirty="0"/>
          </a:p>
        </p:txBody>
      </p:sp>
      <p:sp>
        <p:nvSpPr>
          <p:cNvPr id="39" name="Picture Placeholder 14"/>
          <p:cNvSpPr>
            <a:spLocks noGrp="1"/>
          </p:cNvSpPr>
          <p:nvPr>
            <p:ph type="pic" sz="quarter" idx="21"/>
          </p:nvPr>
        </p:nvSpPr>
        <p:spPr>
          <a:xfrm>
            <a:off x="5504284" y="4329113"/>
            <a:ext cx="718567" cy="742631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endParaRPr lang="en-GB" dirty="0"/>
          </a:p>
        </p:txBody>
      </p:sp>
      <p:sp>
        <p:nvSpPr>
          <p:cNvPr id="40" name="Picture Placeholder 14"/>
          <p:cNvSpPr>
            <a:spLocks noGrp="1"/>
          </p:cNvSpPr>
          <p:nvPr>
            <p:ph type="pic" sz="quarter" idx="22"/>
          </p:nvPr>
        </p:nvSpPr>
        <p:spPr>
          <a:xfrm>
            <a:off x="5505320" y="5209769"/>
            <a:ext cx="1224093" cy="1270000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endParaRPr lang="en-GB" dirty="0"/>
          </a:p>
        </p:txBody>
      </p:sp>
      <p:sp>
        <p:nvSpPr>
          <p:cNvPr id="43" name="Picture Placeholder 14"/>
          <p:cNvSpPr>
            <a:spLocks noGrp="1"/>
          </p:cNvSpPr>
          <p:nvPr>
            <p:ph type="pic" sz="quarter" idx="23"/>
          </p:nvPr>
        </p:nvSpPr>
        <p:spPr>
          <a:xfrm>
            <a:off x="6919231" y="5209769"/>
            <a:ext cx="1224093" cy="1270000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endParaRPr lang="en-GB" dirty="0"/>
          </a:p>
        </p:txBody>
      </p:sp>
      <p:sp>
        <p:nvSpPr>
          <p:cNvPr id="45" name="Picture Placeholder 14"/>
          <p:cNvSpPr>
            <a:spLocks noGrp="1"/>
          </p:cNvSpPr>
          <p:nvPr>
            <p:ph type="pic" sz="quarter" idx="24"/>
          </p:nvPr>
        </p:nvSpPr>
        <p:spPr>
          <a:xfrm>
            <a:off x="8299450" y="5209769"/>
            <a:ext cx="1224093" cy="1270000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</a:lstStyle>
          <a:p>
            <a:endParaRPr lang="en-GB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6308" y="2707197"/>
            <a:ext cx="1217801" cy="118832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5439850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740" y="398415"/>
            <a:ext cx="1972039" cy="195778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424242"/>
                </a:solidFill>
              </a:defRPr>
            </a:lvl1pPr>
            <a:lvl2pPr>
              <a:defRPr>
                <a:solidFill>
                  <a:srgbClr val="424242"/>
                </a:solidFill>
              </a:defRPr>
            </a:lvl2pPr>
            <a:lvl3pPr>
              <a:defRPr>
                <a:solidFill>
                  <a:srgbClr val="424242"/>
                </a:solidFill>
              </a:defRPr>
            </a:lvl3pPr>
            <a:lvl4pPr>
              <a:defRPr>
                <a:solidFill>
                  <a:srgbClr val="424242"/>
                </a:solidFill>
              </a:defRPr>
            </a:lvl4pPr>
            <a:lvl5pPr>
              <a:defRPr>
                <a:solidFill>
                  <a:srgbClr val="42424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32623E-7626-43E7-94E1-271F4F5F900A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77740" y="2492896"/>
            <a:ext cx="1972800" cy="3240088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rgbClr val="003E7E"/>
                </a:solidFill>
              </a:defRPr>
            </a:lvl1pPr>
            <a:lvl2pPr marL="182563" indent="-182563">
              <a:buFont typeface="Wingdings" panose="05000000000000000000" pitchFamily="2" charset="2"/>
              <a:buChar char="§"/>
              <a:defRPr sz="1600" b="1">
                <a:solidFill>
                  <a:srgbClr val="003E7E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3482243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378004" y="372550"/>
            <a:ext cx="3566883" cy="3511858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72" y="372549"/>
            <a:ext cx="3565315" cy="1328259"/>
          </a:xfrm>
        </p:spPr>
        <p:txBody>
          <a:bodyPr vert="horz" lIns="72000" tIns="72000" rIns="72000" bIns="72000" rtlCol="0" anchor="t">
            <a:normAutofit/>
          </a:bodyPr>
          <a:lstStyle>
            <a:lvl1pPr>
              <a:defRPr lang="en-GB" sz="360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403" y="1823890"/>
            <a:ext cx="3551479" cy="432048"/>
          </a:xfrm>
        </p:spPr>
        <p:txBody>
          <a:bodyPr anchor="t"/>
          <a:lstStyle>
            <a:lvl1pPr marL="0" indent="0">
              <a:buNone/>
              <a:defRPr sz="2000">
                <a:solidFill>
                  <a:srgbClr val="7AC14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B54189-F1EB-4C03-9927-C0D36B14F327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9639" y="6597352"/>
            <a:ext cx="3960000" cy="153888"/>
          </a:xfrm>
        </p:spPr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4069861" y="372549"/>
            <a:ext cx="2162679" cy="216030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8006329" y="372549"/>
            <a:ext cx="1521846" cy="147808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6380727" y="372549"/>
            <a:ext cx="1521846" cy="14780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6404958" y="2039914"/>
            <a:ext cx="3120585" cy="30308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8287879" y="5221399"/>
            <a:ext cx="1240296" cy="12451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6909259" y="5221399"/>
            <a:ext cx="1240296" cy="124517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5493640" y="5221398"/>
            <a:ext cx="1240296" cy="12451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2943364" y="4076594"/>
            <a:ext cx="2393449" cy="23899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379639" y="4076594"/>
            <a:ext cx="2393449" cy="238998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5505285" y="2704261"/>
            <a:ext cx="727255" cy="73281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5511222" y="3517998"/>
            <a:ext cx="727255" cy="7328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/>
          <p:cNvSpPr/>
          <p:nvPr userDrawn="1"/>
        </p:nvSpPr>
        <p:spPr>
          <a:xfrm>
            <a:off x="5511744" y="4343080"/>
            <a:ext cx="727255" cy="73281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6308" y="2707197"/>
            <a:ext cx="1217801" cy="118832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739393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378004" y="372549"/>
            <a:ext cx="3566883" cy="3566883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72" y="692696"/>
            <a:ext cx="3565315" cy="1328259"/>
          </a:xfrm>
        </p:spPr>
        <p:txBody>
          <a:bodyPr vert="horz" lIns="72000" tIns="72000" rIns="72000" bIns="72000" rtlCol="0" anchor="t">
            <a:normAutofit/>
          </a:bodyPr>
          <a:lstStyle>
            <a:lvl1pPr>
              <a:defRPr lang="en-GB" sz="360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403" y="372549"/>
            <a:ext cx="3551479" cy="432048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solidFill>
                  <a:srgbClr val="7AC14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B54189-F1EB-4C03-9927-C0D36B14F327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9639" y="6597352"/>
            <a:ext cx="3960000" cy="153888"/>
          </a:xfrm>
        </p:spPr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4069861" y="372549"/>
            <a:ext cx="2162679" cy="216030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8006329" y="372549"/>
            <a:ext cx="1521846" cy="147808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6380727" y="372549"/>
            <a:ext cx="1521846" cy="14780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8287879" y="5221399"/>
            <a:ext cx="1240296" cy="12451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6909259" y="5221399"/>
            <a:ext cx="1240296" cy="124517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5493640" y="5221398"/>
            <a:ext cx="1240296" cy="12451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2943364" y="4076594"/>
            <a:ext cx="2393449" cy="23899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379639" y="4076594"/>
            <a:ext cx="2393449" cy="2389982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5505285" y="2704261"/>
            <a:ext cx="727255" cy="73281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5511222" y="3517998"/>
            <a:ext cx="727255" cy="7328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8" name="Rectangle 17"/>
          <p:cNvSpPr/>
          <p:nvPr userDrawn="1"/>
        </p:nvSpPr>
        <p:spPr>
          <a:xfrm>
            <a:off x="5511744" y="4343080"/>
            <a:ext cx="727255" cy="73281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6308" y="2707197"/>
            <a:ext cx="1217801" cy="1188325"/>
          </a:xfrm>
          <a:prstGeom prst="rect">
            <a:avLst/>
          </a:prstGeom>
        </p:spPr>
      </p:pic>
      <p:sp>
        <p:nvSpPr>
          <p:cNvPr id="24" name="Rectangle 23"/>
          <p:cNvSpPr/>
          <p:nvPr userDrawn="1"/>
        </p:nvSpPr>
        <p:spPr>
          <a:xfrm>
            <a:off x="6404958" y="2039914"/>
            <a:ext cx="3120585" cy="30308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5" name="Picture 2" descr="N:\Group Accounts\Dept\13YE\Investor presentations\presentation pictures\140118_Bunzl_day2_888_RT .jpg"/>
          <p:cNvPicPr>
            <a:picLocks noChangeAspect="1" noChangeArrowheads="1"/>
          </p:cNvPicPr>
          <p:nvPr userDrawn="1"/>
        </p:nvPicPr>
        <p:blipFill rotWithShape="1">
          <a:blip r:embed="rId3" cstate="print"/>
          <a:srcRect l="31758" t="5853" r="24735" b="29027"/>
          <a:stretch/>
        </p:blipFill>
        <p:spPr bwMode="auto">
          <a:xfrm>
            <a:off x="6393159" y="2020016"/>
            <a:ext cx="3135015" cy="3045443"/>
          </a:xfrm>
          <a:prstGeom prst="rect">
            <a:avLst/>
          </a:prstGeom>
          <a:noFill/>
        </p:spPr>
      </p:pic>
      <p:pic>
        <p:nvPicPr>
          <p:cNvPr id="26" name="Picture 3" descr="N:\Group Accounts\Dept\13YE\Investor presentations\presentation pictures\140205_Bunzl_day_6_295 colour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9522" t="25572" r="19640" b="13672"/>
          <a:stretch/>
        </p:blipFill>
        <p:spPr bwMode="auto">
          <a:xfrm>
            <a:off x="378005" y="4076594"/>
            <a:ext cx="2408536" cy="23899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9342708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378004" y="372549"/>
            <a:ext cx="3566883" cy="3566883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72" y="692696"/>
            <a:ext cx="3565315" cy="1328259"/>
          </a:xfrm>
        </p:spPr>
        <p:txBody>
          <a:bodyPr vert="horz" lIns="72000" tIns="72000" rIns="72000" bIns="72000" rtlCol="0" anchor="t">
            <a:normAutofit/>
          </a:bodyPr>
          <a:lstStyle>
            <a:lvl1pPr>
              <a:defRPr lang="en-GB" sz="360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403" y="372549"/>
            <a:ext cx="3551479" cy="432048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solidFill>
                  <a:srgbClr val="7AC14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B54189-F1EB-4C03-9927-C0D36B14F327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9639" y="6597352"/>
            <a:ext cx="3960000" cy="153888"/>
          </a:xfrm>
        </p:spPr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4069861" y="372549"/>
            <a:ext cx="2162679" cy="216030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8006329" y="372549"/>
            <a:ext cx="1521846" cy="147808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 userDrawn="1"/>
        </p:nvSpPr>
        <p:spPr>
          <a:xfrm>
            <a:off x="6380727" y="372549"/>
            <a:ext cx="1521846" cy="147808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6909259" y="5221399"/>
            <a:ext cx="1240296" cy="124517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5493640" y="5221398"/>
            <a:ext cx="1240296" cy="12451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2943364" y="4076594"/>
            <a:ext cx="2393449" cy="23899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/>
          <p:cNvSpPr/>
          <p:nvPr userDrawn="1"/>
        </p:nvSpPr>
        <p:spPr>
          <a:xfrm>
            <a:off x="379639" y="4076594"/>
            <a:ext cx="2393449" cy="238998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6" name="Rectangle 15"/>
          <p:cNvSpPr/>
          <p:nvPr userDrawn="1"/>
        </p:nvSpPr>
        <p:spPr>
          <a:xfrm>
            <a:off x="5505285" y="2704261"/>
            <a:ext cx="727255" cy="73281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5511222" y="3517998"/>
            <a:ext cx="727255" cy="7328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8" name="Rectangle 17"/>
          <p:cNvSpPr/>
          <p:nvPr userDrawn="1"/>
        </p:nvSpPr>
        <p:spPr>
          <a:xfrm>
            <a:off x="5511744" y="4343080"/>
            <a:ext cx="727255" cy="73281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7023" t="488" r="16563"/>
          <a:stretch/>
        </p:blipFill>
        <p:spPr>
          <a:xfrm>
            <a:off x="2943365" y="4076593"/>
            <a:ext cx="2393449" cy="2389983"/>
          </a:xfrm>
          <a:prstGeom prst="rect">
            <a:avLst/>
          </a:prstGeom>
        </p:spPr>
      </p:pic>
      <p:sp>
        <p:nvSpPr>
          <p:cNvPr id="25" name="Rectangle 24"/>
          <p:cNvSpPr/>
          <p:nvPr userDrawn="1"/>
        </p:nvSpPr>
        <p:spPr>
          <a:xfrm>
            <a:off x="6404958" y="2039914"/>
            <a:ext cx="3120585" cy="30308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6308" y="2707197"/>
            <a:ext cx="1217801" cy="1188325"/>
          </a:xfrm>
          <a:prstGeom prst="rect">
            <a:avLst/>
          </a:prstGeom>
        </p:spPr>
      </p:pic>
      <p:pic>
        <p:nvPicPr>
          <p:cNvPr id="28" name="Picture 5" descr="N:\Group Accounts\Dept\Financial Planning and Analysis\Presentation template\Pictures\Bunzl Denmark Greve 41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674" t="-510" r="29093" b="1931"/>
          <a:stretch/>
        </p:blipFill>
        <p:spPr bwMode="auto">
          <a:xfrm>
            <a:off x="8006329" y="363024"/>
            <a:ext cx="1521846" cy="148760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3" descr="N:\Group Accounts\Dept\Financial Planning and Analysis\Presentation template\Pictures\Goods being picked at the FoodHandler warehouse  in Charleston, USA (1).jp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7065" t="28256" r="38004" b="21541"/>
          <a:stretch/>
        </p:blipFill>
        <p:spPr bwMode="auto">
          <a:xfrm>
            <a:off x="8287879" y="5221400"/>
            <a:ext cx="1240295" cy="12451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559646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1244" b="2062"/>
          <a:stretch/>
        </p:blipFill>
        <p:spPr>
          <a:xfrm>
            <a:off x="6393159" y="380248"/>
            <a:ext cx="1529996" cy="1470386"/>
          </a:xfrm>
          <a:prstGeom prst="rect">
            <a:avLst/>
          </a:prstGeom>
        </p:spPr>
      </p:pic>
      <p:pic>
        <p:nvPicPr>
          <p:cNvPr id="22" name="Picture 3" descr="N:\Group Accounts\Dept\13YE\Investor presentations\presentation pictures\140205_Bunzl_day_6_295 colour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9522" t="25572" r="19640" b="13672"/>
          <a:stretch/>
        </p:blipFill>
        <p:spPr bwMode="auto">
          <a:xfrm>
            <a:off x="378005" y="4076594"/>
            <a:ext cx="2408536" cy="23899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>
          <a:xfrm>
            <a:off x="378004" y="372549"/>
            <a:ext cx="3566883" cy="3566883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572" y="692696"/>
            <a:ext cx="3565315" cy="1328259"/>
          </a:xfrm>
        </p:spPr>
        <p:txBody>
          <a:bodyPr vert="horz" lIns="72000" tIns="72000" rIns="72000" bIns="72000" rtlCol="0" anchor="t">
            <a:normAutofit/>
          </a:bodyPr>
          <a:lstStyle>
            <a:lvl1pPr>
              <a:defRPr lang="en-GB" sz="360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403" y="372549"/>
            <a:ext cx="3551479" cy="432048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B54189-F1EB-4C03-9927-C0D36B14F327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79639" y="6597352"/>
            <a:ext cx="3960000" cy="153888"/>
          </a:xfrm>
        </p:spPr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4069861" y="372549"/>
            <a:ext cx="2162679" cy="216030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 userDrawn="1"/>
        </p:nvSpPr>
        <p:spPr>
          <a:xfrm>
            <a:off x="8006329" y="372549"/>
            <a:ext cx="1521846" cy="147808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5493640" y="5221398"/>
            <a:ext cx="1240296" cy="12451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2943364" y="4076594"/>
            <a:ext cx="2393449" cy="23899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5511222" y="3517998"/>
            <a:ext cx="727255" cy="7328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8" name="Rectangle 17"/>
          <p:cNvSpPr/>
          <p:nvPr userDrawn="1"/>
        </p:nvSpPr>
        <p:spPr>
          <a:xfrm>
            <a:off x="5511744" y="4343080"/>
            <a:ext cx="727255" cy="73281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/>
          <p:cNvSpPr/>
          <p:nvPr userDrawn="1"/>
        </p:nvSpPr>
        <p:spPr>
          <a:xfrm>
            <a:off x="6404958" y="2039914"/>
            <a:ext cx="3120585" cy="30308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/>
          <p:cNvSpPr/>
          <p:nvPr userDrawn="1"/>
        </p:nvSpPr>
        <p:spPr>
          <a:xfrm>
            <a:off x="8287879" y="5221399"/>
            <a:ext cx="1240296" cy="124517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8320" t="9781"/>
          <a:stretch/>
        </p:blipFill>
        <p:spPr>
          <a:xfrm>
            <a:off x="6890761" y="5221400"/>
            <a:ext cx="1277292" cy="1245175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2121" b="20866"/>
          <a:stretch/>
        </p:blipFill>
        <p:spPr>
          <a:xfrm>
            <a:off x="5504898" y="2704261"/>
            <a:ext cx="729031" cy="73281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6308" y="2707197"/>
            <a:ext cx="1217801" cy="118832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297813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8000" y="399600"/>
            <a:ext cx="1972800" cy="19584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6736" y="404663"/>
            <a:ext cx="3276000" cy="6120000"/>
          </a:xfrm>
        </p:spPr>
        <p:txBody>
          <a:bodyPr>
            <a:normAutofit/>
          </a:bodyPr>
          <a:lstStyle>
            <a:lvl1pPr>
              <a:buClr>
                <a:srgbClr val="7AC142"/>
              </a:buClr>
              <a:defRPr sz="1800">
                <a:solidFill>
                  <a:srgbClr val="424242"/>
                </a:solidFill>
              </a:defRPr>
            </a:lvl1pPr>
            <a:lvl2pPr>
              <a:defRPr sz="1800">
                <a:solidFill>
                  <a:srgbClr val="424242"/>
                </a:solidFill>
              </a:defRPr>
            </a:lvl2pPr>
            <a:lvl3pPr>
              <a:defRPr sz="1800">
                <a:solidFill>
                  <a:srgbClr val="424242"/>
                </a:solidFill>
              </a:defRPr>
            </a:lvl3pPr>
            <a:lvl4pPr>
              <a:defRPr sz="1800">
                <a:solidFill>
                  <a:srgbClr val="424242"/>
                </a:solidFill>
              </a:defRPr>
            </a:lvl4pPr>
            <a:lvl5pPr>
              <a:defRPr sz="1800">
                <a:solidFill>
                  <a:srgbClr val="42424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9144" y="404663"/>
            <a:ext cx="3276000" cy="6120000"/>
          </a:xfrm>
        </p:spPr>
        <p:txBody>
          <a:bodyPr>
            <a:normAutofit/>
          </a:bodyPr>
          <a:lstStyle>
            <a:lvl1pPr>
              <a:buClr>
                <a:srgbClr val="7AC142"/>
              </a:buClr>
              <a:defRPr sz="1800">
                <a:solidFill>
                  <a:srgbClr val="424242"/>
                </a:solidFill>
              </a:defRPr>
            </a:lvl1pPr>
            <a:lvl2pPr>
              <a:defRPr sz="1800">
                <a:solidFill>
                  <a:srgbClr val="424242"/>
                </a:solidFill>
              </a:defRPr>
            </a:lvl2pPr>
            <a:lvl3pPr>
              <a:defRPr sz="1800">
                <a:solidFill>
                  <a:srgbClr val="424242"/>
                </a:solidFill>
              </a:defRPr>
            </a:lvl3pPr>
            <a:lvl4pPr>
              <a:defRPr sz="1800">
                <a:solidFill>
                  <a:srgbClr val="424242"/>
                </a:solidFill>
              </a:defRPr>
            </a:lvl4pPr>
            <a:lvl5pPr>
              <a:defRPr sz="1800">
                <a:solidFill>
                  <a:srgbClr val="42424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0E508-9231-40CD-B4BD-990212D13BBF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77740" y="2492896"/>
            <a:ext cx="1972800" cy="3240088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rgbClr val="003E7E"/>
                </a:solidFill>
              </a:defRPr>
            </a:lvl1pPr>
            <a:lvl2pPr marL="182563" indent="-182563">
              <a:buFont typeface="Wingdings" panose="05000000000000000000" pitchFamily="2" charset="2"/>
              <a:buChar char="§"/>
              <a:defRPr sz="1600" b="1">
                <a:solidFill>
                  <a:srgbClr val="003E7E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4241428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93324" y="376064"/>
            <a:ext cx="3276000" cy="460648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93324" y="980728"/>
            <a:ext cx="3276000" cy="5508000"/>
          </a:xfrm>
        </p:spPr>
        <p:txBody>
          <a:bodyPr>
            <a:normAutofit/>
          </a:bodyPr>
          <a:lstStyle>
            <a:lvl1pPr>
              <a:buClr>
                <a:srgbClr val="7AC142"/>
              </a:buClr>
              <a:defRPr sz="1800">
                <a:solidFill>
                  <a:srgbClr val="424242"/>
                </a:solidFill>
              </a:defRPr>
            </a:lvl1pPr>
            <a:lvl2pPr>
              <a:defRPr sz="1800">
                <a:solidFill>
                  <a:srgbClr val="424242"/>
                </a:solidFill>
              </a:defRPr>
            </a:lvl2pPr>
            <a:lvl3pPr>
              <a:defRPr sz="1800">
                <a:solidFill>
                  <a:srgbClr val="424242"/>
                </a:solidFill>
              </a:defRPr>
            </a:lvl3pPr>
            <a:lvl4pPr>
              <a:defRPr sz="1800">
                <a:solidFill>
                  <a:srgbClr val="424242"/>
                </a:solidFill>
              </a:defRPr>
            </a:lvl4pPr>
            <a:lvl5pPr>
              <a:defRPr sz="1800">
                <a:solidFill>
                  <a:srgbClr val="42424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49144" y="376064"/>
            <a:ext cx="3276000" cy="460648"/>
          </a:xfrm>
        </p:spPr>
        <p:txBody>
          <a:bodyPr anchor="t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49144" y="980728"/>
            <a:ext cx="3276000" cy="5508000"/>
          </a:xfrm>
        </p:spPr>
        <p:txBody>
          <a:bodyPr>
            <a:normAutofit/>
          </a:bodyPr>
          <a:lstStyle>
            <a:lvl1pPr>
              <a:defRPr sz="1800">
                <a:solidFill>
                  <a:srgbClr val="424242"/>
                </a:solidFill>
              </a:defRPr>
            </a:lvl1pPr>
            <a:lvl2pPr>
              <a:defRPr sz="1800">
                <a:solidFill>
                  <a:srgbClr val="424242"/>
                </a:solidFill>
              </a:defRPr>
            </a:lvl2pPr>
            <a:lvl3pPr>
              <a:buClr>
                <a:srgbClr val="7AC142"/>
              </a:buClr>
              <a:defRPr sz="1800">
                <a:solidFill>
                  <a:srgbClr val="424242"/>
                </a:solidFill>
              </a:defRPr>
            </a:lvl3pPr>
            <a:lvl4pPr>
              <a:defRPr sz="1800">
                <a:solidFill>
                  <a:srgbClr val="424242"/>
                </a:solidFill>
              </a:defRPr>
            </a:lvl4pPr>
            <a:lvl5pPr>
              <a:defRPr sz="1800">
                <a:solidFill>
                  <a:srgbClr val="42424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E33B6-D038-4149-8E23-1F2D35803F38}" type="datetime1">
              <a:rPr lang="en-GB" smtClean="0"/>
              <a:pPr/>
              <a:t>28/01/2015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77740" y="2492896"/>
            <a:ext cx="1972800" cy="3240088"/>
          </a:xfrm>
        </p:spPr>
        <p:txBody>
          <a:bodyPr>
            <a:normAutofit/>
          </a:bodyPr>
          <a:lstStyle>
            <a:lvl1pPr marL="0" indent="0">
              <a:buNone/>
              <a:defRPr sz="1600" b="1">
                <a:solidFill>
                  <a:srgbClr val="003E7E"/>
                </a:solidFill>
              </a:defRPr>
            </a:lvl1pPr>
            <a:lvl2pPr marL="182563" indent="-182563">
              <a:buFont typeface="Wingdings" panose="05000000000000000000" pitchFamily="2" charset="2"/>
              <a:buChar char="§"/>
              <a:defRPr sz="1600" b="1">
                <a:solidFill>
                  <a:srgbClr val="003E7E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12199066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588" y="5692678"/>
            <a:ext cx="820134" cy="800284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2576736" y="379413"/>
            <a:ext cx="6951439" cy="61182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/>
        </p:nvSpPr>
        <p:spPr>
          <a:xfrm>
            <a:off x="378005" y="384425"/>
            <a:ext cx="1971774" cy="1971774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7740" y="398415"/>
            <a:ext cx="1972039" cy="1957784"/>
          </a:xfrm>
          <a:prstGeom prst="rect">
            <a:avLst/>
          </a:prstGeom>
        </p:spPr>
        <p:txBody>
          <a:bodyPr vert="horz" lIns="72000" tIns="72000" rIns="72000" bIns="72000" rtlCol="0" anchor="t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6736" y="379413"/>
            <a:ext cx="6950910" cy="6118225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17296" y="6566574"/>
            <a:ext cx="11700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E53B63-AAC6-4F7D-B694-0E86C3013082}" type="datetime1">
              <a:rPr lang="en-GB" smtClean="0"/>
              <a:pPr/>
              <a:t>28/01/2015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6735" y="6597352"/>
            <a:ext cx="3960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 smtClean="0"/>
              <a:t>Investor Day Templat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42646" y="6566574"/>
            <a:ext cx="5850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6A69B5-200B-4E8E-9012-4EBB91306B1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066987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6" r:id="rId2"/>
    <p:sldLayoutId id="2147483650" r:id="rId3"/>
    <p:sldLayoutId id="2147483651" r:id="rId4"/>
    <p:sldLayoutId id="2147483670" r:id="rId5"/>
    <p:sldLayoutId id="2147483674" r:id="rId6"/>
    <p:sldLayoutId id="2147483675" r:id="rId7"/>
    <p:sldLayoutId id="2147483652" r:id="rId8"/>
    <p:sldLayoutId id="2147483653" r:id="rId9"/>
    <p:sldLayoutId id="2147483656" r:id="rId10"/>
    <p:sldLayoutId id="2147483657" r:id="rId11"/>
    <p:sldLayoutId id="2147483661" r:id="rId12"/>
    <p:sldLayoutId id="2147483663" r:id="rId13"/>
    <p:sldLayoutId id="2147483654" r:id="rId14"/>
    <p:sldLayoutId id="2147483669" r:id="rId15"/>
    <p:sldLayoutId id="2147483678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spc="-2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90000"/>
        </a:lnSpc>
        <a:spcBef>
          <a:spcPts val="8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512763" indent="-234950" algn="l" defTabSz="914400" rtl="0" eaLnBrk="1" latinLnBrk="0" hangingPunct="1">
        <a:lnSpc>
          <a:spcPct val="90000"/>
        </a:lnSpc>
        <a:spcBef>
          <a:spcPts val="400"/>
        </a:spcBef>
        <a:buClr>
          <a:schemeClr val="accent2"/>
        </a:buClr>
        <a:buFont typeface="Arial" pitchFamily="34" charset="0"/>
        <a:buChar char="–"/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58825" indent="-228600" algn="l" defTabSz="914400" rtl="0" eaLnBrk="1" latinLnBrk="0" hangingPunct="1">
        <a:lnSpc>
          <a:spcPct val="90000"/>
        </a:lnSpc>
        <a:spcBef>
          <a:spcPts val="2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993775" indent="-228600" algn="l" defTabSz="914400" rtl="0" eaLnBrk="1" latinLnBrk="0" hangingPunct="1">
        <a:lnSpc>
          <a:spcPct val="90000"/>
        </a:lnSpc>
        <a:spcBef>
          <a:spcPts val="0"/>
        </a:spcBef>
        <a:buClr>
          <a:schemeClr val="accent2"/>
        </a:buClr>
        <a:buFont typeface="Arial" pitchFamily="34" charset="0"/>
        <a:buChar char="–"/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19200" indent="-228600" algn="l" defTabSz="914400" rtl="0" eaLnBrk="1" latinLnBrk="0" hangingPunct="1">
        <a:lnSpc>
          <a:spcPct val="90000"/>
        </a:lnSpc>
        <a:spcBef>
          <a:spcPts val="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1.jpe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31.jpeg"/><Relationship Id="rId18" Type="http://schemas.openxmlformats.org/officeDocument/2006/relationships/image" Target="../media/image42.png"/><Relationship Id="rId3" Type="http://schemas.openxmlformats.org/officeDocument/2006/relationships/image" Target="../media/image32.jpeg"/><Relationship Id="rId7" Type="http://schemas.openxmlformats.org/officeDocument/2006/relationships/image" Target="../media/image36.png"/><Relationship Id="rId12" Type="http://schemas.openxmlformats.org/officeDocument/2006/relationships/image" Target="../media/image30.png"/><Relationship Id="rId17" Type="http://schemas.openxmlformats.org/officeDocument/2006/relationships/hyperlink" Target="http://www.proepta.com/index.php" TargetMode="External"/><Relationship Id="rId2" Type="http://schemas.openxmlformats.org/officeDocument/2006/relationships/hyperlink" Target="http://www.tecnoboga.cl/nuevo/index.php" TargetMode="External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5.png"/><Relationship Id="rId11" Type="http://schemas.openxmlformats.org/officeDocument/2006/relationships/image" Target="../media/image29.png"/><Relationship Id="rId5" Type="http://schemas.openxmlformats.org/officeDocument/2006/relationships/image" Target="../media/image34.png"/><Relationship Id="rId15" Type="http://schemas.openxmlformats.org/officeDocument/2006/relationships/image" Target="../media/image40.png"/><Relationship Id="rId10" Type="http://schemas.openxmlformats.org/officeDocument/2006/relationships/image" Target="../media/image28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Relationship Id="rId14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Development of </a:t>
            </a:r>
            <a:br>
              <a:rPr lang="en-GB" dirty="0" smtClean="0"/>
            </a:br>
            <a:r>
              <a:rPr lang="en-GB" dirty="0" smtClean="0"/>
              <a:t>business in LATAM</a:t>
            </a:r>
            <a:br>
              <a:rPr lang="en-GB" dirty="0" smtClean="0"/>
            </a:br>
            <a:r>
              <a:rPr lang="en-GB" dirty="0" smtClean="0"/>
              <a:t> </a:t>
            </a:r>
            <a:br>
              <a:rPr lang="en-GB" dirty="0" smtClean="0"/>
            </a:br>
            <a:endParaRPr lang="en-GB" dirty="0"/>
          </a:p>
        </p:txBody>
      </p:sp>
      <p:sp>
        <p:nvSpPr>
          <p:cNvPr id="4" name="AutoShape 2" descr="http://www.bunzlmediamanager.com/lightbox/gallery/Products/A%20Bunzl%20disposable%20cup%20and%20carry%20bag%20in%20use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AutoShape 5" descr="http://www.bunzlmediamanager.com/lightbox/gallery/Customers/A%20shopper%20at%20the%20check-out%20using%20Bunzl%20supplied%20re-useable%20bags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vestor Day Templ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0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094395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242" r="3436"/>
          <a:stretch/>
        </p:blipFill>
        <p:spPr>
          <a:xfrm>
            <a:off x="2568102" y="1412776"/>
            <a:ext cx="6945549" cy="4200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bout us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sz="1600" b="1" spc="-30" dirty="0"/>
              <a:t>Bunzl is a </a:t>
            </a:r>
            <a:r>
              <a:rPr lang="en-GB" sz="1600" b="1" spc="-30" dirty="0" smtClean="0"/>
              <a:t>growing</a:t>
            </a:r>
            <a:br>
              <a:rPr lang="en-GB" sz="1600" b="1" spc="-30" dirty="0" smtClean="0"/>
            </a:br>
            <a:r>
              <a:rPr lang="en-GB" sz="1600" b="1" spc="-30" dirty="0" smtClean="0"/>
              <a:t>and </a:t>
            </a:r>
            <a:r>
              <a:rPr lang="en-GB" sz="1600" b="1" spc="-30" dirty="0"/>
              <a:t>successful Group providing outsourcing solutions and value added distribution </a:t>
            </a:r>
            <a:r>
              <a:rPr lang="en-GB" sz="1600" b="1" dirty="0"/>
              <a:t>across </a:t>
            </a:r>
            <a:r>
              <a:rPr lang="en-GB" sz="1600" b="1" dirty="0" smtClean="0"/>
              <a:t>the Americas</a:t>
            </a:r>
            <a:r>
              <a:rPr lang="en-GB" sz="1600" b="1" dirty="0"/>
              <a:t>, </a:t>
            </a:r>
            <a:r>
              <a:rPr lang="en-GB" sz="1600" b="1" spc="-30" dirty="0"/>
              <a:t>Europe and </a:t>
            </a:r>
            <a:r>
              <a:rPr lang="en-GB" sz="1600" b="1" spc="-30" dirty="0" smtClean="0"/>
              <a:t>Australasia</a:t>
            </a:r>
            <a:endParaRPr lang="en-GB" sz="1600" b="1" spc="-3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27" name="TextBox 26"/>
          <p:cNvSpPr txBox="1"/>
          <p:nvPr/>
        </p:nvSpPr>
        <p:spPr>
          <a:xfrm>
            <a:off x="3074740" y="2636912"/>
            <a:ext cx="1433914" cy="369332"/>
          </a:xfrm>
          <a:prstGeom prst="rect">
            <a:avLst/>
          </a:prstGeom>
          <a:solidFill>
            <a:srgbClr val="003E7E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7AC142"/>
                </a:solidFill>
              </a:rPr>
              <a:t>Source</a:t>
            </a:r>
            <a:endParaRPr lang="en-GB" b="1" dirty="0">
              <a:solidFill>
                <a:srgbClr val="7AC142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288791" y="2636912"/>
            <a:ext cx="1488377" cy="369332"/>
          </a:xfrm>
          <a:prstGeom prst="rect">
            <a:avLst/>
          </a:prstGeom>
          <a:solidFill>
            <a:srgbClr val="003E7E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GB" b="1" spc="-20" dirty="0" smtClean="0">
                <a:solidFill>
                  <a:srgbClr val="7AC142"/>
                </a:solidFill>
              </a:rPr>
              <a:t>Consolidate</a:t>
            </a:r>
            <a:endParaRPr lang="en-GB" b="1" spc="-20" dirty="0">
              <a:solidFill>
                <a:srgbClr val="7AC14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529128" y="2636912"/>
            <a:ext cx="1477885" cy="369332"/>
          </a:xfrm>
          <a:prstGeom prst="rect">
            <a:avLst/>
          </a:prstGeom>
          <a:solidFill>
            <a:srgbClr val="003E7E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>
                <a:solidFill>
                  <a:srgbClr val="7AC142"/>
                </a:solidFill>
              </a:rPr>
              <a:t>Deliver</a:t>
            </a:r>
            <a:endParaRPr lang="en-GB" b="1" dirty="0">
              <a:solidFill>
                <a:srgbClr val="7AC142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065" r="7001"/>
          <a:stretch/>
        </p:blipFill>
        <p:spPr>
          <a:xfrm>
            <a:off x="3074740" y="3006417"/>
            <a:ext cx="1433914" cy="14423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4581" r="8288"/>
          <a:stretch/>
        </p:blipFill>
        <p:spPr>
          <a:xfrm>
            <a:off x="7529128" y="3007837"/>
            <a:ext cx="1477885" cy="14683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32387"/>
          <a:stretch/>
        </p:blipFill>
        <p:spPr>
          <a:xfrm>
            <a:off x="5288791" y="2996087"/>
            <a:ext cx="1488377" cy="146755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2674395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2013 Business </a:t>
            </a:r>
            <a:r>
              <a:rPr lang="en-GB" smtClean="0"/>
              <a:t>area analysi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2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502" r="8538"/>
          <a:stretch/>
        </p:blipFill>
        <p:spPr>
          <a:xfrm>
            <a:off x="3506109" y="3528212"/>
            <a:ext cx="1938247" cy="1689682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486969" y="620688"/>
            <a:ext cx="19573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499669" y="2309788"/>
            <a:ext cx="19573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6451997" y="3528793"/>
            <a:ext cx="19573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451997" y="5217893"/>
            <a:ext cx="19573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450410" y="626677"/>
            <a:ext cx="19573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6450410" y="2315777"/>
            <a:ext cx="19573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486969" y="3528793"/>
            <a:ext cx="19573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486969" y="5217893"/>
            <a:ext cx="195738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6451994" y="5360113"/>
            <a:ext cx="1944689" cy="846650"/>
          </a:xfrm>
          <a:prstGeom prst="rect">
            <a:avLst/>
          </a:prstGeom>
          <a:solidFill>
            <a:srgbClr val="5EAA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 smtClean="0">
                <a:solidFill>
                  <a:schemeClr val="bg1"/>
                </a:solidFill>
              </a:rPr>
              <a:t>REST OF WORLD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79319" y="5588986"/>
            <a:ext cx="41998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b="1" dirty="0" smtClean="0">
                <a:solidFill>
                  <a:schemeClr val="bg1"/>
                </a:solidFill>
              </a:rPr>
              <a:t>  9</a:t>
            </a:r>
            <a:r>
              <a:rPr lang="en-GB" sz="1200" b="1" dirty="0" smtClean="0">
                <a:solidFill>
                  <a:schemeClr val="bg1"/>
                </a:solidFill>
              </a:rPr>
              <a:t>%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988778" y="5695072"/>
            <a:ext cx="61234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Revenue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520014" y="5871105"/>
            <a:ext cx="42159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b="1" dirty="0" smtClean="0">
                <a:solidFill>
                  <a:schemeClr val="bg1"/>
                </a:solidFill>
              </a:rPr>
              <a:t>12</a:t>
            </a:r>
            <a:r>
              <a:rPr lang="en-GB" sz="1200" b="1" dirty="0" smtClean="0">
                <a:solidFill>
                  <a:schemeClr val="bg1"/>
                </a:solidFill>
              </a:rPr>
              <a:t>%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988777" y="5972327"/>
            <a:ext cx="111729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Operating profit*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451997" y="2457997"/>
            <a:ext cx="1955800" cy="846650"/>
          </a:xfrm>
          <a:prstGeom prst="rect">
            <a:avLst/>
          </a:prstGeom>
          <a:solidFill>
            <a:srgbClr val="C25F9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 smtClean="0">
                <a:solidFill>
                  <a:schemeClr val="bg1"/>
                </a:solidFill>
              </a:rPr>
              <a:t>CONTINENTAL EUROPE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520017" y="2686870"/>
            <a:ext cx="42159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b="1" dirty="0" smtClean="0">
                <a:solidFill>
                  <a:schemeClr val="bg1"/>
                </a:solidFill>
              </a:rPr>
              <a:t>19</a:t>
            </a:r>
            <a:r>
              <a:rPr lang="en-GB" sz="1200" b="1" dirty="0" smtClean="0">
                <a:solidFill>
                  <a:schemeClr val="bg1"/>
                </a:solidFill>
              </a:rPr>
              <a:t>%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988780" y="2792956"/>
            <a:ext cx="61234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Revenue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520016" y="2968989"/>
            <a:ext cx="42159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b="1" dirty="0" smtClean="0">
                <a:solidFill>
                  <a:schemeClr val="bg1"/>
                </a:solidFill>
              </a:rPr>
              <a:t>22</a:t>
            </a:r>
            <a:r>
              <a:rPr lang="en-GB" sz="1200" b="1" dirty="0" smtClean="0">
                <a:solidFill>
                  <a:schemeClr val="bg1"/>
                </a:solidFill>
              </a:rPr>
              <a:t>%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988779" y="3070211"/>
            <a:ext cx="111729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Operating profit*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486968" y="5360113"/>
            <a:ext cx="1957387" cy="846650"/>
          </a:xfrm>
          <a:prstGeom prst="rect">
            <a:avLst/>
          </a:prstGeom>
          <a:solidFill>
            <a:srgbClr val="F7A42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 smtClean="0">
                <a:solidFill>
                  <a:schemeClr val="bg1"/>
                </a:solidFill>
              </a:rPr>
              <a:t>UK &amp; IRELAND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554989" y="5588986"/>
            <a:ext cx="42159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b="1" dirty="0" smtClean="0">
                <a:solidFill>
                  <a:schemeClr val="bg1"/>
                </a:solidFill>
              </a:rPr>
              <a:t>17</a:t>
            </a:r>
            <a:r>
              <a:rPr lang="en-GB" sz="1200" b="1" dirty="0" smtClean="0">
                <a:solidFill>
                  <a:schemeClr val="bg1"/>
                </a:solidFill>
              </a:rPr>
              <a:t>%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023752" y="5695072"/>
            <a:ext cx="61234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Revenue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554988" y="5871105"/>
            <a:ext cx="42159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b="1" dirty="0" smtClean="0">
                <a:solidFill>
                  <a:schemeClr val="bg1"/>
                </a:solidFill>
              </a:rPr>
              <a:t>17</a:t>
            </a:r>
            <a:r>
              <a:rPr lang="en-GB" sz="1200" b="1" dirty="0" smtClean="0">
                <a:solidFill>
                  <a:schemeClr val="bg1"/>
                </a:solidFill>
              </a:rPr>
              <a:t>%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023751" y="5972327"/>
            <a:ext cx="111729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Operating profit*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487789" y="2452008"/>
            <a:ext cx="1956567" cy="846650"/>
          </a:xfrm>
          <a:prstGeom prst="rect">
            <a:avLst/>
          </a:prstGeom>
          <a:solidFill>
            <a:srgbClr val="2B65B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200" b="1" dirty="0" smtClean="0">
                <a:solidFill>
                  <a:schemeClr val="bg1"/>
                </a:solidFill>
              </a:rPr>
              <a:t>NORTH AMERICA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573146" y="2680881"/>
            <a:ext cx="42159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b="1" dirty="0" smtClean="0">
                <a:solidFill>
                  <a:schemeClr val="bg1"/>
                </a:solidFill>
              </a:rPr>
              <a:t>55</a:t>
            </a:r>
            <a:r>
              <a:rPr lang="en-GB" sz="1200" b="1" dirty="0" smtClean="0">
                <a:solidFill>
                  <a:schemeClr val="bg1"/>
                </a:solidFill>
              </a:rPr>
              <a:t>%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030620" y="2786967"/>
            <a:ext cx="612347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Revenue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73145" y="2963000"/>
            <a:ext cx="42159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000" b="1" dirty="0" smtClean="0">
                <a:solidFill>
                  <a:schemeClr val="bg1"/>
                </a:solidFill>
              </a:rPr>
              <a:t>49</a:t>
            </a:r>
            <a:r>
              <a:rPr lang="en-GB" sz="1200" b="1" dirty="0" smtClean="0">
                <a:solidFill>
                  <a:schemeClr val="bg1"/>
                </a:solidFill>
              </a:rPr>
              <a:t>%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030619" y="3064222"/>
            <a:ext cx="111729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Operating profit*</a:t>
            </a:r>
            <a:endParaRPr lang="en-GB" sz="1200" dirty="0">
              <a:solidFill>
                <a:schemeClr val="bg1"/>
              </a:solidFill>
            </a:endParaRPr>
          </a:p>
        </p:txBody>
      </p:sp>
      <p:grpSp>
        <p:nvGrpSpPr>
          <p:cNvPr id="3" name="Group 35"/>
          <p:cNvGrpSpPr/>
          <p:nvPr/>
        </p:nvGrpSpPr>
        <p:grpSpPr>
          <a:xfrm>
            <a:off x="6681191" y="3528793"/>
            <a:ext cx="1728193" cy="1640842"/>
            <a:chOff x="7761311" y="2099940"/>
            <a:chExt cx="1728193" cy="1640842"/>
          </a:xfrm>
        </p:grpSpPr>
        <p:pic>
          <p:nvPicPr>
            <p:cNvPr id="37" name="Picture 36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17109"/>
            <a:stretch/>
          </p:blipFill>
          <p:spPr>
            <a:xfrm>
              <a:off x="7833320" y="2099940"/>
              <a:ext cx="1656184" cy="1640842"/>
            </a:xfrm>
            <a:prstGeom prst="rect">
              <a:avLst/>
            </a:prstGeom>
          </p:spPr>
        </p:pic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761311" y="3198510"/>
              <a:ext cx="726275" cy="542272"/>
            </a:xfrm>
            <a:prstGeom prst="rect">
              <a:avLst/>
            </a:prstGeom>
          </p:spPr>
        </p:pic>
      </p:grpSp>
      <p:pic>
        <p:nvPicPr>
          <p:cNvPr id="39" name="Picture 3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16"/>
          <a:stretch/>
        </p:blipFill>
        <p:spPr>
          <a:xfrm>
            <a:off x="6450410" y="634887"/>
            <a:ext cx="1957387" cy="1681859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182" r="15985" b="15483"/>
          <a:stretch/>
        </p:blipFill>
        <p:spPr>
          <a:xfrm>
            <a:off x="3487789" y="634442"/>
            <a:ext cx="1956567" cy="1676315"/>
          </a:xfrm>
          <a:prstGeom prst="rect">
            <a:avLst/>
          </a:prstGeom>
          <a:effectLst>
            <a:outerShdw blurRad="76200" dir="13500000" algn="ctr" rotWithShape="0">
              <a:srgbClr val="000000">
                <a:alpha val="20000"/>
              </a:srgbClr>
            </a:outerShdw>
          </a:effectLst>
        </p:spPr>
      </p:pic>
      <p:sp>
        <p:nvSpPr>
          <p:cNvPr id="41" name="TextBox 40"/>
          <p:cNvSpPr txBox="1"/>
          <p:nvPr/>
        </p:nvSpPr>
        <p:spPr>
          <a:xfrm>
            <a:off x="2576736" y="6274012"/>
            <a:ext cx="454634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GB" sz="800" i="1" dirty="0" smtClean="0">
                <a:solidFill>
                  <a:schemeClr val="tx2"/>
                </a:solidFill>
                <a:latin typeface="Arial" charset="0"/>
              </a:rPr>
              <a:t>*  Before </a:t>
            </a:r>
            <a:r>
              <a:rPr lang="en-GB" sz="800" i="1" dirty="0">
                <a:solidFill>
                  <a:schemeClr val="tx2"/>
                </a:solidFill>
                <a:latin typeface="Arial" charset="0"/>
              </a:rPr>
              <a:t>intangible amortisation and acquisition related </a:t>
            </a:r>
            <a:r>
              <a:rPr lang="en-GB" sz="800" i="1" dirty="0" smtClean="0">
                <a:solidFill>
                  <a:schemeClr val="tx2"/>
                </a:solidFill>
                <a:latin typeface="Arial" charset="0"/>
              </a:rPr>
              <a:t>costs and corporate costs</a:t>
            </a:r>
            <a:endParaRPr lang="en-GB" sz="800" i="1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7740" y="2492896"/>
            <a:ext cx="2054980" cy="3240088"/>
          </a:xfrm>
        </p:spPr>
        <p:txBody>
          <a:bodyPr/>
          <a:lstStyle/>
          <a:p>
            <a:r>
              <a:rPr lang="en-GB" b="1" dirty="0" smtClean="0">
                <a:solidFill>
                  <a:srgbClr val="003E7E"/>
                </a:solidFill>
              </a:rPr>
              <a:t>Well diversified by geography and sector</a:t>
            </a:r>
            <a:endParaRPr lang="en-GB" dirty="0">
              <a:solidFill>
                <a:srgbClr val="003E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278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6931813" y="4953610"/>
            <a:ext cx="413996" cy="413996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rapezoid 29"/>
          <p:cNvSpPr/>
          <p:nvPr/>
        </p:nvSpPr>
        <p:spPr>
          <a:xfrm flipV="1">
            <a:off x="6968213" y="5164482"/>
            <a:ext cx="326572" cy="145901"/>
          </a:xfrm>
          <a:prstGeom prst="trapezoid">
            <a:avLst>
              <a:gd name="adj" fmla="val 37480"/>
            </a:avLst>
          </a:prstGeom>
          <a:solidFill>
            <a:srgbClr val="7A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Attractive customer markets</a:t>
            </a: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2358579536"/>
              </p:ext>
            </p:extLst>
          </p:nvPr>
        </p:nvGraphicFramePr>
        <p:xfrm>
          <a:off x="3913948" y="1599900"/>
          <a:ext cx="4238345" cy="3730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Rectangle 22"/>
          <p:cNvSpPr/>
          <p:nvPr/>
        </p:nvSpPr>
        <p:spPr>
          <a:xfrm>
            <a:off x="3764962" y="577287"/>
            <a:ext cx="413996" cy="413996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Plus 23"/>
          <p:cNvSpPr/>
          <p:nvPr/>
        </p:nvSpPr>
        <p:spPr>
          <a:xfrm>
            <a:off x="3788219" y="600544"/>
            <a:ext cx="351241" cy="351241"/>
          </a:xfrm>
          <a:prstGeom prst="mathPlus">
            <a:avLst/>
          </a:prstGeom>
          <a:solidFill>
            <a:srgbClr val="7A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TextBox 42"/>
          <p:cNvSpPr txBox="1"/>
          <p:nvPr/>
        </p:nvSpPr>
        <p:spPr>
          <a:xfrm>
            <a:off x="4247371" y="570688"/>
            <a:ext cx="1677658" cy="914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100" b="1" dirty="0">
                <a:solidFill>
                  <a:srgbClr val="003E7E"/>
                </a:solidFill>
              </a:rPr>
              <a:t>Healthcare</a:t>
            </a:r>
          </a:p>
          <a:p>
            <a:pPr>
              <a:lnSpc>
                <a:spcPct val="90000"/>
              </a:lnSpc>
            </a:pPr>
            <a:r>
              <a:rPr lang="en-GB" sz="1100" spc="-20" dirty="0" smtClean="0">
                <a:solidFill>
                  <a:srgbClr val="003E7E"/>
                </a:solidFill>
              </a:rPr>
              <a:t>Disposable </a:t>
            </a:r>
            <a:r>
              <a:rPr lang="en-GB" sz="1100" spc="-20" dirty="0">
                <a:solidFill>
                  <a:srgbClr val="003E7E"/>
                </a:solidFill>
              </a:rPr>
              <a:t>healthcare </a:t>
            </a:r>
            <a:r>
              <a:rPr lang="en-GB" sz="1100" dirty="0" smtClean="0">
                <a:solidFill>
                  <a:srgbClr val="003E7E"/>
                </a:solidFill>
              </a:rPr>
              <a:t>consumables, </a:t>
            </a:r>
            <a:r>
              <a:rPr lang="en-GB" sz="1100" dirty="0">
                <a:solidFill>
                  <a:srgbClr val="003E7E"/>
                </a:solidFill>
              </a:rPr>
              <a:t>including gloves, swabs, gowns </a:t>
            </a:r>
            <a:r>
              <a:rPr lang="en-GB" sz="1100" dirty="0" smtClean="0">
                <a:solidFill>
                  <a:srgbClr val="003E7E"/>
                </a:solidFill>
              </a:rPr>
              <a:t>and bandages,</a:t>
            </a:r>
            <a:br>
              <a:rPr lang="en-GB" sz="1100" dirty="0" smtClean="0">
                <a:solidFill>
                  <a:srgbClr val="003E7E"/>
                </a:solidFill>
              </a:rPr>
            </a:br>
            <a:r>
              <a:rPr lang="en-GB" sz="1100" dirty="0" smtClean="0">
                <a:solidFill>
                  <a:srgbClr val="003E7E"/>
                </a:solidFill>
              </a:rPr>
              <a:t>to </a:t>
            </a:r>
            <a:r>
              <a:rPr lang="en-GB" sz="1100" dirty="0">
                <a:solidFill>
                  <a:srgbClr val="003E7E"/>
                </a:solidFill>
              </a:rPr>
              <a:t>the healthcare </a:t>
            </a:r>
            <a:r>
              <a:rPr lang="en-GB" sz="1100" dirty="0" smtClean="0">
                <a:solidFill>
                  <a:srgbClr val="003E7E"/>
                </a:solidFill>
              </a:rPr>
              <a:t>sector.</a:t>
            </a:r>
            <a:endParaRPr lang="en-GB" sz="1100" dirty="0">
              <a:solidFill>
                <a:srgbClr val="003E7E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720752" y="1546416"/>
            <a:ext cx="413996" cy="413996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3E7E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2793142" y="1586621"/>
            <a:ext cx="252977" cy="304268"/>
            <a:chOff x="2793142" y="1586621"/>
            <a:chExt cx="252977" cy="304268"/>
          </a:xfrm>
          <a:solidFill>
            <a:srgbClr val="7AC142"/>
          </a:solidFill>
        </p:grpSpPr>
        <p:sp>
          <p:nvSpPr>
            <p:cNvPr id="41" name="Freeform 5"/>
            <p:cNvSpPr>
              <a:spLocks/>
            </p:cNvSpPr>
            <p:nvPr/>
          </p:nvSpPr>
          <p:spPr bwMode="auto">
            <a:xfrm>
              <a:off x="2793142" y="1586621"/>
              <a:ext cx="252977" cy="142571"/>
            </a:xfrm>
            <a:custGeom>
              <a:avLst/>
              <a:gdLst>
                <a:gd name="T0" fmla="*/ 1956 w 2112"/>
                <a:gd name="T1" fmla="*/ 869 h 1190"/>
                <a:gd name="T2" fmla="*/ 1947 w 2112"/>
                <a:gd name="T3" fmla="*/ 824 h 1190"/>
                <a:gd name="T4" fmla="*/ 1450 w 2112"/>
                <a:gd name="T5" fmla="*/ 80 h 1190"/>
                <a:gd name="T6" fmla="*/ 1056 w 2112"/>
                <a:gd name="T7" fmla="*/ 0 h 1190"/>
                <a:gd name="T8" fmla="*/ 1056 w 2112"/>
                <a:gd name="T9" fmla="*/ 0 h 1190"/>
                <a:gd name="T10" fmla="*/ 662 w 2112"/>
                <a:gd name="T11" fmla="*/ 80 h 1190"/>
                <a:gd name="T12" fmla="*/ 166 w 2112"/>
                <a:gd name="T13" fmla="*/ 824 h 1190"/>
                <a:gd name="T14" fmla="*/ 156 w 2112"/>
                <a:gd name="T15" fmla="*/ 869 h 1190"/>
                <a:gd name="T16" fmla="*/ 28 w 2112"/>
                <a:gd name="T17" fmla="*/ 1023 h 1190"/>
                <a:gd name="T18" fmla="*/ 204 w 2112"/>
                <a:gd name="T19" fmla="*/ 1088 h 1190"/>
                <a:gd name="T20" fmla="*/ 817 w 2112"/>
                <a:gd name="T21" fmla="*/ 1165 h 1190"/>
                <a:gd name="T22" fmla="*/ 1056 w 2112"/>
                <a:gd name="T23" fmla="*/ 1190 h 1190"/>
                <a:gd name="T24" fmla="*/ 1056 w 2112"/>
                <a:gd name="T25" fmla="*/ 1190 h 1190"/>
                <a:gd name="T26" fmla="*/ 1295 w 2112"/>
                <a:gd name="T27" fmla="*/ 1165 h 1190"/>
                <a:gd name="T28" fmla="*/ 1908 w 2112"/>
                <a:gd name="T29" fmla="*/ 1088 h 1190"/>
                <a:gd name="T30" fmla="*/ 2084 w 2112"/>
                <a:gd name="T31" fmla="*/ 1023 h 1190"/>
                <a:gd name="T32" fmla="*/ 1956 w 2112"/>
                <a:gd name="T33" fmla="*/ 869 h 1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12" h="1190">
                  <a:moveTo>
                    <a:pt x="1956" y="869"/>
                  </a:moveTo>
                  <a:lnTo>
                    <a:pt x="1947" y="824"/>
                  </a:lnTo>
                  <a:cubicBezTo>
                    <a:pt x="1893" y="458"/>
                    <a:pt x="1918" y="260"/>
                    <a:pt x="1450" y="80"/>
                  </a:cubicBezTo>
                  <a:cubicBezTo>
                    <a:pt x="1323" y="30"/>
                    <a:pt x="1188" y="4"/>
                    <a:pt x="1056" y="0"/>
                  </a:cubicBezTo>
                  <a:lnTo>
                    <a:pt x="1056" y="0"/>
                  </a:lnTo>
                  <a:cubicBezTo>
                    <a:pt x="924" y="4"/>
                    <a:pt x="790" y="30"/>
                    <a:pt x="662" y="80"/>
                  </a:cubicBezTo>
                  <a:cubicBezTo>
                    <a:pt x="194" y="260"/>
                    <a:pt x="219" y="458"/>
                    <a:pt x="166" y="824"/>
                  </a:cubicBezTo>
                  <a:lnTo>
                    <a:pt x="156" y="869"/>
                  </a:lnTo>
                  <a:cubicBezTo>
                    <a:pt x="156" y="869"/>
                    <a:pt x="0" y="963"/>
                    <a:pt x="28" y="1023"/>
                  </a:cubicBezTo>
                  <a:cubicBezTo>
                    <a:pt x="61" y="1093"/>
                    <a:pt x="204" y="1088"/>
                    <a:pt x="204" y="1088"/>
                  </a:cubicBezTo>
                  <a:cubicBezTo>
                    <a:pt x="204" y="1088"/>
                    <a:pt x="609" y="1127"/>
                    <a:pt x="817" y="1165"/>
                  </a:cubicBezTo>
                  <a:cubicBezTo>
                    <a:pt x="908" y="1182"/>
                    <a:pt x="985" y="1189"/>
                    <a:pt x="1056" y="1190"/>
                  </a:cubicBezTo>
                  <a:lnTo>
                    <a:pt x="1056" y="1190"/>
                  </a:lnTo>
                  <a:cubicBezTo>
                    <a:pt x="1127" y="1189"/>
                    <a:pt x="1204" y="1182"/>
                    <a:pt x="1295" y="1165"/>
                  </a:cubicBezTo>
                  <a:cubicBezTo>
                    <a:pt x="1503" y="1127"/>
                    <a:pt x="1908" y="1088"/>
                    <a:pt x="1908" y="1088"/>
                  </a:cubicBezTo>
                  <a:cubicBezTo>
                    <a:pt x="1908" y="1088"/>
                    <a:pt x="2051" y="1093"/>
                    <a:pt x="2084" y="1023"/>
                  </a:cubicBezTo>
                  <a:cubicBezTo>
                    <a:pt x="2112" y="963"/>
                    <a:pt x="1956" y="869"/>
                    <a:pt x="1956" y="869"/>
                  </a:cubicBezTo>
                  <a:close/>
                </a:path>
              </a:pathLst>
            </a:custGeom>
            <a:grpFill/>
            <a:ln w="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3E7E"/>
                </a:solidFill>
              </a:endParaRPr>
            </a:p>
          </p:txBody>
        </p:sp>
        <p:sp>
          <p:nvSpPr>
            <p:cNvPr id="42" name="Freeform 6"/>
            <p:cNvSpPr>
              <a:spLocks/>
            </p:cNvSpPr>
            <p:nvPr/>
          </p:nvSpPr>
          <p:spPr bwMode="auto">
            <a:xfrm>
              <a:off x="2807920" y="1723976"/>
              <a:ext cx="223420" cy="166913"/>
            </a:xfrm>
            <a:custGeom>
              <a:avLst/>
              <a:gdLst>
                <a:gd name="T0" fmla="*/ 1793 w 1868"/>
                <a:gd name="T1" fmla="*/ 25 h 1388"/>
                <a:gd name="T2" fmla="*/ 1710 w 1868"/>
                <a:gd name="T3" fmla="*/ 7 h 1388"/>
                <a:gd name="T4" fmla="*/ 1640 w 1868"/>
                <a:gd name="T5" fmla="*/ 69 h 1388"/>
                <a:gd name="T6" fmla="*/ 1627 w 1868"/>
                <a:gd name="T7" fmla="*/ 97 h 1388"/>
                <a:gd name="T8" fmla="*/ 1683 w 1868"/>
                <a:gd name="T9" fmla="*/ 123 h 1388"/>
                <a:gd name="T10" fmla="*/ 1696 w 1868"/>
                <a:gd name="T11" fmla="*/ 95 h 1388"/>
                <a:gd name="T12" fmla="*/ 1724 w 1868"/>
                <a:gd name="T13" fmla="*/ 67 h 1388"/>
                <a:gd name="T14" fmla="*/ 1755 w 1868"/>
                <a:gd name="T15" fmla="*/ 74 h 1388"/>
                <a:gd name="T16" fmla="*/ 1738 w 1868"/>
                <a:gd name="T17" fmla="*/ 476 h 1388"/>
                <a:gd name="T18" fmla="*/ 1669 w 1868"/>
                <a:gd name="T19" fmla="*/ 576 h 1388"/>
                <a:gd name="T20" fmla="*/ 1604 w 1868"/>
                <a:gd name="T21" fmla="*/ 576 h 1388"/>
                <a:gd name="T22" fmla="*/ 1573 w 1868"/>
                <a:gd name="T23" fmla="*/ 607 h 1388"/>
                <a:gd name="T24" fmla="*/ 1573 w 1868"/>
                <a:gd name="T25" fmla="*/ 640 h 1388"/>
                <a:gd name="T26" fmla="*/ 1468 w 1868"/>
                <a:gd name="T27" fmla="*/ 1004 h 1388"/>
                <a:gd name="T28" fmla="*/ 1188 w 1868"/>
                <a:gd name="T29" fmla="*/ 1298 h 1388"/>
                <a:gd name="T30" fmla="*/ 956 w 1868"/>
                <a:gd name="T31" fmla="*/ 1326 h 1388"/>
                <a:gd name="T32" fmla="*/ 934 w 1868"/>
                <a:gd name="T33" fmla="*/ 1326 h 1388"/>
                <a:gd name="T34" fmla="*/ 934 w 1868"/>
                <a:gd name="T35" fmla="*/ 1326 h 1388"/>
                <a:gd name="T36" fmla="*/ 912 w 1868"/>
                <a:gd name="T37" fmla="*/ 1326 h 1388"/>
                <a:gd name="T38" fmla="*/ 680 w 1868"/>
                <a:gd name="T39" fmla="*/ 1298 h 1388"/>
                <a:gd name="T40" fmla="*/ 400 w 1868"/>
                <a:gd name="T41" fmla="*/ 1004 h 1388"/>
                <a:gd name="T42" fmla="*/ 295 w 1868"/>
                <a:gd name="T43" fmla="*/ 640 h 1388"/>
                <a:gd name="T44" fmla="*/ 296 w 1868"/>
                <a:gd name="T45" fmla="*/ 607 h 1388"/>
                <a:gd name="T46" fmla="*/ 265 w 1868"/>
                <a:gd name="T47" fmla="*/ 576 h 1388"/>
                <a:gd name="T48" fmla="*/ 199 w 1868"/>
                <a:gd name="T49" fmla="*/ 576 h 1388"/>
                <a:gd name="T50" fmla="*/ 130 w 1868"/>
                <a:gd name="T51" fmla="*/ 476 h 1388"/>
                <a:gd name="T52" fmla="*/ 113 w 1868"/>
                <a:gd name="T53" fmla="*/ 74 h 1388"/>
                <a:gd name="T54" fmla="*/ 144 w 1868"/>
                <a:gd name="T55" fmla="*/ 67 h 1388"/>
                <a:gd name="T56" fmla="*/ 172 w 1868"/>
                <a:gd name="T57" fmla="*/ 95 h 1388"/>
                <a:gd name="T58" fmla="*/ 185 w 1868"/>
                <a:gd name="T59" fmla="*/ 123 h 1388"/>
                <a:gd name="T60" fmla="*/ 241 w 1868"/>
                <a:gd name="T61" fmla="*/ 97 h 1388"/>
                <a:gd name="T62" fmla="*/ 228 w 1868"/>
                <a:gd name="T63" fmla="*/ 69 h 1388"/>
                <a:gd name="T64" fmla="*/ 158 w 1868"/>
                <a:gd name="T65" fmla="*/ 7 h 1388"/>
                <a:gd name="T66" fmla="*/ 75 w 1868"/>
                <a:gd name="T67" fmla="*/ 25 h 1388"/>
                <a:gd name="T68" fmla="*/ 71 w 1868"/>
                <a:gd name="T69" fmla="*/ 496 h 1388"/>
                <a:gd name="T70" fmla="*/ 199 w 1868"/>
                <a:gd name="T71" fmla="*/ 638 h 1388"/>
                <a:gd name="T72" fmla="*/ 233 w 1868"/>
                <a:gd name="T73" fmla="*/ 638 h 1388"/>
                <a:gd name="T74" fmla="*/ 233 w 1868"/>
                <a:gd name="T75" fmla="*/ 639 h 1388"/>
                <a:gd name="T76" fmla="*/ 349 w 1868"/>
                <a:gd name="T77" fmla="*/ 1040 h 1388"/>
                <a:gd name="T78" fmla="*/ 654 w 1868"/>
                <a:gd name="T79" fmla="*/ 1354 h 1388"/>
                <a:gd name="T80" fmla="*/ 887 w 1868"/>
                <a:gd name="T81" fmla="*/ 1388 h 1388"/>
                <a:gd name="T82" fmla="*/ 913 w 1868"/>
                <a:gd name="T83" fmla="*/ 1388 h 1388"/>
                <a:gd name="T84" fmla="*/ 934 w 1868"/>
                <a:gd name="T85" fmla="*/ 1388 h 1388"/>
                <a:gd name="T86" fmla="*/ 955 w 1868"/>
                <a:gd name="T87" fmla="*/ 1388 h 1388"/>
                <a:gd name="T88" fmla="*/ 981 w 1868"/>
                <a:gd name="T89" fmla="*/ 1388 h 1388"/>
                <a:gd name="T90" fmla="*/ 1214 w 1868"/>
                <a:gd name="T91" fmla="*/ 1354 h 1388"/>
                <a:gd name="T92" fmla="*/ 1519 w 1868"/>
                <a:gd name="T93" fmla="*/ 1040 h 1388"/>
                <a:gd name="T94" fmla="*/ 1635 w 1868"/>
                <a:gd name="T95" fmla="*/ 639 h 1388"/>
                <a:gd name="T96" fmla="*/ 1635 w 1868"/>
                <a:gd name="T97" fmla="*/ 638 h 1388"/>
                <a:gd name="T98" fmla="*/ 1669 w 1868"/>
                <a:gd name="T99" fmla="*/ 638 h 1388"/>
                <a:gd name="T100" fmla="*/ 1797 w 1868"/>
                <a:gd name="T101" fmla="*/ 496 h 1388"/>
                <a:gd name="T102" fmla="*/ 1793 w 1868"/>
                <a:gd name="T103" fmla="*/ 25 h 1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68" h="1388">
                  <a:moveTo>
                    <a:pt x="1793" y="25"/>
                  </a:moveTo>
                  <a:cubicBezTo>
                    <a:pt x="1770" y="7"/>
                    <a:pt x="1738" y="0"/>
                    <a:pt x="1710" y="7"/>
                  </a:cubicBezTo>
                  <a:cubicBezTo>
                    <a:pt x="1680" y="14"/>
                    <a:pt x="1655" y="36"/>
                    <a:pt x="1640" y="69"/>
                  </a:cubicBezTo>
                  <a:lnTo>
                    <a:pt x="1627" y="97"/>
                  </a:lnTo>
                  <a:lnTo>
                    <a:pt x="1683" y="123"/>
                  </a:lnTo>
                  <a:lnTo>
                    <a:pt x="1696" y="95"/>
                  </a:lnTo>
                  <a:cubicBezTo>
                    <a:pt x="1703" y="79"/>
                    <a:pt x="1713" y="70"/>
                    <a:pt x="1724" y="67"/>
                  </a:cubicBezTo>
                  <a:cubicBezTo>
                    <a:pt x="1734" y="65"/>
                    <a:pt x="1746" y="67"/>
                    <a:pt x="1755" y="74"/>
                  </a:cubicBezTo>
                  <a:cubicBezTo>
                    <a:pt x="1789" y="100"/>
                    <a:pt x="1793" y="317"/>
                    <a:pt x="1738" y="476"/>
                  </a:cubicBezTo>
                  <a:cubicBezTo>
                    <a:pt x="1713" y="550"/>
                    <a:pt x="1685" y="576"/>
                    <a:pt x="1669" y="576"/>
                  </a:cubicBezTo>
                  <a:lnTo>
                    <a:pt x="1604" y="576"/>
                  </a:lnTo>
                  <a:cubicBezTo>
                    <a:pt x="1586" y="576"/>
                    <a:pt x="1573" y="590"/>
                    <a:pt x="1573" y="607"/>
                  </a:cubicBezTo>
                  <a:cubicBezTo>
                    <a:pt x="1573" y="617"/>
                    <a:pt x="1573" y="628"/>
                    <a:pt x="1573" y="640"/>
                  </a:cubicBezTo>
                  <a:cubicBezTo>
                    <a:pt x="1575" y="729"/>
                    <a:pt x="1577" y="852"/>
                    <a:pt x="1468" y="1004"/>
                  </a:cubicBezTo>
                  <a:cubicBezTo>
                    <a:pt x="1328" y="1200"/>
                    <a:pt x="1282" y="1254"/>
                    <a:pt x="1188" y="1298"/>
                  </a:cubicBezTo>
                  <a:cubicBezTo>
                    <a:pt x="1124" y="1327"/>
                    <a:pt x="1027" y="1326"/>
                    <a:pt x="956" y="1326"/>
                  </a:cubicBezTo>
                  <a:cubicBezTo>
                    <a:pt x="948" y="1326"/>
                    <a:pt x="941" y="1326"/>
                    <a:pt x="934" y="1326"/>
                  </a:cubicBezTo>
                  <a:lnTo>
                    <a:pt x="934" y="1326"/>
                  </a:lnTo>
                  <a:cubicBezTo>
                    <a:pt x="927" y="1326"/>
                    <a:pt x="920" y="1326"/>
                    <a:pt x="912" y="1326"/>
                  </a:cubicBezTo>
                  <a:cubicBezTo>
                    <a:pt x="841" y="1326"/>
                    <a:pt x="744" y="1327"/>
                    <a:pt x="680" y="1298"/>
                  </a:cubicBezTo>
                  <a:cubicBezTo>
                    <a:pt x="586" y="1254"/>
                    <a:pt x="540" y="1200"/>
                    <a:pt x="400" y="1004"/>
                  </a:cubicBezTo>
                  <a:cubicBezTo>
                    <a:pt x="291" y="852"/>
                    <a:pt x="293" y="729"/>
                    <a:pt x="295" y="640"/>
                  </a:cubicBezTo>
                  <a:cubicBezTo>
                    <a:pt x="295" y="628"/>
                    <a:pt x="296" y="617"/>
                    <a:pt x="296" y="607"/>
                  </a:cubicBezTo>
                  <a:cubicBezTo>
                    <a:pt x="296" y="590"/>
                    <a:pt x="282" y="576"/>
                    <a:pt x="265" y="576"/>
                  </a:cubicBezTo>
                  <a:lnTo>
                    <a:pt x="199" y="576"/>
                  </a:lnTo>
                  <a:cubicBezTo>
                    <a:pt x="183" y="576"/>
                    <a:pt x="155" y="550"/>
                    <a:pt x="130" y="476"/>
                  </a:cubicBezTo>
                  <a:cubicBezTo>
                    <a:pt x="75" y="317"/>
                    <a:pt x="80" y="100"/>
                    <a:pt x="113" y="74"/>
                  </a:cubicBezTo>
                  <a:cubicBezTo>
                    <a:pt x="122" y="67"/>
                    <a:pt x="134" y="65"/>
                    <a:pt x="144" y="67"/>
                  </a:cubicBezTo>
                  <a:cubicBezTo>
                    <a:pt x="156" y="70"/>
                    <a:pt x="165" y="79"/>
                    <a:pt x="172" y="95"/>
                  </a:cubicBezTo>
                  <a:lnTo>
                    <a:pt x="185" y="123"/>
                  </a:lnTo>
                  <a:lnTo>
                    <a:pt x="241" y="97"/>
                  </a:lnTo>
                  <a:lnTo>
                    <a:pt x="228" y="69"/>
                  </a:lnTo>
                  <a:cubicBezTo>
                    <a:pt x="213" y="36"/>
                    <a:pt x="189" y="14"/>
                    <a:pt x="158" y="7"/>
                  </a:cubicBezTo>
                  <a:cubicBezTo>
                    <a:pt x="130" y="0"/>
                    <a:pt x="99" y="7"/>
                    <a:pt x="75" y="25"/>
                  </a:cubicBezTo>
                  <a:cubicBezTo>
                    <a:pt x="0" y="84"/>
                    <a:pt x="22" y="351"/>
                    <a:pt x="71" y="496"/>
                  </a:cubicBezTo>
                  <a:cubicBezTo>
                    <a:pt x="104" y="590"/>
                    <a:pt x="147" y="638"/>
                    <a:pt x="199" y="638"/>
                  </a:cubicBezTo>
                  <a:lnTo>
                    <a:pt x="233" y="638"/>
                  </a:lnTo>
                  <a:cubicBezTo>
                    <a:pt x="233" y="638"/>
                    <a:pt x="233" y="638"/>
                    <a:pt x="233" y="639"/>
                  </a:cubicBezTo>
                  <a:cubicBezTo>
                    <a:pt x="231" y="737"/>
                    <a:pt x="228" y="871"/>
                    <a:pt x="349" y="1040"/>
                  </a:cubicBezTo>
                  <a:cubicBezTo>
                    <a:pt x="490" y="1236"/>
                    <a:pt x="545" y="1303"/>
                    <a:pt x="654" y="1354"/>
                  </a:cubicBezTo>
                  <a:cubicBezTo>
                    <a:pt x="722" y="1385"/>
                    <a:pt x="814" y="1388"/>
                    <a:pt x="887" y="1388"/>
                  </a:cubicBezTo>
                  <a:cubicBezTo>
                    <a:pt x="896" y="1388"/>
                    <a:pt x="905" y="1388"/>
                    <a:pt x="913" y="1388"/>
                  </a:cubicBezTo>
                  <a:cubicBezTo>
                    <a:pt x="920" y="1388"/>
                    <a:pt x="927" y="1388"/>
                    <a:pt x="934" y="1388"/>
                  </a:cubicBezTo>
                  <a:cubicBezTo>
                    <a:pt x="941" y="1388"/>
                    <a:pt x="948" y="1388"/>
                    <a:pt x="955" y="1388"/>
                  </a:cubicBezTo>
                  <a:cubicBezTo>
                    <a:pt x="964" y="1388"/>
                    <a:pt x="972" y="1388"/>
                    <a:pt x="981" y="1388"/>
                  </a:cubicBezTo>
                  <a:cubicBezTo>
                    <a:pt x="1054" y="1388"/>
                    <a:pt x="1146" y="1385"/>
                    <a:pt x="1214" y="1354"/>
                  </a:cubicBezTo>
                  <a:cubicBezTo>
                    <a:pt x="1324" y="1303"/>
                    <a:pt x="1378" y="1236"/>
                    <a:pt x="1519" y="1040"/>
                  </a:cubicBezTo>
                  <a:cubicBezTo>
                    <a:pt x="1640" y="871"/>
                    <a:pt x="1637" y="737"/>
                    <a:pt x="1635" y="639"/>
                  </a:cubicBezTo>
                  <a:cubicBezTo>
                    <a:pt x="1635" y="638"/>
                    <a:pt x="1635" y="638"/>
                    <a:pt x="1635" y="638"/>
                  </a:cubicBezTo>
                  <a:lnTo>
                    <a:pt x="1669" y="638"/>
                  </a:lnTo>
                  <a:cubicBezTo>
                    <a:pt x="1722" y="638"/>
                    <a:pt x="1764" y="590"/>
                    <a:pt x="1797" y="496"/>
                  </a:cubicBezTo>
                  <a:cubicBezTo>
                    <a:pt x="1847" y="351"/>
                    <a:pt x="1868" y="84"/>
                    <a:pt x="1793" y="25"/>
                  </a:cubicBezTo>
                  <a:close/>
                </a:path>
              </a:pathLst>
            </a:custGeom>
            <a:grpFill/>
            <a:ln w="1270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3E7E"/>
                </a:solidFill>
              </a:endParaRP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3236309" y="1546416"/>
            <a:ext cx="1500509" cy="11841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100" b="1" dirty="0" smtClean="0">
                <a:solidFill>
                  <a:srgbClr val="003E7E"/>
                </a:solidFill>
              </a:rPr>
              <a:t>Safety</a:t>
            </a:r>
          </a:p>
          <a:p>
            <a:pPr>
              <a:lnSpc>
                <a:spcPct val="90000"/>
              </a:lnSpc>
            </a:pPr>
            <a:r>
              <a:rPr lang="en-GB" sz="1050" dirty="0" smtClean="0">
                <a:solidFill>
                  <a:srgbClr val="003E7E"/>
                </a:solidFill>
              </a:rPr>
              <a:t>A </a:t>
            </a:r>
            <a:r>
              <a:rPr lang="en-GB" sz="1050" dirty="0">
                <a:solidFill>
                  <a:srgbClr val="003E7E"/>
                </a:solidFill>
              </a:rPr>
              <a:t>complete </a:t>
            </a:r>
            <a:r>
              <a:rPr lang="en-GB" sz="1050" dirty="0" smtClean="0">
                <a:solidFill>
                  <a:srgbClr val="003E7E"/>
                </a:solidFill>
              </a:rPr>
              <a:t>range</a:t>
            </a:r>
            <a:br>
              <a:rPr lang="en-GB" sz="1050" dirty="0" smtClean="0">
                <a:solidFill>
                  <a:srgbClr val="003E7E"/>
                </a:solidFill>
              </a:rPr>
            </a:br>
            <a:r>
              <a:rPr lang="en-GB" sz="1050" dirty="0" smtClean="0">
                <a:solidFill>
                  <a:srgbClr val="003E7E"/>
                </a:solidFill>
              </a:rPr>
              <a:t>of personal </a:t>
            </a:r>
            <a:r>
              <a:rPr lang="en-GB" sz="1050" dirty="0">
                <a:solidFill>
                  <a:srgbClr val="003E7E"/>
                </a:solidFill>
              </a:rPr>
              <a:t>protection </a:t>
            </a:r>
            <a:r>
              <a:rPr lang="en-GB" sz="1050" dirty="0" smtClean="0">
                <a:solidFill>
                  <a:srgbClr val="003E7E"/>
                </a:solidFill>
              </a:rPr>
              <a:t>equipment</a:t>
            </a:r>
            <a:r>
              <a:rPr lang="en-GB" sz="1050" dirty="0">
                <a:solidFill>
                  <a:srgbClr val="003E7E"/>
                </a:solidFill>
              </a:rPr>
              <a:t>, including hard hats, </a:t>
            </a:r>
            <a:r>
              <a:rPr lang="en-GB" sz="1050" dirty="0" smtClean="0">
                <a:solidFill>
                  <a:srgbClr val="003E7E"/>
                </a:solidFill>
              </a:rPr>
              <a:t>gloves,</a:t>
            </a:r>
            <a:br>
              <a:rPr lang="en-GB" sz="1050" dirty="0" smtClean="0">
                <a:solidFill>
                  <a:srgbClr val="003E7E"/>
                </a:solidFill>
              </a:rPr>
            </a:br>
            <a:r>
              <a:rPr lang="en-GB" sz="1050" dirty="0" smtClean="0">
                <a:solidFill>
                  <a:srgbClr val="003E7E"/>
                </a:solidFill>
              </a:rPr>
              <a:t>boots </a:t>
            </a:r>
            <a:r>
              <a:rPr lang="en-GB" sz="1050" dirty="0">
                <a:solidFill>
                  <a:srgbClr val="003E7E"/>
                </a:solidFill>
              </a:rPr>
              <a:t>and </a:t>
            </a:r>
            <a:r>
              <a:rPr lang="en-GB" sz="1050" dirty="0" err="1" smtClean="0">
                <a:solidFill>
                  <a:srgbClr val="003E7E"/>
                </a:solidFill>
              </a:rPr>
              <a:t>workwear</a:t>
            </a:r>
            <a:r>
              <a:rPr lang="en-GB" sz="1050" dirty="0" smtClean="0">
                <a:solidFill>
                  <a:srgbClr val="003E7E"/>
                </a:solidFill>
              </a:rPr>
              <a:t>,</a:t>
            </a:r>
            <a:br>
              <a:rPr lang="en-GB" sz="1050" dirty="0" smtClean="0">
                <a:solidFill>
                  <a:srgbClr val="003E7E"/>
                </a:solidFill>
              </a:rPr>
            </a:br>
            <a:r>
              <a:rPr lang="en-GB" sz="1050" dirty="0" smtClean="0">
                <a:solidFill>
                  <a:srgbClr val="003E7E"/>
                </a:solidFill>
              </a:rPr>
              <a:t>to </a:t>
            </a:r>
            <a:r>
              <a:rPr lang="en-GB" sz="1050" dirty="0">
                <a:solidFill>
                  <a:srgbClr val="003E7E"/>
                </a:solidFill>
              </a:rPr>
              <a:t>industrial and </a:t>
            </a:r>
            <a:r>
              <a:rPr lang="en-GB" sz="1050" dirty="0" smtClean="0">
                <a:solidFill>
                  <a:srgbClr val="003E7E"/>
                </a:solidFill>
              </a:rPr>
              <a:t>construction </a:t>
            </a:r>
            <a:r>
              <a:rPr lang="en-GB" sz="1050" dirty="0">
                <a:solidFill>
                  <a:srgbClr val="003E7E"/>
                </a:solidFill>
              </a:rPr>
              <a:t>markets. 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674008" y="3465201"/>
            <a:ext cx="413996" cy="413996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3E7E"/>
              </a:solidFill>
            </a:endParaRPr>
          </a:p>
        </p:txBody>
      </p:sp>
      <p:sp>
        <p:nvSpPr>
          <p:cNvPr id="27" name="Freeform 19"/>
          <p:cNvSpPr>
            <a:spLocks noEditPoints="1"/>
          </p:cNvSpPr>
          <p:nvPr/>
        </p:nvSpPr>
        <p:spPr bwMode="auto">
          <a:xfrm>
            <a:off x="2762004" y="3502455"/>
            <a:ext cx="230703" cy="294452"/>
          </a:xfrm>
          <a:custGeom>
            <a:avLst/>
            <a:gdLst>
              <a:gd name="T0" fmla="*/ 2665 w 9111"/>
              <a:gd name="T1" fmla="*/ 4016 h 11628"/>
              <a:gd name="T2" fmla="*/ 3088 w 9111"/>
              <a:gd name="T3" fmla="*/ 3593 h 11628"/>
              <a:gd name="T4" fmla="*/ 3088 w 9111"/>
              <a:gd name="T5" fmla="*/ 2315 h 11628"/>
              <a:gd name="T6" fmla="*/ 4556 w 9111"/>
              <a:gd name="T7" fmla="*/ 847 h 11628"/>
              <a:gd name="T8" fmla="*/ 6023 w 9111"/>
              <a:gd name="T9" fmla="*/ 2315 h 11628"/>
              <a:gd name="T10" fmla="*/ 6023 w 9111"/>
              <a:gd name="T11" fmla="*/ 3593 h 11628"/>
              <a:gd name="T12" fmla="*/ 6447 w 9111"/>
              <a:gd name="T13" fmla="*/ 4016 h 11628"/>
              <a:gd name="T14" fmla="*/ 6870 w 9111"/>
              <a:gd name="T15" fmla="*/ 3593 h 11628"/>
              <a:gd name="T16" fmla="*/ 6870 w 9111"/>
              <a:gd name="T17" fmla="*/ 2315 h 11628"/>
              <a:gd name="T18" fmla="*/ 4556 w 9111"/>
              <a:gd name="T19" fmla="*/ 0 h 11628"/>
              <a:gd name="T20" fmla="*/ 2242 w 9111"/>
              <a:gd name="T21" fmla="*/ 2315 h 11628"/>
              <a:gd name="T22" fmla="*/ 2242 w 9111"/>
              <a:gd name="T23" fmla="*/ 3593 h 11628"/>
              <a:gd name="T24" fmla="*/ 2665 w 9111"/>
              <a:gd name="T25" fmla="*/ 4016 h 11628"/>
              <a:gd name="T26" fmla="*/ 9111 w 9111"/>
              <a:gd name="T27" fmla="*/ 11628 h 11628"/>
              <a:gd name="T28" fmla="*/ 0 w 9111"/>
              <a:gd name="T29" fmla="*/ 11628 h 11628"/>
              <a:gd name="T30" fmla="*/ 863 w 9111"/>
              <a:gd name="T31" fmla="*/ 3679 h 11628"/>
              <a:gd name="T32" fmla="*/ 1596 w 9111"/>
              <a:gd name="T33" fmla="*/ 3679 h 11628"/>
              <a:gd name="T34" fmla="*/ 2665 w 9111"/>
              <a:gd name="T35" fmla="*/ 4666 h 11628"/>
              <a:gd name="T36" fmla="*/ 3734 w 9111"/>
              <a:gd name="T37" fmla="*/ 3679 h 11628"/>
              <a:gd name="T38" fmla="*/ 5378 w 9111"/>
              <a:gd name="T39" fmla="*/ 3679 h 11628"/>
              <a:gd name="T40" fmla="*/ 6447 w 9111"/>
              <a:gd name="T41" fmla="*/ 4666 h 11628"/>
              <a:gd name="T42" fmla="*/ 7515 w 9111"/>
              <a:gd name="T43" fmla="*/ 3679 h 11628"/>
              <a:gd name="T44" fmla="*/ 8252 w 9111"/>
              <a:gd name="T45" fmla="*/ 3679 h 11628"/>
              <a:gd name="T46" fmla="*/ 9111 w 9111"/>
              <a:gd name="T47" fmla="*/ 11628 h 11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9111" h="11628">
                <a:moveTo>
                  <a:pt x="2665" y="4016"/>
                </a:moveTo>
                <a:cubicBezTo>
                  <a:pt x="2899" y="4016"/>
                  <a:pt x="3088" y="3827"/>
                  <a:pt x="3088" y="3593"/>
                </a:cubicBezTo>
                <a:lnTo>
                  <a:pt x="3088" y="2315"/>
                </a:lnTo>
                <a:cubicBezTo>
                  <a:pt x="3088" y="1505"/>
                  <a:pt x="3747" y="847"/>
                  <a:pt x="4556" y="847"/>
                </a:cubicBezTo>
                <a:cubicBezTo>
                  <a:pt x="5365" y="847"/>
                  <a:pt x="6023" y="1505"/>
                  <a:pt x="6023" y="2315"/>
                </a:cubicBezTo>
                <a:lnTo>
                  <a:pt x="6023" y="3593"/>
                </a:lnTo>
                <a:cubicBezTo>
                  <a:pt x="6023" y="3827"/>
                  <a:pt x="6213" y="4016"/>
                  <a:pt x="6447" y="4016"/>
                </a:cubicBezTo>
                <a:cubicBezTo>
                  <a:pt x="6681" y="4016"/>
                  <a:pt x="6870" y="3827"/>
                  <a:pt x="6870" y="3593"/>
                </a:cubicBezTo>
                <a:lnTo>
                  <a:pt x="6870" y="2315"/>
                </a:lnTo>
                <a:cubicBezTo>
                  <a:pt x="6870" y="1036"/>
                  <a:pt x="5834" y="0"/>
                  <a:pt x="4556" y="0"/>
                </a:cubicBezTo>
                <a:cubicBezTo>
                  <a:pt x="3278" y="0"/>
                  <a:pt x="2242" y="1036"/>
                  <a:pt x="2242" y="2315"/>
                </a:cubicBezTo>
                <a:lnTo>
                  <a:pt x="2242" y="3593"/>
                </a:lnTo>
                <a:cubicBezTo>
                  <a:pt x="2242" y="3827"/>
                  <a:pt x="2431" y="4016"/>
                  <a:pt x="2665" y="4016"/>
                </a:cubicBezTo>
                <a:close/>
                <a:moveTo>
                  <a:pt x="9111" y="11628"/>
                </a:moveTo>
                <a:lnTo>
                  <a:pt x="0" y="11628"/>
                </a:lnTo>
                <a:lnTo>
                  <a:pt x="863" y="3679"/>
                </a:lnTo>
                <a:lnTo>
                  <a:pt x="1596" y="3679"/>
                </a:lnTo>
                <a:cubicBezTo>
                  <a:pt x="1640" y="4230"/>
                  <a:pt x="2103" y="4666"/>
                  <a:pt x="2665" y="4666"/>
                </a:cubicBezTo>
                <a:cubicBezTo>
                  <a:pt x="3227" y="4666"/>
                  <a:pt x="3690" y="4230"/>
                  <a:pt x="3734" y="3679"/>
                </a:cubicBezTo>
                <a:lnTo>
                  <a:pt x="5378" y="3679"/>
                </a:lnTo>
                <a:cubicBezTo>
                  <a:pt x="5422" y="4230"/>
                  <a:pt x="5884" y="4666"/>
                  <a:pt x="6447" y="4666"/>
                </a:cubicBezTo>
                <a:cubicBezTo>
                  <a:pt x="7009" y="4666"/>
                  <a:pt x="7472" y="4230"/>
                  <a:pt x="7515" y="3679"/>
                </a:cubicBezTo>
                <a:lnTo>
                  <a:pt x="8252" y="3679"/>
                </a:lnTo>
                <a:lnTo>
                  <a:pt x="9111" y="11628"/>
                </a:lnTo>
                <a:close/>
              </a:path>
            </a:pathLst>
          </a:custGeom>
          <a:solidFill>
            <a:srgbClr val="7AC14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3E7E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189566" y="3465200"/>
            <a:ext cx="1332000" cy="1764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100" b="1" dirty="0" smtClean="0">
                <a:solidFill>
                  <a:srgbClr val="003E7E"/>
                </a:solidFill>
              </a:rPr>
              <a:t>Retail</a:t>
            </a:r>
            <a:endParaRPr lang="en-GB" sz="1100" dirty="0" smtClean="0">
              <a:solidFill>
                <a:srgbClr val="003E7E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1050" dirty="0" smtClean="0">
                <a:solidFill>
                  <a:srgbClr val="003E7E"/>
                </a:solidFill>
              </a:rPr>
              <a:t>Goods </a:t>
            </a:r>
            <a:r>
              <a:rPr lang="en-GB" sz="1050" dirty="0">
                <a:solidFill>
                  <a:srgbClr val="003E7E"/>
                </a:solidFill>
              </a:rPr>
              <a:t>not for resale, including packaging </a:t>
            </a:r>
          </a:p>
          <a:p>
            <a:pPr>
              <a:lnSpc>
                <a:spcPct val="90000"/>
              </a:lnSpc>
            </a:pPr>
            <a:r>
              <a:rPr lang="en-GB" sz="1050" dirty="0">
                <a:solidFill>
                  <a:srgbClr val="003E7E"/>
                </a:solidFill>
              </a:rPr>
              <a:t>and </a:t>
            </a:r>
            <a:r>
              <a:rPr lang="en-GB" sz="1050" dirty="0" smtClean="0">
                <a:solidFill>
                  <a:srgbClr val="003E7E"/>
                </a:solidFill>
              </a:rPr>
              <a:t>a full </a:t>
            </a:r>
            <a:r>
              <a:rPr lang="en-GB" sz="1050" dirty="0">
                <a:solidFill>
                  <a:srgbClr val="003E7E"/>
                </a:solidFill>
              </a:rPr>
              <a:t>range of cleaning and hygiene </a:t>
            </a:r>
            <a:r>
              <a:rPr lang="en-GB" sz="1050" dirty="0" smtClean="0">
                <a:solidFill>
                  <a:srgbClr val="003E7E"/>
                </a:solidFill>
              </a:rPr>
              <a:t> products</a:t>
            </a:r>
            <a:r>
              <a:rPr lang="en-GB" sz="1050" dirty="0">
                <a:solidFill>
                  <a:srgbClr val="003E7E"/>
                </a:solidFill>
              </a:rPr>
              <a:t>, </a:t>
            </a:r>
            <a:r>
              <a:rPr lang="en-GB" sz="1050" dirty="0" smtClean="0">
                <a:solidFill>
                  <a:srgbClr val="003E7E"/>
                </a:solidFill>
              </a:rPr>
              <a:t>to department </a:t>
            </a:r>
            <a:r>
              <a:rPr lang="en-GB" sz="1050" dirty="0">
                <a:solidFill>
                  <a:srgbClr val="003E7E"/>
                </a:solidFill>
              </a:rPr>
              <a:t>stores, boutiques, </a:t>
            </a:r>
            <a:r>
              <a:rPr lang="en-GB" sz="1050" dirty="0" smtClean="0">
                <a:solidFill>
                  <a:srgbClr val="003E7E"/>
                </a:solidFill>
              </a:rPr>
              <a:t>office </a:t>
            </a:r>
            <a:r>
              <a:rPr lang="en-GB" sz="1050" dirty="0">
                <a:solidFill>
                  <a:srgbClr val="003E7E"/>
                </a:solidFill>
              </a:rPr>
              <a:t>supply companies, retail chains </a:t>
            </a:r>
            <a:r>
              <a:rPr lang="en-GB" sz="1050" dirty="0" smtClean="0">
                <a:solidFill>
                  <a:srgbClr val="003E7E"/>
                </a:solidFill>
              </a:rPr>
              <a:t>and </a:t>
            </a:r>
            <a:r>
              <a:rPr lang="en-GB" sz="1050" dirty="0">
                <a:solidFill>
                  <a:srgbClr val="003E7E"/>
                </a:solidFill>
              </a:rPr>
              <a:t>home improvement chains. 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808826" y="5357840"/>
            <a:ext cx="2232406" cy="8794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100" b="1" dirty="0">
                <a:solidFill>
                  <a:srgbClr val="003E7E"/>
                </a:solidFill>
              </a:rPr>
              <a:t>Cleaning &amp; </a:t>
            </a:r>
            <a:r>
              <a:rPr lang="en-GB" sz="1100" b="1" dirty="0" smtClean="0">
                <a:solidFill>
                  <a:srgbClr val="003E7E"/>
                </a:solidFill>
              </a:rPr>
              <a:t>hygiene</a:t>
            </a:r>
            <a:endParaRPr lang="en-GB" sz="1100" b="1" dirty="0">
              <a:solidFill>
                <a:srgbClr val="003E7E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1050" dirty="0" smtClean="0">
                <a:solidFill>
                  <a:srgbClr val="003E7E"/>
                </a:solidFill>
              </a:rPr>
              <a:t>Cleaning </a:t>
            </a:r>
            <a:r>
              <a:rPr lang="en-GB" sz="1050" dirty="0">
                <a:solidFill>
                  <a:srgbClr val="003E7E"/>
                </a:solidFill>
              </a:rPr>
              <a:t>and hygiene materials, </a:t>
            </a:r>
            <a:r>
              <a:rPr lang="en-GB" sz="1050" dirty="0" smtClean="0">
                <a:solidFill>
                  <a:srgbClr val="003E7E"/>
                </a:solidFill>
              </a:rPr>
              <a:t>including chemicals </a:t>
            </a:r>
            <a:r>
              <a:rPr lang="en-GB" sz="1050" dirty="0">
                <a:solidFill>
                  <a:srgbClr val="003E7E"/>
                </a:solidFill>
              </a:rPr>
              <a:t>and hygiene paper, to cleaning and </a:t>
            </a:r>
            <a:r>
              <a:rPr lang="en-GB" sz="1050" dirty="0" smtClean="0">
                <a:solidFill>
                  <a:srgbClr val="003E7E"/>
                </a:solidFill>
              </a:rPr>
              <a:t>facilities </a:t>
            </a:r>
            <a:r>
              <a:rPr lang="en-GB" sz="1050" dirty="0">
                <a:solidFill>
                  <a:srgbClr val="003E7E"/>
                </a:solidFill>
              </a:rPr>
              <a:t>management </a:t>
            </a:r>
            <a:r>
              <a:rPr lang="en-GB" sz="1050" dirty="0" smtClean="0">
                <a:solidFill>
                  <a:srgbClr val="003E7E"/>
                </a:solidFill>
              </a:rPr>
              <a:t>companies </a:t>
            </a:r>
            <a:r>
              <a:rPr lang="en-GB" sz="1050" dirty="0">
                <a:solidFill>
                  <a:srgbClr val="003E7E"/>
                </a:solidFill>
              </a:rPr>
              <a:t>and industrial </a:t>
            </a:r>
            <a:r>
              <a:rPr lang="en-GB" sz="1050" dirty="0" smtClean="0">
                <a:solidFill>
                  <a:srgbClr val="003E7E"/>
                </a:solidFill>
              </a:rPr>
              <a:t>and healthcare customers</a:t>
            </a:r>
            <a:r>
              <a:rPr lang="en-GB" sz="1050" dirty="0">
                <a:solidFill>
                  <a:srgbClr val="003E7E"/>
                </a:solidFill>
              </a:rPr>
              <a:t>. </a:t>
            </a:r>
          </a:p>
        </p:txBody>
      </p:sp>
      <p:sp>
        <p:nvSpPr>
          <p:cNvPr id="9" name="Rectangle 8"/>
          <p:cNvSpPr/>
          <p:nvPr/>
        </p:nvSpPr>
        <p:spPr>
          <a:xfrm>
            <a:off x="7341187" y="1973021"/>
            <a:ext cx="413996" cy="413996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3E7E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7402371" y="1995928"/>
            <a:ext cx="275388" cy="351941"/>
            <a:chOff x="7402371" y="1995928"/>
            <a:chExt cx="275388" cy="351941"/>
          </a:xfrm>
          <a:solidFill>
            <a:srgbClr val="7AC142"/>
          </a:solidFill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 flipH="1">
              <a:off x="7633021" y="1996922"/>
              <a:ext cx="44738" cy="350947"/>
            </a:xfrm>
            <a:custGeom>
              <a:avLst/>
              <a:gdLst>
                <a:gd name="T0" fmla="*/ 0 w 358"/>
                <a:gd name="T1" fmla="*/ 114 h 2798"/>
                <a:gd name="T2" fmla="*/ 0 w 358"/>
                <a:gd name="T3" fmla="*/ 2627 h 2798"/>
                <a:gd name="T4" fmla="*/ 171 w 358"/>
                <a:gd name="T5" fmla="*/ 2798 h 2798"/>
                <a:gd name="T6" fmla="*/ 343 w 358"/>
                <a:gd name="T7" fmla="*/ 2627 h 2798"/>
                <a:gd name="T8" fmla="*/ 248 w 358"/>
                <a:gd name="T9" fmla="*/ 1609 h 2798"/>
                <a:gd name="T10" fmla="*/ 293 w 358"/>
                <a:gd name="T11" fmla="*/ 1493 h 2798"/>
                <a:gd name="T12" fmla="*/ 343 w 358"/>
                <a:gd name="T13" fmla="*/ 1373 h 2798"/>
                <a:gd name="T14" fmla="*/ 343 w 358"/>
                <a:gd name="T15" fmla="*/ 668 h 2798"/>
                <a:gd name="T16" fmla="*/ 114 w 358"/>
                <a:gd name="T17" fmla="*/ 0 h 2798"/>
                <a:gd name="T18" fmla="*/ 0 w 358"/>
                <a:gd name="T19" fmla="*/ 114 h 2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8" h="2798">
                  <a:moveTo>
                    <a:pt x="0" y="114"/>
                  </a:moveTo>
                  <a:lnTo>
                    <a:pt x="0" y="2627"/>
                  </a:lnTo>
                  <a:cubicBezTo>
                    <a:pt x="0" y="2722"/>
                    <a:pt x="77" y="2798"/>
                    <a:pt x="171" y="2798"/>
                  </a:cubicBezTo>
                  <a:cubicBezTo>
                    <a:pt x="266" y="2798"/>
                    <a:pt x="343" y="2722"/>
                    <a:pt x="343" y="2627"/>
                  </a:cubicBezTo>
                  <a:lnTo>
                    <a:pt x="248" y="1609"/>
                  </a:lnTo>
                  <a:cubicBezTo>
                    <a:pt x="248" y="1565"/>
                    <a:pt x="265" y="1524"/>
                    <a:pt x="293" y="1493"/>
                  </a:cubicBezTo>
                  <a:cubicBezTo>
                    <a:pt x="323" y="1461"/>
                    <a:pt x="343" y="1420"/>
                    <a:pt x="343" y="1373"/>
                  </a:cubicBezTo>
                  <a:lnTo>
                    <a:pt x="343" y="668"/>
                  </a:lnTo>
                  <a:cubicBezTo>
                    <a:pt x="343" y="668"/>
                    <a:pt x="358" y="0"/>
                    <a:pt x="114" y="0"/>
                  </a:cubicBezTo>
                  <a:cubicBezTo>
                    <a:pt x="51" y="0"/>
                    <a:pt x="0" y="51"/>
                    <a:pt x="0" y="11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3E7E"/>
                </a:solidFill>
              </a:endParaRPr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7522667" y="1995928"/>
              <a:ext cx="72575" cy="351940"/>
            </a:xfrm>
            <a:custGeom>
              <a:avLst/>
              <a:gdLst>
                <a:gd name="T0" fmla="*/ 579 w 582"/>
                <a:gd name="T1" fmla="*/ 862 h 2804"/>
                <a:gd name="T2" fmla="*/ 504 w 582"/>
                <a:gd name="T3" fmla="*/ 23 h 2804"/>
                <a:gd name="T4" fmla="*/ 478 w 582"/>
                <a:gd name="T5" fmla="*/ 0 h 2804"/>
                <a:gd name="T6" fmla="*/ 453 w 582"/>
                <a:gd name="T7" fmla="*/ 26 h 2804"/>
                <a:gd name="T8" fmla="*/ 459 w 582"/>
                <a:gd name="T9" fmla="*/ 810 h 2804"/>
                <a:gd name="T10" fmla="*/ 424 w 582"/>
                <a:gd name="T11" fmla="*/ 845 h 2804"/>
                <a:gd name="T12" fmla="*/ 389 w 582"/>
                <a:gd name="T13" fmla="*/ 810 h 2804"/>
                <a:gd name="T14" fmla="*/ 377 w 582"/>
                <a:gd name="T15" fmla="*/ 26 h 2804"/>
                <a:gd name="T16" fmla="*/ 351 w 582"/>
                <a:gd name="T17" fmla="*/ 0 h 2804"/>
                <a:gd name="T18" fmla="*/ 326 w 582"/>
                <a:gd name="T19" fmla="*/ 26 h 2804"/>
                <a:gd name="T20" fmla="*/ 326 w 582"/>
                <a:gd name="T21" fmla="*/ 810 h 2804"/>
                <a:gd name="T22" fmla="*/ 291 w 582"/>
                <a:gd name="T23" fmla="*/ 845 h 2804"/>
                <a:gd name="T24" fmla="*/ 256 w 582"/>
                <a:gd name="T25" fmla="*/ 810 h 2804"/>
                <a:gd name="T26" fmla="*/ 256 w 582"/>
                <a:gd name="T27" fmla="*/ 26 h 2804"/>
                <a:gd name="T28" fmla="*/ 231 w 582"/>
                <a:gd name="T29" fmla="*/ 0 h 2804"/>
                <a:gd name="T30" fmla="*/ 205 w 582"/>
                <a:gd name="T31" fmla="*/ 26 h 2804"/>
                <a:gd name="T32" fmla="*/ 193 w 582"/>
                <a:gd name="T33" fmla="*/ 810 h 2804"/>
                <a:gd name="T34" fmla="*/ 158 w 582"/>
                <a:gd name="T35" fmla="*/ 845 h 2804"/>
                <a:gd name="T36" fmla="*/ 123 w 582"/>
                <a:gd name="T37" fmla="*/ 810 h 2804"/>
                <a:gd name="T38" fmla="*/ 129 w 582"/>
                <a:gd name="T39" fmla="*/ 26 h 2804"/>
                <a:gd name="T40" fmla="*/ 104 w 582"/>
                <a:gd name="T41" fmla="*/ 0 h 2804"/>
                <a:gd name="T42" fmla="*/ 78 w 582"/>
                <a:gd name="T43" fmla="*/ 23 h 2804"/>
                <a:gd name="T44" fmla="*/ 3 w 582"/>
                <a:gd name="T45" fmla="*/ 862 h 2804"/>
                <a:gd name="T46" fmla="*/ 0 w 582"/>
                <a:gd name="T47" fmla="*/ 900 h 2804"/>
                <a:gd name="T48" fmla="*/ 45 w 582"/>
                <a:gd name="T49" fmla="*/ 1054 h 2804"/>
                <a:gd name="T50" fmla="*/ 45 w 582"/>
                <a:gd name="T51" fmla="*/ 1054 h 2804"/>
                <a:gd name="T52" fmla="*/ 158 w 582"/>
                <a:gd name="T53" fmla="*/ 1235 h 2804"/>
                <a:gd name="T54" fmla="*/ 196 w 582"/>
                <a:gd name="T55" fmla="*/ 1378 h 2804"/>
                <a:gd name="T56" fmla="*/ 120 w 582"/>
                <a:gd name="T57" fmla="*/ 2633 h 2804"/>
                <a:gd name="T58" fmla="*/ 291 w 582"/>
                <a:gd name="T59" fmla="*/ 2804 h 2804"/>
                <a:gd name="T60" fmla="*/ 462 w 582"/>
                <a:gd name="T61" fmla="*/ 2633 h 2804"/>
                <a:gd name="T62" fmla="*/ 386 w 582"/>
                <a:gd name="T63" fmla="*/ 1378 h 2804"/>
                <a:gd name="T64" fmla="*/ 424 w 582"/>
                <a:gd name="T65" fmla="*/ 1235 h 2804"/>
                <a:gd name="T66" fmla="*/ 537 w 582"/>
                <a:gd name="T67" fmla="*/ 1054 h 2804"/>
                <a:gd name="T68" fmla="*/ 537 w 582"/>
                <a:gd name="T69" fmla="*/ 1054 h 2804"/>
                <a:gd name="T70" fmla="*/ 582 w 582"/>
                <a:gd name="T71" fmla="*/ 900 h 2804"/>
                <a:gd name="T72" fmla="*/ 579 w 582"/>
                <a:gd name="T73" fmla="*/ 862 h 2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82" h="2804">
                  <a:moveTo>
                    <a:pt x="579" y="862"/>
                  </a:moveTo>
                  <a:lnTo>
                    <a:pt x="504" y="23"/>
                  </a:lnTo>
                  <a:cubicBezTo>
                    <a:pt x="502" y="10"/>
                    <a:pt x="491" y="0"/>
                    <a:pt x="478" y="0"/>
                  </a:cubicBezTo>
                  <a:cubicBezTo>
                    <a:pt x="464" y="0"/>
                    <a:pt x="453" y="12"/>
                    <a:pt x="453" y="26"/>
                  </a:cubicBezTo>
                  <a:lnTo>
                    <a:pt x="459" y="810"/>
                  </a:lnTo>
                  <a:cubicBezTo>
                    <a:pt x="459" y="829"/>
                    <a:pt x="444" y="845"/>
                    <a:pt x="424" y="845"/>
                  </a:cubicBezTo>
                  <a:cubicBezTo>
                    <a:pt x="405" y="845"/>
                    <a:pt x="389" y="829"/>
                    <a:pt x="389" y="810"/>
                  </a:cubicBezTo>
                  <a:lnTo>
                    <a:pt x="377" y="26"/>
                  </a:lnTo>
                  <a:cubicBezTo>
                    <a:pt x="377" y="12"/>
                    <a:pt x="365" y="0"/>
                    <a:pt x="351" y="0"/>
                  </a:cubicBezTo>
                  <a:cubicBezTo>
                    <a:pt x="337" y="0"/>
                    <a:pt x="326" y="12"/>
                    <a:pt x="326" y="26"/>
                  </a:cubicBezTo>
                  <a:lnTo>
                    <a:pt x="326" y="810"/>
                  </a:lnTo>
                  <a:cubicBezTo>
                    <a:pt x="326" y="829"/>
                    <a:pt x="310" y="845"/>
                    <a:pt x="291" y="845"/>
                  </a:cubicBezTo>
                  <a:cubicBezTo>
                    <a:pt x="272" y="845"/>
                    <a:pt x="256" y="829"/>
                    <a:pt x="256" y="810"/>
                  </a:cubicBezTo>
                  <a:lnTo>
                    <a:pt x="256" y="26"/>
                  </a:lnTo>
                  <a:cubicBezTo>
                    <a:pt x="256" y="12"/>
                    <a:pt x="245" y="0"/>
                    <a:pt x="231" y="0"/>
                  </a:cubicBezTo>
                  <a:cubicBezTo>
                    <a:pt x="217" y="0"/>
                    <a:pt x="205" y="12"/>
                    <a:pt x="205" y="26"/>
                  </a:cubicBezTo>
                  <a:lnTo>
                    <a:pt x="193" y="810"/>
                  </a:lnTo>
                  <a:cubicBezTo>
                    <a:pt x="193" y="829"/>
                    <a:pt x="177" y="845"/>
                    <a:pt x="158" y="845"/>
                  </a:cubicBezTo>
                  <a:cubicBezTo>
                    <a:pt x="138" y="845"/>
                    <a:pt x="123" y="829"/>
                    <a:pt x="123" y="810"/>
                  </a:cubicBezTo>
                  <a:lnTo>
                    <a:pt x="129" y="26"/>
                  </a:lnTo>
                  <a:cubicBezTo>
                    <a:pt x="129" y="12"/>
                    <a:pt x="118" y="0"/>
                    <a:pt x="104" y="0"/>
                  </a:cubicBezTo>
                  <a:cubicBezTo>
                    <a:pt x="91" y="0"/>
                    <a:pt x="80" y="10"/>
                    <a:pt x="78" y="23"/>
                  </a:cubicBezTo>
                  <a:lnTo>
                    <a:pt x="3" y="862"/>
                  </a:lnTo>
                  <a:cubicBezTo>
                    <a:pt x="1" y="874"/>
                    <a:pt x="0" y="887"/>
                    <a:pt x="0" y="900"/>
                  </a:cubicBezTo>
                  <a:cubicBezTo>
                    <a:pt x="0" y="957"/>
                    <a:pt x="17" y="1010"/>
                    <a:pt x="45" y="1054"/>
                  </a:cubicBezTo>
                  <a:lnTo>
                    <a:pt x="45" y="1054"/>
                  </a:lnTo>
                  <a:lnTo>
                    <a:pt x="158" y="1235"/>
                  </a:lnTo>
                  <a:cubicBezTo>
                    <a:pt x="182" y="1277"/>
                    <a:pt x="196" y="1326"/>
                    <a:pt x="196" y="1378"/>
                  </a:cubicBezTo>
                  <a:lnTo>
                    <a:pt x="120" y="2633"/>
                  </a:lnTo>
                  <a:cubicBezTo>
                    <a:pt x="120" y="2727"/>
                    <a:pt x="196" y="2804"/>
                    <a:pt x="291" y="2804"/>
                  </a:cubicBezTo>
                  <a:cubicBezTo>
                    <a:pt x="386" y="2804"/>
                    <a:pt x="462" y="2727"/>
                    <a:pt x="462" y="2633"/>
                  </a:cubicBezTo>
                  <a:lnTo>
                    <a:pt x="386" y="1378"/>
                  </a:lnTo>
                  <a:cubicBezTo>
                    <a:pt x="386" y="1326"/>
                    <a:pt x="400" y="1277"/>
                    <a:pt x="424" y="1235"/>
                  </a:cubicBezTo>
                  <a:lnTo>
                    <a:pt x="537" y="1054"/>
                  </a:lnTo>
                  <a:lnTo>
                    <a:pt x="537" y="1054"/>
                  </a:lnTo>
                  <a:cubicBezTo>
                    <a:pt x="565" y="1010"/>
                    <a:pt x="582" y="957"/>
                    <a:pt x="582" y="900"/>
                  </a:cubicBezTo>
                  <a:cubicBezTo>
                    <a:pt x="582" y="887"/>
                    <a:pt x="581" y="874"/>
                    <a:pt x="579" y="86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3E7E"/>
                </a:solidFill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7402371" y="1995928"/>
              <a:ext cx="93453" cy="351940"/>
            </a:xfrm>
            <a:custGeom>
              <a:avLst/>
              <a:gdLst>
                <a:gd name="T0" fmla="*/ 549 w 746"/>
                <a:gd name="T1" fmla="*/ 74 h 2800"/>
                <a:gd name="T2" fmla="*/ 373 w 746"/>
                <a:gd name="T3" fmla="*/ 0 h 2800"/>
                <a:gd name="T4" fmla="*/ 197 w 746"/>
                <a:gd name="T5" fmla="*/ 74 h 2800"/>
                <a:gd name="T6" fmla="*/ 0 w 746"/>
                <a:gd name="T7" fmla="*/ 553 h 2800"/>
                <a:gd name="T8" fmla="*/ 73 w 746"/>
                <a:gd name="T9" fmla="*/ 861 h 2800"/>
                <a:gd name="T10" fmla="*/ 150 w 746"/>
                <a:gd name="T11" fmla="*/ 961 h 2800"/>
                <a:gd name="T12" fmla="*/ 272 w 746"/>
                <a:gd name="T13" fmla="*/ 1349 h 2800"/>
                <a:gd name="T14" fmla="*/ 202 w 746"/>
                <a:gd name="T15" fmla="*/ 2628 h 2800"/>
                <a:gd name="T16" fmla="*/ 373 w 746"/>
                <a:gd name="T17" fmla="*/ 2800 h 2800"/>
                <a:gd name="T18" fmla="*/ 373 w 746"/>
                <a:gd name="T19" fmla="*/ 2800 h 2800"/>
                <a:gd name="T20" fmla="*/ 545 w 746"/>
                <a:gd name="T21" fmla="*/ 2628 h 2800"/>
                <a:gd name="T22" fmla="*/ 475 w 746"/>
                <a:gd name="T23" fmla="*/ 1349 h 2800"/>
                <a:gd name="T24" fmla="*/ 596 w 746"/>
                <a:gd name="T25" fmla="*/ 961 h 2800"/>
                <a:gd name="T26" fmla="*/ 673 w 746"/>
                <a:gd name="T27" fmla="*/ 861 h 2800"/>
                <a:gd name="T28" fmla="*/ 746 w 746"/>
                <a:gd name="T29" fmla="*/ 553 h 2800"/>
                <a:gd name="T30" fmla="*/ 549 w 746"/>
                <a:gd name="T31" fmla="*/ 74 h 2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6" h="2800">
                  <a:moveTo>
                    <a:pt x="549" y="74"/>
                  </a:moveTo>
                  <a:cubicBezTo>
                    <a:pt x="504" y="28"/>
                    <a:pt x="442" y="0"/>
                    <a:pt x="373" y="0"/>
                  </a:cubicBezTo>
                  <a:cubicBezTo>
                    <a:pt x="304" y="0"/>
                    <a:pt x="242" y="28"/>
                    <a:pt x="197" y="74"/>
                  </a:cubicBezTo>
                  <a:cubicBezTo>
                    <a:pt x="75" y="197"/>
                    <a:pt x="0" y="366"/>
                    <a:pt x="0" y="553"/>
                  </a:cubicBezTo>
                  <a:cubicBezTo>
                    <a:pt x="0" y="664"/>
                    <a:pt x="17" y="774"/>
                    <a:pt x="73" y="861"/>
                  </a:cubicBezTo>
                  <a:cubicBezTo>
                    <a:pt x="101" y="904"/>
                    <a:pt x="122" y="927"/>
                    <a:pt x="150" y="961"/>
                  </a:cubicBezTo>
                  <a:cubicBezTo>
                    <a:pt x="230" y="1056"/>
                    <a:pt x="281" y="1193"/>
                    <a:pt x="272" y="1349"/>
                  </a:cubicBezTo>
                  <a:lnTo>
                    <a:pt x="202" y="2628"/>
                  </a:lnTo>
                  <a:cubicBezTo>
                    <a:pt x="202" y="2723"/>
                    <a:pt x="278" y="2800"/>
                    <a:pt x="373" y="2800"/>
                  </a:cubicBezTo>
                  <a:lnTo>
                    <a:pt x="373" y="2800"/>
                  </a:lnTo>
                  <a:cubicBezTo>
                    <a:pt x="468" y="2800"/>
                    <a:pt x="545" y="2723"/>
                    <a:pt x="545" y="2628"/>
                  </a:cubicBezTo>
                  <a:lnTo>
                    <a:pt x="475" y="1349"/>
                  </a:lnTo>
                  <a:cubicBezTo>
                    <a:pt x="465" y="1193"/>
                    <a:pt x="516" y="1056"/>
                    <a:pt x="596" y="961"/>
                  </a:cubicBezTo>
                  <a:cubicBezTo>
                    <a:pt x="624" y="927"/>
                    <a:pt x="646" y="904"/>
                    <a:pt x="673" y="861"/>
                  </a:cubicBezTo>
                  <a:cubicBezTo>
                    <a:pt x="729" y="774"/>
                    <a:pt x="746" y="664"/>
                    <a:pt x="746" y="553"/>
                  </a:cubicBezTo>
                  <a:cubicBezTo>
                    <a:pt x="746" y="366"/>
                    <a:pt x="671" y="197"/>
                    <a:pt x="549" y="7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3E7E"/>
                </a:solidFill>
              </a:endParaRPr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7812936" y="1966422"/>
            <a:ext cx="1676568" cy="16065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100" b="1" dirty="0" smtClean="0">
                <a:solidFill>
                  <a:srgbClr val="003E7E"/>
                </a:solidFill>
              </a:rPr>
              <a:t>Foodservice</a:t>
            </a:r>
            <a:endParaRPr lang="en-GB" sz="1100" dirty="0" smtClean="0">
              <a:solidFill>
                <a:srgbClr val="003E7E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1050" dirty="0" smtClean="0">
                <a:solidFill>
                  <a:srgbClr val="003E7E"/>
                </a:solidFill>
              </a:rPr>
              <a:t>Non-food consumables</a:t>
            </a:r>
            <a:r>
              <a:rPr lang="en-GB" sz="1050" dirty="0">
                <a:solidFill>
                  <a:srgbClr val="003E7E"/>
                </a:solidFill>
              </a:rPr>
              <a:t>, including food </a:t>
            </a:r>
            <a:r>
              <a:rPr lang="en-GB" sz="1050" dirty="0" smtClean="0">
                <a:solidFill>
                  <a:srgbClr val="003E7E"/>
                </a:solidFill>
              </a:rPr>
              <a:t>packaging</a:t>
            </a:r>
            <a:r>
              <a:rPr lang="en-GB" sz="1050" dirty="0">
                <a:solidFill>
                  <a:srgbClr val="003E7E"/>
                </a:solidFill>
              </a:rPr>
              <a:t>, disposable </a:t>
            </a:r>
            <a:r>
              <a:rPr lang="en-GB" sz="1050" dirty="0" smtClean="0">
                <a:solidFill>
                  <a:srgbClr val="003E7E"/>
                </a:solidFill>
              </a:rPr>
              <a:t>tableware,</a:t>
            </a:r>
            <a:br>
              <a:rPr lang="en-GB" sz="1050" dirty="0" smtClean="0">
                <a:solidFill>
                  <a:srgbClr val="003E7E"/>
                </a:solidFill>
              </a:rPr>
            </a:br>
            <a:r>
              <a:rPr lang="en-GB" sz="1050" dirty="0" smtClean="0">
                <a:solidFill>
                  <a:srgbClr val="003E7E"/>
                </a:solidFill>
              </a:rPr>
              <a:t>guest amenities</a:t>
            </a:r>
            <a:r>
              <a:rPr lang="en-GB" sz="1050" dirty="0">
                <a:solidFill>
                  <a:srgbClr val="003E7E"/>
                </a:solidFill>
              </a:rPr>
              <a:t>, </a:t>
            </a:r>
            <a:r>
              <a:rPr lang="en-GB" sz="1050" dirty="0" smtClean="0">
                <a:solidFill>
                  <a:srgbClr val="003E7E"/>
                </a:solidFill>
              </a:rPr>
              <a:t>catering equipment</a:t>
            </a:r>
            <a:r>
              <a:rPr lang="en-GB" sz="1050" dirty="0">
                <a:solidFill>
                  <a:srgbClr val="003E7E"/>
                </a:solidFill>
              </a:rPr>
              <a:t>, </a:t>
            </a:r>
            <a:r>
              <a:rPr lang="en-GB" sz="1050" dirty="0" smtClean="0">
                <a:solidFill>
                  <a:srgbClr val="003E7E"/>
                </a:solidFill>
              </a:rPr>
              <a:t>cleaning products </a:t>
            </a:r>
            <a:r>
              <a:rPr lang="en-GB" sz="1050" dirty="0">
                <a:solidFill>
                  <a:srgbClr val="003E7E"/>
                </a:solidFill>
              </a:rPr>
              <a:t>and safety items, to </a:t>
            </a:r>
            <a:r>
              <a:rPr lang="en-GB" sz="1050" dirty="0" smtClean="0">
                <a:solidFill>
                  <a:srgbClr val="003E7E"/>
                </a:solidFill>
              </a:rPr>
              <a:t>hotels</a:t>
            </a:r>
            <a:r>
              <a:rPr lang="en-GB" sz="1050" dirty="0">
                <a:solidFill>
                  <a:srgbClr val="003E7E"/>
                </a:solidFill>
              </a:rPr>
              <a:t>, restaurants, contract caterers, food </a:t>
            </a:r>
          </a:p>
          <a:p>
            <a:pPr>
              <a:lnSpc>
                <a:spcPct val="90000"/>
              </a:lnSpc>
            </a:pPr>
            <a:r>
              <a:rPr lang="en-GB" sz="1050" dirty="0">
                <a:solidFill>
                  <a:srgbClr val="003E7E"/>
                </a:solidFill>
              </a:rPr>
              <a:t>processors </a:t>
            </a:r>
            <a:r>
              <a:rPr lang="en-GB" sz="1050" dirty="0" smtClean="0">
                <a:solidFill>
                  <a:srgbClr val="003E7E"/>
                </a:solidFill>
              </a:rPr>
              <a:t>and the </a:t>
            </a:r>
            <a:r>
              <a:rPr lang="en-GB" sz="1050" dirty="0">
                <a:solidFill>
                  <a:srgbClr val="003E7E"/>
                </a:solidFill>
              </a:rPr>
              <a:t>leisure </a:t>
            </a:r>
            <a:r>
              <a:rPr lang="en-GB" sz="1050" dirty="0" smtClean="0">
                <a:solidFill>
                  <a:srgbClr val="003E7E"/>
                </a:solidFill>
              </a:rPr>
              <a:t>sector.</a:t>
            </a:r>
            <a:endParaRPr lang="en-GB" sz="1050" dirty="0">
              <a:solidFill>
                <a:srgbClr val="003E7E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7045327" y="5177896"/>
            <a:ext cx="172345" cy="118285"/>
            <a:chOff x="7045327" y="5177896"/>
            <a:chExt cx="172345" cy="118285"/>
          </a:xfrm>
          <a:solidFill>
            <a:srgbClr val="003E7E"/>
          </a:solidFill>
        </p:grpSpPr>
        <p:sp>
          <p:nvSpPr>
            <p:cNvPr id="31" name="Rounded Rectangle 30"/>
            <p:cNvSpPr/>
            <p:nvPr/>
          </p:nvSpPr>
          <p:spPr>
            <a:xfrm>
              <a:off x="7045327" y="5177896"/>
              <a:ext cx="19714" cy="118285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7083484" y="5177896"/>
              <a:ext cx="19714" cy="118285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7121642" y="5177896"/>
              <a:ext cx="19714" cy="118285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Rounded Rectangle 33"/>
            <p:cNvSpPr/>
            <p:nvPr/>
          </p:nvSpPr>
          <p:spPr>
            <a:xfrm>
              <a:off x="7159800" y="5177896"/>
              <a:ext cx="19714" cy="118285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5" name="Rounded Rectangle 34"/>
            <p:cNvSpPr/>
            <p:nvPr/>
          </p:nvSpPr>
          <p:spPr>
            <a:xfrm>
              <a:off x="7197958" y="5177896"/>
              <a:ext cx="19714" cy="118285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6" name="Rounded Rectangle 35"/>
          <p:cNvSpPr/>
          <p:nvPr/>
        </p:nvSpPr>
        <p:spPr>
          <a:xfrm>
            <a:off x="6954072" y="5146562"/>
            <a:ext cx="354854" cy="2503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ounded Rectangle 36"/>
          <p:cNvSpPr/>
          <p:nvPr/>
        </p:nvSpPr>
        <p:spPr>
          <a:xfrm rot="2700000">
            <a:off x="7048145" y="5029483"/>
            <a:ext cx="29571" cy="157713"/>
          </a:xfrm>
          <a:prstGeom prst="roundRect">
            <a:avLst>
              <a:gd name="adj" fmla="val 50000"/>
            </a:avLst>
          </a:prstGeom>
          <a:solidFill>
            <a:srgbClr val="7A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ounded Rectangle 37"/>
          <p:cNvSpPr/>
          <p:nvPr/>
        </p:nvSpPr>
        <p:spPr>
          <a:xfrm rot="18900000" flipH="1">
            <a:off x="7180575" y="5026079"/>
            <a:ext cx="29571" cy="157713"/>
          </a:xfrm>
          <a:prstGeom prst="roundRect">
            <a:avLst>
              <a:gd name="adj" fmla="val 50000"/>
            </a:avLst>
          </a:prstGeom>
          <a:solidFill>
            <a:srgbClr val="7A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4" name="TextBox 53"/>
          <p:cNvSpPr txBox="1"/>
          <p:nvPr/>
        </p:nvSpPr>
        <p:spPr>
          <a:xfrm>
            <a:off x="7429674" y="4924384"/>
            <a:ext cx="2220819" cy="10248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100" b="1" dirty="0" smtClean="0">
                <a:solidFill>
                  <a:srgbClr val="003E7E"/>
                </a:solidFill>
              </a:rPr>
              <a:t>Grocery</a:t>
            </a:r>
            <a:endParaRPr lang="en-GB" sz="1100" dirty="0" smtClean="0">
              <a:solidFill>
                <a:srgbClr val="003E7E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1050" dirty="0">
                <a:solidFill>
                  <a:srgbClr val="003E7E"/>
                </a:solidFill>
              </a:rPr>
              <a:t>Goods not for resale (items </a:t>
            </a:r>
            <a:r>
              <a:rPr lang="en-GB" sz="1050" dirty="0" smtClean="0">
                <a:solidFill>
                  <a:srgbClr val="003E7E"/>
                </a:solidFill>
              </a:rPr>
              <a:t>which</a:t>
            </a:r>
            <a:br>
              <a:rPr lang="en-GB" sz="1050" dirty="0" smtClean="0">
                <a:solidFill>
                  <a:srgbClr val="003E7E"/>
                </a:solidFill>
              </a:rPr>
            </a:br>
            <a:r>
              <a:rPr lang="en-GB" sz="1050" dirty="0" smtClean="0">
                <a:solidFill>
                  <a:srgbClr val="003E7E"/>
                </a:solidFill>
              </a:rPr>
              <a:t>are </a:t>
            </a:r>
            <a:r>
              <a:rPr lang="en-GB" sz="1050" dirty="0">
                <a:solidFill>
                  <a:srgbClr val="003E7E"/>
                </a:solidFill>
              </a:rPr>
              <a:t>used </a:t>
            </a:r>
            <a:r>
              <a:rPr lang="en-GB" sz="1050" dirty="0" smtClean="0">
                <a:solidFill>
                  <a:srgbClr val="003E7E"/>
                </a:solidFill>
              </a:rPr>
              <a:t>but </a:t>
            </a:r>
            <a:r>
              <a:rPr lang="en-GB" sz="1050" dirty="0">
                <a:solidFill>
                  <a:srgbClr val="003E7E"/>
                </a:solidFill>
              </a:rPr>
              <a:t>not actually sold), including </a:t>
            </a:r>
            <a:r>
              <a:rPr lang="en-GB" sz="1050" dirty="0" smtClean="0">
                <a:solidFill>
                  <a:srgbClr val="003E7E"/>
                </a:solidFill>
              </a:rPr>
              <a:t>food </a:t>
            </a:r>
            <a:r>
              <a:rPr lang="en-GB" sz="1050" dirty="0">
                <a:solidFill>
                  <a:srgbClr val="003E7E"/>
                </a:solidFill>
              </a:rPr>
              <a:t>packaging, films, labels and cleaning </a:t>
            </a:r>
            <a:r>
              <a:rPr lang="en-GB" sz="1050" dirty="0" smtClean="0">
                <a:solidFill>
                  <a:srgbClr val="003E7E"/>
                </a:solidFill>
              </a:rPr>
              <a:t>and </a:t>
            </a:r>
            <a:r>
              <a:rPr lang="en-GB" sz="1050" dirty="0">
                <a:solidFill>
                  <a:srgbClr val="003E7E"/>
                </a:solidFill>
              </a:rPr>
              <a:t>hygiene supplies, to </a:t>
            </a:r>
            <a:r>
              <a:rPr lang="en-GB" sz="1050" dirty="0" smtClean="0">
                <a:solidFill>
                  <a:srgbClr val="003E7E"/>
                </a:solidFill>
              </a:rPr>
              <a:t>grocery </a:t>
            </a:r>
            <a:r>
              <a:rPr lang="en-GB" sz="1050" dirty="0">
                <a:solidFill>
                  <a:srgbClr val="003E7E"/>
                </a:solidFill>
              </a:rPr>
              <a:t>stores, supermarkets </a:t>
            </a:r>
            <a:r>
              <a:rPr lang="en-GB" sz="1050" dirty="0" smtClean="0">
                <a:solidFill>
                  <a:srgbClr val="003E7E"/>
                </a:solidFill>
              </a:rPr>
              <a:t>and </a:t>
            </a:r>
            <a:r>
              <a:rPr lang="en-GB" sz="1050" dirty="0">
                <a:solidFill>
                  <a:srgbClr val="003E7E"/>
                </a:solidFill>
              </a:rPr>
              <a:t>retail chains. 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7095188" y="750737"/>
            <a:ext cx="1602228" cy="7340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GB" sz="1100" b="1" dirty="0" smtClean="0">
                <a:solidFill>
                  <a:srgbClr val="003E7E"/>
                </a:solidFill>
              </a:rPr>
              <a:t>Other</a:t>
            </a:r>
            <a:endParaRPr lang="en-GB" sz="1100" dirty="0" smtClean="0">
              <a:solidFill>
                <a:srgbClr val="003E7E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1050" dirty="0">
                <a:solidFill>
                  <a:srgbClr val="003E7E"/>
                </a:solidFill>
              </a:rPr>
              <a:t>A variety of product ranges supplied </a:t>
            </a:r>
            <a:r>
              <a:rPr lang="en-GB" sz="1050" dirty="0" smtClean="0">
                <a:solidFill>
                  <a:srgbClr val="003E7E"/>
                </a:solidFill>
              </a:rPr>
              <a:t>to other markets such as government and education </a:t>
            </a:r>
            <a:r>
              <a:rPr lang="en-GB" sz="1050" dirty="0">
                <a:solidFill>
                  <a:srgbClr val="003E7E"/>
                </a:solidFill>
              </a:rPr>
              <a:t>establishments.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59" name="Rectangle 58"/>
          <p:cNvSpPr/>
          <p:nvPr/>
        </p:nvSpPr>
        <p:spPr>
          <a:xfrm>
            <a:off x="6590993" y="757336"/>
            <a:ext cx="413996" cy="413996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60" name="Elbow Connector 59"/>
          <p:cNvCxnSpPr>
            <a:stCxn id="40" idx="2"/>
          </p:cNvCxnSpPr>
          <p:nvPr/>
        </p:nvCxnSpPr>
        <p:spPr>
          <a:xfrm rot="16200000" flipH="1">
            <a:off x="3388773" y="1499388"/>
            <a:ext cx="856520" cy="1778567"/>
          </a:xfrm>
          <a:prstGeom prst="bentConnector2">
            <a:avLst/>
          </a:prstGeom>
          <a:ln w="12700">
            <a:solidFill>
              <a:srgbClr val="003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65"/>
          <p:cNvCxnSpPr>
            <a:stCxn id="26" idx="0"/>
          </p:cNvCxnSpPr>
          <p:nvPr/>
        </p:nvCxnSpPr>
        <p:spPr>
          <a:xfrm rot="5400000" flipH="1" flipV="1">
            <a:off x="3688910" y="2582625"/>
            <a:ext cx="74673" cy="1690480"/>
          </a:xfrm>
          <a:prstGeom prst="bentConnector2">
            <a:avLst/>
          </a:prstGeom>
          <a:ln w="12700">
            <a:solidFill>
              <a:srgbClr val="003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69"/>
          <p:cNvCxnSpPr/>
          <p:nvPr/>
        </p:nvCxnSpPr>
        <p:spPr>
          <a:xfrm rot="5400000" flipH="1" flipV="1">
            <a:off x="4260706" y="4694772"/>
            <a:ext cx="931854" cy="452734"/>
          </a:xfrm>
          <a:prstGeom prst="bentConnector2">
            <a:avLst/>
          </a:prstGeom>
          <a:ln w="12700">
            <a:solidFill>
              <a:srgbClr val="003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Elbow Connector 76"/>
          <p:cNvCxnSpPr/>
          <p:nvPr/>
        </p:nvCxnSpPr>
        <p:spPr>
          <a:xfrm rot="16200000" flipV="1">
            <a:off x="6875443" y="4669252"/>
            <a:ext cx="306029" cy="262687"/>
          </a:xfrm>
          <a:prstGeom prst="bentConnector2">
            <a:avLst/>
          </a:prstGeom>
          <a:ln w="12700">
            <a:solidFill>
              <a:srgbClr val="003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 flipH="1">
            <a:off x="6681192" y="2171898"/>
            <a:ext cx="659997" cy="0"/>
          </a:xfrm>
          <a:prstGeom prst="line">
            <a:avLst/>
          </a:prstGeom>
          <a:ln w="12700">
            <a:solidFill>
              <a:srgbClr val="003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Elbow Connector 83"/>
          <p:cNvCxnSpPr>
            <a:stCxn id="59" idx="1"/>
          </p:cNvCxnSpPr>
          <p:nvPr/>
        </p:nvCxnSpPr>
        <p:spPr>
          <a:xfrm rot="10800000" flipV="1">
            <a:off x="5923391" y="964334"/>
            <a:ext cx="667602" cy="1032588"/>
          </a:xfrm>
          <a:prstGeom prst="bentConnector2">
            <a:avLst/>
          </a:prstGeom>
          <a:ln w="12700">
            <a:solidFill>
              <a:srgbClr val="003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5385048" y="1480626"/>
            <a:ext cx="0" cy="657875"/>
          </a:xfrm>
          <a:prstGeom prst="line">
            <a:avLst/>
          </a:prstGeom>
          <a:ln w="12700">
            <a:solidFill>
              <a:srgbClr val="003E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4294633" y="5388676"/>
            <a:ext cx="414000" cy="414000"/>
          </a:xfrm>
          <a:prstGeom prst="rect">
            <a:avLst/>
          </a:prstGeom>
          <a:solidFill>
            <a:srgbClr val="003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" name="Freeform 27"/>
          <p:cNvSpPr>
            <a:spLocks/>
          </p:cNvSpPr>
          <p:nvPr/>
        </p:nvSpPr>
        <p:spPr bwMode="auto">
          <a:xfrm>
            <a:off x="4399538" y="5585849"/>
            <a:ext cx="191318" cy="169904"/>
          </a:xfrm>
          <a:custGeom>
            <a:avLst/>
            <a:gdLst>
              <a:gd name="T0" fmla="*/ 399 w 545"/>
              <a:gd name="T1" fmla="*/ 468 h 484"/>
              <a:gd name="T2" fmla="*/ 357 w 545"/>
              <a:gd name="T3" fmla="*/ 479 h 484"/>
              <a:gd name="T4" fmla="*/ 310 w 545"/>
              <a:gd name="T5" fmla="*/ 484 h 484"/>
              <a:gd name="T6" fmla="*/ 261 w 545"/>
              <a:gd name="T7" fmla="*/ 477 h 484"/>
              <a:gd name="T8" fmla="*/ 193 w 545"/>
              <a:gd name="T9" fmla="*/ 436 h 484"/>
              <a:gd name="T10" fmla="*/ 150 w 545"/>
              <a:gd name="T11" fmla="*/ 339 h 484"/>
              <a:gd name="T12" fmla="*/ 147 w 545"/>
              <a:gd name="T13" fmla="*/ 233 h 484"/>
              <a:gd name="T14" fmla="*/ 157 w 545"/>
              <a:gd name="T15" fmla="*/ 160 h 484"/>
              <a:gd name="T16" fmla="*/ 119 w 545"/>
              <a:gd name="T17" fmla="*/ 136 h 484"/>
              <a:gd name="T18" fmla="*/ 109 w 545"/>
              <a:gd name="T19" fmla="*/ 172 h 484"/>
              <a:gd name="T20" fmla="*/ 100 w 545"/>
              <a:gd name="T21" fmla="*/ 251 h 484"/>
              <a:gd name="T22" fmla="*/ 98 w 545"/>
              <a:gd name="T23" fmla="*/ 294 h 484"/>
              <a:gd name="T24" fmla="*/ 96 w 545"/>
              <a:gd name="T25" fmla="*/ 294 h 484"/>
              <a:gd name="T26" fmla="*/ 91 w 545"/>
              <a:gd name="T27" fmla="*/ 294 h 484"/>
              <a:gd name="T28" fmla="*/ 81 w 545"/>
              <a:gd name="T29" fmla="*/ 290 h 484"/>
              <a:gd name="T30" fmla="*/ 66 w 545"/>
              <a:gd name="T31" fmla="*/ 282 h 484"/>
              <a:gd name="T32" fmla="*/ 46 w 545"/>
              <a:gd name="T33" fmla="*/ 264 h 484"/>
              <a:gd name="T34" fmla="*/ 17 w 545"/>
              <a:gd name="T35" fmla="*/ 228 h 484"/>
              <a:gd name="T36" fmla="*/ 3 w 545"/>
              <a:gd name="T37" fmla="*/ 190 h 484"/>
              <a:gd name="T38" fmla="*/ 0 w 545"/>
              <a:gd name="T39" fmla="*/ 159 h 484"/>
              <a:gd name="T40" fmla="*/ 6 w 545"/>
              <a:gd name="T41" fmla="*/ 136 h 484"/>
              <a:gd name="T42" fmla="*/ 25 w 545"/>
              <a:gd name="T43" fmla="*/ 121 h 484"/>
              <a:gd name="T44" fmla="*/ 54 w 545"/>
              <a:gd name="T45" fmla="*/ 99 h 484"/>
              <a:gd name="T46" fmla="*/ 76 w 545"/>
              <a:gd name="T47" fmla="*/ 75 h 484"/>
              <a:gd name="T48" fmla="*/ 90 w 545"/>
              <a:gd name="T49" fmla="*/ 57 h 484"/>
              <a:gd name="T50" fmla="*/ 96 w 545"/>
              <a:gd name="T51" fmla="*/ 47 h 484"/>
              <a:gd name="T52" fmla="*/ 104 w 545"/>
              <a:gd name="T53" fmla="*/ 33 h 484"/>
              <a:gd name="T54" fmla="*/ 116 w 545"/>
              <a:gd name="T55" fmla="*/ 21 h 484"/>
              <a:gd name="T56" fmla="*/ 139 w 545"/>
              <a:gd name="T57" fmla="*/ 15 h 484"/>
              <a:gd name="T58" fmla="*/ 174 w 545"/>
              <a:gd name="T59" fmla="*/ 8 h 484"/>
              <a:gd name="T60" fmla="*/ 215 w 545"/>
              <a:gd name="T61" fmla="*/ 2 h 484"/>
              <a:gd name="T62" fmla="*/ 260 w 545"/>
              <a:gd name="T63" fmla="*/ 0 h 484"/>
              <a:gd name="T64" fmla="*/ 305 w 545"/>
              <a:gd name="T65" fmla="*/ 3 h 484"/>
              <a:gd name="T66" fmla="*/ 346 w 545"/>
              <a:gd name="T67" fmla="*/ 16 h 484"/>
              <a:gd name="T68" fmla="*/ 380 w 545"/>
              <a:gd name="T69" fmla="*/ 37 h 484"/>
              <a:gd name="T70" fmla="*/ 405 w 545"/>
              <a:gd name="T71" fmla="*/ 74 h 484"/>
              <a:gd name="T72" fmla="*/ 409 w 545"/>
              <a:gd name="T73" fmla="*/ 120 h 484"/>
              <a:gd name="T74" fmla="*/ 394 w 545"/>
              <a:gd name="T75" fmla="*/ 167 h 484"/>
              <a:gd name="T76" fmla="*/ 369 w 545"/>
              <a:gd name="T77" fmla="*/ 215 h 484"/>
              <a:gd name="T78" fmla="*/ 344 w 545"/>
              <a:gd name="T79" fmla="*/ 257 h 484"/>
              <a:gd name="T80" fmla="*/ 326 w 545"/>
              <a:gd name="T81" fmla="*/ 292 h 484"/>
              <a:gd name="T82" fmla="*/ 317 w 545"/>
              <a:gd name="T83" fmla="*/ 324 h 484"/>
              <a:gd name="T84" fmla="*/ 321 w 545"/>
              <a:gd name="T85" fmla="*/ 350 h 484"/>
              <a:gd name="T86" fmla="*/ 343 w 545"/>
              <a:gd name="T87" fmla="*/ 372 h 484"/>
              <a:gd name="T88" fmla="*/ 379 w 545"/>
              <a:gd name="T89" fmla="*/ 384 h 484"/>
              <a:gd name="T90" fmla="*/ 424 w 545"/>
              <a:gd name="T91" fmla="*/ 385 h 484"/>
              <a:gd name="T92" fmla="*/ 474 w 545"/>
              <a:gd name="T93" fmla="*/ 380 h 484"/>
              <a:gd name="T94" fmla="*/ 504 w 545"/>
              <a:gd name="T95" fmla="*/ 376 h 484"/>
              <a:gd name="T96" fmla="*/ 515 w 545"/>
              <a:gd name="T97" fmla="*/ 375 h 484"/>
              <a:gd name="T98" fmla="*/ 527 w 545"/>
              <a:gd name="T99" fmla="*/ 372 h 484"/>
              <a:gd name="T100" fmla="*/ 540 w 545"/>
              <a:gd name="T101" fmla="*/ 371 h 484"/>
              <a:gd name="T102" fmla="*/ 536 w 545"/>
              <a:gd name="T103" fmla="*/ 381 h 484"/>
              <a:gd name="T104" fmla="*/ 512 w 545"/>
              <a:gd name="T105" fmla="*/ 404 h 484"/>
              <a:gd name="T106" fmla="*/ 480 w 545"/>
              <a:gd name="T107" fmla="*/ 427 h 484"/>
              <a:gd name="T108" fmla="*/ 440 w 545"/>
              <a:gd name="T109" fmla="*/ 451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45" h="484">
                <a:moveTo>
                  <a:pt x="418" y="461"/>
                </a:moveTo>
                <a:lnTo>
                  <a:pt x="399" y="468"/>
                </a:lnTo>
                <a:lnTo>
                  <a:pt x="379" y="474"/>
                </a:lnTo>
                <a:lnTo>
                  <a:pt x="357" y="479"/>
                </a:lnTo>
                <a:lnTo>
                  <a:pt x="334" y="483"/>
                </a:lnTo>
                <a:lnTo>
                  <a:pt x="310" y="484"/>
                </a:lnTo>
                <a:lnTo>
                  <a:pt x="286" y="482"/>
                </a:lnTo>
                <a:lnTo>
                  <a:pt x="261" y="477"/>
                </a:lnTo>
                <a:lnTo>
                  <a:pt x="236" y="468"/>
                </a:lnTo>
                <a:lnTo>
                  <a:pt x="193" y="436"/>
                </a:lnTo>
                <a:lnTo>
                  <a:pt x="165" y="391"/>
                </a:lnTo>
                <a:lnTo>
                  <a:pt x="150" y="339"/>
                </a:lnTo>
                <a:lnTo>
                  <a:pt x="146" y="285"/>
                </a:lnTo>
                <a:lnTo>
                  <a:pt x="147" y="233"/>
                </a:lnTo>
                <a:lnTo>
                  <a:pt x="152" y="190"/>
                </a:lnTo>
                <a:lnTo>
                  <a:pt x="157" y="160"/>
                </a:lnTo>
                <a:lnTo>
                  <a:pt x="159" y="147"/>
                </a:lnTo>
                <a:lnTo>
                  <a:pt x="119" y="136"/>
                </a:lnTo>
                <a:lnTo>
                  <a:pt x="116" y="147"/>
                </a:lnTo>
                <a:lnTo>
                  <a:pt x="109" y="172"/>
                </a:lnTo>
                <a:lnTo>
                  <a:pt x="102" y="208"/>
                </a:lnTo>
                <a:lnTo>
                  <a:pt x="100" y="251"/>
                </a:lnTo>
                <a:lnTo>
                  <a:pt x="100" y="294"/>
                </a:lnTo>
                <a:lnTo>
                  <a:pt x="98" y="294"/>
                </a:lnTo>
                <a:lnTo>
                  <a:pt x="97" y="294"/>
                </a:lnTo>
                <a:lnTo>
                  <a:pt x="96" y="294"/>
                </a:lnTo>
                <a:lnTo>
                  <a:pt x="95" y="294"/>
                </a:lnTo>
                <a:lnTo>
                  <a:pt x="91" y="294"/>
                </a:lnTo>
                <a:lnTo>
                  <a:pt x="87" y="293"/>
                </a:lnTo>
                <a:lnTo>
                  <a:pt x="81" y="290"/>
                </a:lnTo>
                <a:lnTo>
                  <a:pt x="73" y="287"/>
                </a:lnTo>
                <a:lnTo>
                  <a:pt x="66" y="282"/>
                </a:lnTo>
                <a:lnTo>
                  <a:pt x="56" y="274"/>
                </a:lnTo>
                <a:lnTo>
                  <a:pt x="46" y="264"/>
                </a:lnTo>
                <a:lnTo>
                  <a:pt x="34" y="251"/>
                </a:lnTo>
                <a:lnTo>
                  <a:pt x="17" y="228"/>
                </a:lnTo>
                <a:lnTo>
                  <a:pt x="8" y="208"/>
                </a:lnTo>
                <a:lnTo>
                  <a:pt x="3" y="190"/>
                </a:lnTo>
                <a:lnTo>
                  <a:pt x="0" y="172"/>
                </a:lnTo>
                <a:lnTo>
                  <a:pt x="0" y="159"/>
                </a:lnTo>
                <a:lnTo>
                  <a:pt x="3" y="146"/>
                </a:lnTo>
                <a:lnTo>
                  <a:pt x="6" y="136"/>
                </a:lnTo>
                <a:lnTo>
                  <a:pt x="10" y="129"/>
                </a:lnTo>
                <a:lnTo>
                  <a:pt x="25" y="121"/>
                </a:lnTo>
                <a:lnTo>
                  <a:pt x="40" y="111"/>
                </a:lnTo>
                <a:lnTo>
                  <a:pt x="54" y="99"/>
                </a:lnTo>
                <a:lnTo>
                  <a:pt x="65" y="87"/>
                </a:lnTo>
                <a:lnTo>
                  <a:pt x="76" y="75"/>
                </a:lnTo>
                <a:lnTo>
                  <a:pt x="83" y="64"/>
                </a:lnTo>
                <a:lnTo>
                  <a:pt x="90" y="57"/>
                </a:lnTo>
                <a:lnTo>
                  <a:pt x="93" y="52"/>
                </a:lnTo>
                <a:lnTo>
                  <a:pt x="96" y="47"/>
                </a:lnTo>
                <a:lnTo>
                  <a:pt x="100" y="41"/>
                </a:lnTo>
                <a:lnTo>
                  <a:pt x="104" y="33"/>
                </a:lnTo>
                <a:lnTo>
                  <a:pt x="108" y="23"/>
                </a:lnTo>
                <a:lnTo>
                  <a:pt x="116" y="21"/>
                </a:lnTo>
                <a:lnTo>
                  <a:pt x="126" y="18"/>
                </a:lnTo>
                <a:lnTo>
                  <a:pt x="139" y="15"/>
                </a:lnTo>
                <a:lnTo>
                  <a:pt x="155" y="11"/>
                </a:lnTo>
                <a:lnTo>
                  <a:pt x="174" y="8"/>
                </a:lnTo>
                <a:lnTo>
                  <a:pt x="194" y="5"/>
                </a:lnTo>
                <a:lnTo>
                  <a:pt x="215" y="2"/>
                </a:lnTo>
                <a:lnTo>
                  <a:pt x="237" y="1"/>
                </a:lnTo>
                <a:lnTo>
                  <a:pt x="260" y="0"/>
                </a:lnTo>
                <a:lnTo>
                  <a:pt x="282" y="1"/>
                </a:lnTo>
                <a:lnTo>
                  <a:pt x="305" y="3"/>
                </a:lnTo>
                <a:lnTo>
                  <a:pt x="326" y="8"/>
                </a:lnTo>
                <a:lnTo>
                  <a:pt x="346" y="16"/>
                </a:lnTo>
                <a:lnTo>
                  <a:pt x="364" y="24"/>
                </a:lnTo>
                <a:lnTo>
                  <a:pt x="380" y="37"/>
                </a:lnTo>
                <a:lnTo>
                  <a:pt x="394" y="53"/>
                </a:lnTo>
                <a:lnTo>
                  <a:pt x="405" y="74"/>
                </a:lnTo>
                <a:lnTo>
                  <a:pt x="410" y="97"/>
                </a:lnTo>
                <a:lnTo>
                  <a:pt x="409" y="120"/>
                </a:lnTo>
                <a:lnTo>
                  <a:pt x="403" y="144"/>
                </a:lnTo>
                <a:lnTo>
                  <a:pt x="394" y="167"/>
                </a:lnTo>
                <a:lnTo>
                  <a:pt x="383" y="191"/>
                </a:lnTo>
                <a:lnTo>
                  <a:pt x="369" y="215"/>
                </a:lnTo>
                <a:lnTo>
                  <a:pt x="356" y="238"/>
                </a:lnTo>
                <a:lnTo>
                  <a:pt x="344" y="257"/>
                </a:lnTo>
                <a:lnTo>
                  <a:pt x="334" y="276"/>
                </a:lnTo>
                <a:lnTo>
                  <a:pt x="326" y="292"/>
                </a:lnTo>
                <a:lnTo>
                  <a:pt x="321" y="308"/>
                </a:lnTo>
                <a:lnTo>
                  <a:pt x="317" y="324"/>
                </a:lnTo>
                <a:lnTo>
                  <a:pt x="317" y="338"/>
                </a:lnTo>
                <a:lnTo>
                  <a:pt x="321" y="350"/>
                </a:lnTo>
                <a:lnTo>
                  <a:pt x="329" y="363"/>
                </a:lnTo>
                <a:lnTo>
                  <a:pt x="343" y="372"/>
                </a:lnTo>
                <a:lnTo>
                  <a:pt x="359" y="380"/>
                </a:lnTo>
                <a:lnTo>
                  <a:pt x="379" y="384"/>
                </a:lnTo>
                <a:lnTo>
                  <a:pt x="402" y="385"/>
                </a:lnTo>
                <a:lnTo>
                  <a:pt x="424" y="385"/>
                </a:lnTo>
                <a:lnTo>
                  <a:pt x="449" y="382"/>
                </a:lnTo>
                <a:lnTo>
                  <a:pt x="474" y="380"/>
                </a:lnTo>
                <a:lnTo>
                  <a:pt x="497" y="377"/>
                </a:lnTo>
                <a:lnTo>
                  <a:pt x="504" y="376"/>
                </a:lnTo>
                <a:lnTo>
                  <a:pt x="508" y="376"/>
                </a:lnTo>
                <a:lnTo>
                  <a:pt x="515" y="375"/>
                </a:lnTo>
                <a:lnTo>
                  <a:pt x="521" y="374"/>
                </a:lnTo>
                <a:lnTo>
                  <a:pt x="527" y="372"/>
                </a:lnTo>
                <a:lnTo>
                  <a:pt x="533" y="372"/>
                </a:lnTo>
                <a:lnTo>
                  <a:pt x="540" y="371"/>
                </a:lnTo>
                <a:lnTo>
                  <a:pt x="545" y="371"/>
                </a:lnTo>
                <a:lnTo>
                  <a:pt x="536" y="381"/>
                </a:lnTo>
                <a:lnTo>
                  <a:pt x="525" y="391"/>
                </a:lnTo>
                <a:lnTo>
                  <a:pt x="512" y="404"/>
                </a:lnTo>
                <a:lnTo>
                  <a:pt x="496" y="415"/>
                </a:lnTo>
                <a:lnTo>
                  <a:pt x="480" y="427"/>
                </a:lnTo>
                <a:lnTo>
                  <a:pt x="460" y="440"/>
                </a:lnTo>
                <a:lnTo>
                  <a:pt x="440" y="451"/>
                </a:lnTo>
                <a:lnTo>
                  <a:pt x="418" y="4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5" name="Freeform 17"/>
          <p:cNvSpPr>
            <a:spLocks/>
          </p:cNvSpPr>
          <p:nvPr/>
        </p:nvSpPr>
        <p:spPr bwMode="auto">
          <a:xfrm>
            <a:off x="4379061" y="5580168"/>
            <a:ext cx="35806" cy="43880"/>
          </a:xfrm>
          <a:custGeom>
            <a:avLst/>
            <a:gdLst>
              <a:gd name="T0" fmla="*/ 86 w 102"/>
              <a:gd name="T1" fmla="*/ 0 h 125"/>
              <a:gd name="T2" fmla="*/ 90 w 102"/>
              <a:gd name="T3" fmla="*/ 0 h 125"/>
              <a:gd name="T4" fmla="*/ 94 w 102"/>
              <a:gd name="T5" fmla="*/ 2 h 125"/>
              <a:gd name="T6" fmla="*/ 97 w 102"/>
              <a:gd name="T7" fmla="*/ 3 h 125"/>
              <a:gd name="T8" fmla="*/ 100 w 102"/>
              <a:gd name="T9" fmla="*/ 4 h 125"/>
              <a:gd name="T10" fmla="*/ 102 w 102"/>
              <a:gd name="T11" fmla="*/ 11 h 125"/>
              <a:gd name="T12" fmla="*/ 99 w 102"/>
              <a:gd name="T13" fmla="*/ 26 h 125"/>
              <a:gd name="T14" fmla="*/ 92 w 102"/>
              <a:gd name="T15" fmla="*/ 44 h 125"/>
              <a:gd name="T16" fmla="*/ 82 w 102"/>
              <a:gd name="T17" fmla="*/ 62 h 125"/>
              <a:gd name="T18" fmla="*/ 73 w 102"/>
              <a:gd name="T19" fmla="*/ 75 h 125"/>
              <a:gd name="T20" fmla="*/ 63 w 102"/>
              <a:gd name="T21" fmla="*/ 87 h 125"/>
              <a:gd name="T22" fmla="*/ 53 w 102"/>
              <a:gd name="T23" fmla="*/ 100 h 125"/>
              <a:gd name="T24" fmla="*/ 41 w 102"/>
              <a:gd name="T25" fmla="*/ 110 h 125"/>
              <a:gd name="T26" fmla="*/ 32 w 102"/>
              <a:gd name="T27" fmla="*/ 117 h 125"/>
              <a:gd name="T28" fmla="*/ 23 w 102"/>
              <a:gd name="T29" fmla="*/ 122 h 125"/>
              <a:gd name="T30" fmla="*/ 15 w 102"/>
              <a:gd name="T31" fmla="*/ 125 h 125"/>
              <a:gd name="T32" fmla="*/ 9 w 102"/>
              <a:gd name="T33" fmla="*/ 123 h 125"/>
              <a:gd name="T34" fmla="*/ 2 w 102"/>
              <a:gd name="T35" fmla="*/ 117 h 125"/>
              <a:gd name="T36" fmla="*/ 0 w 102"/>
              <a:gd name="T37" fmla="*/ 108 h 125"/>
              <a:gd name="T38" fmla="*/ 7 w 102"/>
              <a:gd name="T39" fmla="*/ 93 h 125"/>
              <a:gd name="T40" fmla="*/ 23 w 102"/>
              <a:gd name="T41" fmla="*/ 67 h 125"/>
              <a:gd name="T42" fmla="*/ 27 w 102"/>
              <a:gd name="T43" fmla="*/ 61 h 125"/>
              <a:gd name="T44" fmla="*/ 30 w 102"/>
              <a:gd name="T45" fmla="*/ 56 h 125"/>
              <a:gd name="T46" fmla="*/ 34 w 102"/>
              <a:gd name="T47" fmla="*/ 50 h 125"/>
              <a:gd name="T48" fmla="*/ 38 w 102"/>
              <a:gd name="T49" fmla="*/ 44 h 125"/>
              <a:gd name="T50" fmla="*/ 43 w 102"/>
              <a:gd name="T51" fmla="*/ 35 h 125"/>
              <a:gd name="T52" fmla="*/ 49 w 102"/>
              <a:gd name="T53" fmla="*/ 28 h 125"/>
              <a:gd name="T54" fmla="*/ 55 w 102"/>
              <a:gd name="T55" fmla="*/ 20 h 125"/>
              <a:gd name="T56" fmla="*/ 61 w 102"/>
              <a:gd name="T57" fmla="*/ 14 h 125"/>
              <a:gd name="T58" fmla="*/ 68 w 102"/>
              <a:gd name="T59" fmla="*/ 9 h 125"/>
              <a:gd name="T60" fmla="*/ 74 w 102"/>
              <a:gd name="T61" fmla="*/ 5 h 125"/>
              <a:gd name="T62" fmla="*/ 80 w 102"/>
              <a:gd name="T63" fmla="*/ 3 h 125"/>
              <a:gd name="T64" fmla="*/ 86 w 102"/>
              <a:gd name="T65" fmla="*/ 0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02" h="125">
                <a:moveTo>
                  <a:pt x="86" y="0"/>
                </a:moveTo>
                <a:lnTo>
                  <a:pt x="90" y="0"/>
                </a:lnTo>
                <a:lnTo>
                  <a:pt x="94" y="2"/>
                </a:lnTo>
                <a:lnTo>
                  <a:pt x="97" y="3"/>
                </a:lnTo>
                <a:lnTo>
                  <a:pt x="100" y="4"/>
                </a:lnTo>
                <a:lnTo>
                  <a:pt x="102" y="11"/>
                </a:lnTo>
                <a:lnTo>
                  <a:pt x="99" y="26"/>
                </a:lnTo>
                <a:lnTo>
                  <a:pt x="92" y="44"/>
                </a:lnTo>
                <a:lnTo>
                  <a:pt x="82" y="62"/>
                </a:lnTo>
                <a:lnTo>
                  <a:pt x="73" y="75"/>
                </a:lnTo>
                <a:lnTo>
                  <a:pt x="63" y="87"/>
                </a:lnTo>
                <a:lnTo>
                  <a:pt x="53" y="100"/>
                </a:lnTo>
                <a:lnTo>
                  <a:pt x="41" y="110"/>
                </a:lnTo>
                <a:lnTo>
                  <a:pt x="32" y="117"/>
                </a:lnTo>
                <a:lnTo>
                  <a:pt x="23" y="122"/>
                </a:lnTo>
                <a:lnTo>
                  <a:pt x="15" y="125"/>
                </a:lnTo>
                <a:lnTo>
                  <a:pt x="9" y="123"/>
                </a:lnTo>
                <a:lnTo>
                  <a:pt x="2" y="117"/>
                </a:lnTo>
                <a:lnTo>
                  <a:pt x="0" y="108"/>
                </a:lnTo>
                <a:lnTo>
                  <a:pt x="7" y="93"/>
                </a:lnTo>
                <a:lnTo>
                  <a:pt x="23" y="67"/>
                </a:lnTo>
                <a:lnTo>
                  <a:pt x="27" y="61"/>
                </a:lnTo>
                <a:lnTo>
                  <a:pt x="30" y="56"/>
                </a:lnTo>
                <a:lnTo>
                  <a:pt x="34" y="50"/>
                </a:lnTo>
                <a:lnTo>
                  <a:pt x="38" y="44"/>
                </a:lnTo>
                <a:lnTo>
                  <a:pt x="43" y="35"/>
                </a:lnTo>
                <a:lnTo>
                  <a:pt x="49" y="28"/>
                </a:lnTo>
                <a:lnTo>
                  <a:pt x="55" y="20"/>
                </a:lnTo>
                <a:lnTo>
                  <a:pt x="61" y="14"/>
                </a:lnTo>
                <a:lnTo>
                  <a:pt x="68" y="9"/>
                </a:lnTo>
                <a:lnTo>
                  <a:pt x="74" y="5"/>
                </a:lnTo>
                <a:lnTo>
                  <a:pt x="80" y="3"/>
                </a:lnTo>
                <a:lnTo>
                  <a:pt x="8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/>
          <p:cNvGrpSpPr/>
          <p:nvPr/>
        </p:nvGrpSpPr>
        <p:grpSpPr>
          <a:xfrm>
            <a:off x="4327402" y="5424788"/>
            <a:ext cx="345657" cy="336869"/>
            <a:chOff x="4327402" y="5424788"/>
            <a:chExt cx="345657" cy="336869"/>
          </a:xfrm>
          <a:solidFill>
            <a:srgbClr val="7AC142"/>
          </a:solidFill>
        </p:grpSpPr>
        <p:sp>
          <p:nvSpPr>
            <p:cNvPr id="62" name="Trapezoid 61"/>
            <p:cNvSpPr/>
            <p:nvPr/>
          </p:nvSpPr>
          <p:spPr>
            <a:xfrm flipV="1">
              <a:off x="4488217" y="5514129"/>
              <a:ext cx="184842" cy="184842"/>
            </a:xfrm>
            <a:prstGeom prst="trapezoid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7" name="Freeform 27"/>
            <p:cNvSpPr>
              <a:spLocks/>
            </p:cNvSpPr>
            <p:nvPr/>
          </p:nvSpPr>
          <p:spPr bwMode="auto">
            <a:xfrm>
              <a:off x="4387486" y="5591753"/>
              <a:ext cx="191318" cy="169904"/>
            </a:xfrm>
            <a:custGeom>
              <a:avLst/>
              <a:gdLst>
                <a:gd name="T0" fmla="*/ 399 w 545"/>
                <a:gd name="T1" fmla="*/ 468 h 484"/>
                <a:gd name="T2" fmla="*/ 357 w 545"/>
                <a:gd name="T3" fmla="*/ 479 h 484"/>
                <a:gd name="T4" fmla="*/ 310 w 545"/>
                <a:gd name="T5" fmla="*/ 484 h 484"/>
                <a:gd name="T6" fmla="*/ 261 w 545"/>
                <a:gd name="T7" fmla="*/ 477 h 484"/>
                <a:gd name="T8" fmla="*/ 193 w 545"/>
                <a:gd name="T9" fmla="*/ 436 h 484"/>
                <a:gd name="T10" fmla="*/ 150 w 545"/>
                <a:gd name="T11" fmla="*/ 339 h 484"/>
                <a:gd name="T12" fmla="*/ 147 w 545"/>
                <a:gd name="T13" fmla="*/ 233 h 484"/>
                <a:gd name="T14" fmla="*/ 157 w 545"/>
                <a:gd name="T15" fmla="*/ 160 h 484"/>
                <a:gd name="T16" fmla="*/ 119 w 545"/>
                <a:gd name="T17" fmla="*/ 136 h 484"/>
                <a:gd name="T18" fmla="*/ 109 w 545"/>
                <a:gd name="T19" fmla="*/ 172 h 484"/>
                <a:gd name="T20" fmla="*/ 100 w 545"/>
                <a:gd name="T21" fmla="*/ 251 h 484"/>
                <a:gd name="T22" fmla="*/ 98 w 545"/>
                <a:gd name="T23" fmla="*/ 294 h 484"/>
                <a:gd name="T24" fmla="*/ 96 w 545"/>
                <a:gd name="T25" fmla="*/ 294 h 484"/>
                <a:gd name="T26" fmla="*/ 91 w 545"/>
                <a:gd name="T27" fmla="*/ 294 h 484"/>
                <a:gd name="T28" fmla="*/ 81 w 545"/>
                <a:gd name="T29" fmla="*/ 290 h 484"/>
                <a:gd name="T30" fmla="*/ 66 w 545"/>
                <a:gd name="T31" fmla="*/ 282 h 484"/>
                <a:gd name="T32" fmla="*/ 46 w 545"/>
                <a:gd name="T33" fmla="*/ 264 h 484"/>
                <a:gd name="T34" fmla="*/ 17 w 545"/>
                <a:gd name="T35" fmla="*/ 228 h 484"/>
                <a:gd name="T36" fmla="*/ 3 w 545"/>
                <a:gd name="T37" fmla="*/ 190 h 484"/>
                <a:gd name="T38" fmla="*/ 0 w 545"/>
                <a:gd name="T39" fmla="*/ 159 h 484"/>
                <a:gd name="T40" fmla="*/ 6 w 545"/>
                <a:gd name="T41" fmla="*/ 136 h 484"/>
                <a:gd name="T42" fmla="*/ 25 w 545"/>
                <a:gd name="T43" fmla="*/ 121 h 484"/>
                <a:gd name="T44" fmla="*/ 54 w 545"/>
                <a:gd name="T45" fmla="*/ 99 h 484"/>
                <a:gd name="T46" fmla="*/ 76 w 545"/>
                <a:gd name="T47" fmla="*/ 75 h 484"/>
                <a:gd name="T48" fmla="*/ 90 w 545"/>
                <a:gd name="T49" fmla="*/ 57 h 484"/>
                <a:gd name="T50" fmla="*/ 96 w 545"/>
                <a:gd name="T51" fmla="*/ 47 h 484"/>
                <a:gd name="T52" fmla="*/ 104 w 545"/>
                <a:gd name="T53" fmla="*/ 33 h 484"/>
                <a:gd name="T54" fmla="*/ 116 w 545"/>
                <a:gd name="T55" fmla="*/ 21 h 484"/>
                <a:gd name="T56" fmla="*/ 139 w 545"/>
                <a:gd name="T57" fmla="*/ 15 h 484"/>
                <a:gd name="T58" fmla="*/ 174 w 545"/>
                <a:gd name="T59" fmla="*/ 8 h 484"/>
                <a:gd name="T60" fmla="*/ 215 w 545"/>
                <a:gd name="T61" fmla="*/ 2 h 484"/>
                <a:gd name="T62" fmla="*/ 260 w 545"/>
                <a:gd name="T63" fmla="*/ 0 h 484"/>
                <a:gd name="T64" fmla="*/ 305 w 545"/>
                <a:gd name="T65" fmla="*/ 3 h 484"/>
                <a:gd name="T66" fmla="*/ 346 w 545"/>
                <a:gd name="T67" fmla="*/ 16 h 484"/>
                <a:gd name="T68" fmla="*/ 380 w 545"/>
                <a:gd name="T69" fmla="*/ 37 h 484"/>
                <a:gd name="T70" fmla="*/ 405 w 545"/>
                <a:gd name="T71" fmla="*/ 74 h 484"/>
                <a:gd name="T72" fmla="*/ 409 w 545"/>
                <a:gd name="T73" fmla="*/ 120 h 484"/>
                <a:gd name="T74" fmla="*/ 394 w 545"/>
                <a:gd name="T75" fmla="*/ 167 h 484"/>
                <a:gd name="T76" fmla="*/ 369 w 545"/>
                <a:gd name="T77" fmla="*/ 215 h 484"/>
                <a:gd name="T78" fmla="*/ 344 w 545"/>
                <a:gd name="T79" fmla="*/ 257 h 484"/>
                <a:gd name="T80" fmla="*/ 326 w 545"/>
                <a:gd name="T81" fmla="*/ 292 h 484"/>
                <a:gd name="T82" fmla="*/ 317 w 545"/>
                <a:gd name="T83" fmla="*/ 324 h 484"/>
                <a:gd name="T84" fmla="*/ 321 w 545"/>
                <a:gd name="T85" fmla="*/ 350 h 484"/>
                <a:gd name="T86" fmla="*/ 343 w 545"/>
                <a:gd name="T87" fmla="*/ 372 h 484"/>
                <a:gd name="T88" fmla="*/ 379 w 545"/>
                <a:gd name="T89" fmla="*/ 384 h 484"/>
                <a:gd name="T90" fmla="*/ 424 w 545"/>
                <a:gd name="T91" fmla="*/ 385 h 484"/>
                <a:gd name="T92" fmla="*/ 474 w 545"/>
                <a:gd name="T93" fmla="*/ 380 h 484"/>
                <a:gd name="T94" fmla="*/ 504 w 545"/>
                <a:gd name="T95" fmla="*/ 376 h 484"/>
                <a:gd name="T96" fmla="*/ 515 w 545"/>
                <a:gd name="T97" fmla="*/ 375 h 484"/>
                <a:gd name="T98" fmla="*/ 527 w 545"/>
                <a:gd name="T99" fmla="*/ 372 h 484"/>
                <a:gd name="T100" fmla="*/ 540 w 545"/>
                <a:gd name="T101" fmla="*/ 371 h 484"/>
                <a:gd name="T102" fmla="*/ 536 w 545"/>
                <a:gd name="T103" fmla="*/ 381 h 484"/>
                <a:gd name="T104" fmla="*/ 512 w 545"/>
                <a:gd name="T105" fmla="*/ 404 h 484"/>
                <a:gd name="T106" fmla="*/ 480 w 545"/>
                <a:gd name="T107" fmla="*/ 427 h 484"/>
                <a:gd name="T108" fmla="*/ 440 w 545"/>
                <a:gd name="T109" fmla="*/ 451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45" h="484">
                  <a:moveTo>
                    <a:pt x="418" y="461"/>
                  </a:moveTo>
                  <a:lnTo>
                    <a:pt x="399" y="468"/>
                  </a:lnTo>
                  <a:lnTo>
                    <a:pt x="379" y="474"/>
                  </a:lnTo>
                  <a:lnTo>
                    <a:pt x="357" y="479"/>
                  </a:lnTo>
                  <a:lnTo>
                    <a:pt x="334" y="483"/>
                  </a:lnTo>
                  <a:lnTo>
                    <a:pt x="310" y="484"/>
                  </a:lnTo>
                  <a:lnTo>
                    <a:pt x="286" y="482"/>
                  </a:lnTo>
                  <a:lnTo>
                    <a:pt x="261" y="477"/>
                  </a:lnTo>
                  <a:lnTo>
                    <a:pt x="236" y="468"/>
                  </a:lnTo>
                  <a:lnTo>
                    <a:pt x="193" y="436"/>
                  </a:lnTo>
                  <a:lnTo>
                    <a:pt x="165" y="391"/>
                  </a:lnTo>
                  <a:lnTo>
                    <a:pt x="150" y="339"/>
                  </a:lnTo>
                  <a:lnTo>
                    <a:pt x="146" y="285"/>
                  </a:lnTo>
                  <a:lnTo>
                    <a:pt x="147" y="233"/>
                  </a:lnTo>
                  <a:lnTo>
                    <a:pt x="152" y="190"/>
                  </a:lnTo>
                  <a:lnTo>
                    <a:pt x="157" y="160"/>
                  </a:lnTo>
                  <a:lnTo>
                    <a:pt x="159" y="147"/>
                  </a:lnTo>
                  <a:lnTo>
                    <a:pt x="119" y="136"/>
                  </a:lnTo>
                  <a:lnTo>
                    <a:pt x="116" y="147"/>
                  </a:lnTo>
                  <a:lnTo>
                    <a:pt x="109" y="172"/>
                  </a:lnTo>
                  <a:lnTo>
                    <a:pt x="102" y="208"/>
                  </a:lnTo>
                  <a:lnTo>
                    <a:pt x="100" y="251"/>
                  </a:lnTo>
                  <a:lnTo>
                    <a:pt x="100" y="294"/>
                  </a:lnTo>
                  <a:lnTo>
                    <a:pt x="98" y="294"/>
                  </a:lnTo>
                  <a:lnTo>
                    <a:pt x="97" y="294"/>
                  </a:lnTo>
                  <a:lnTo>
                    <a:pt x="96" y="294"/>
                  </a:lnTo>
                  <a:lnTo>
                    <a:pt x="95" y="294"/>
                  </a:lnTo>
                  <a:lnTo>
                    <a:pt x="91" y="294"/>
                  </a:lnTo>
                  <a:lnTo>
                    <a:pt x="87" y="293"/>
                  </a:lnTo>
                  <a:lnTo>
                    <a:pt x="81" y="290"/>
                  </a:lnTo>
                  <a:lnTo>
                    <a:pt x="73" y="287"/>
                  </a:lnTo>
                  <a:lnTo>
                    <a:pt x="66" y="282"/>
                  </a:lnTo>
                  <a:lnTo>
                    <a:pt x="56" y="274"/>
                  </a:lnTo>
                  <a:lnTo>
                    <a:pt x="46" y="264"/>
                  </a:lnTo>
                  <a:lnTo>
                    <a:pt x="34" y="251"/>
                  </a:lnTo>
                  <a:lnTo>
                    <a:pt x="17" y="228"/>
                  </a:lnTo>
                  <a:lnTo>
                    <a:pt x="8" y="208"/>
                  </a:lnTo>
                  <a:lnTo>
                    <a:pt x="3" y="190"/>
                  </a:lnTo>
                  <a:lnTo>
                    <a:pt x="0" y="172"/>
                  </a:lnTo>
                  <a:lnTo>
                    <a:pt x="0" y="159"/>
                  </a:lnTo>
                  <a:lnTo>
                    <a:pt x="3" y="146"/>
                  </a:lnTo>
                  <a:lnTo>
                    <a:pt x="6" y="136"/>
                  </a:lnTo>
                  <a:lnTo>
                    <a:pt x="10" y="129"/>
                  </a:lnTo>
                  <a:lnTo>
                    <a:pt x="25" y="121"/>
                  </a:lnTo>
                  <a:lnTo>
                    <a:pt x="40" y="111"/>
                  </a:lnTo>
                  <a:lnTo>
                    <a:pt x="54" y="99"/>
                  </a:lnTo>
                  <a:lnTo>
                    <a:pt x="65" y="87"/>
                  </a:lnTo>
                  <a:lnTo>
                    <a:pt x="76" y="75"/>
                  </a:lnTo>
                  <a:lnTo>
                    <a:pt x="83" y="64"/>
                  </a:lnTo>
                  <a:lnTo>
                    <a:pt x="90" y="57"/>
                  </a:lnTo>
                  <a:lnTo>
                    <a:pt x="93" y="52"/>
                  </a:lnTo>
                  <a:lnTo>
                    <a:pt x="96" y="47"/>
                  </a:lnTo>
                  <a:lnTo>
                    <a:pt x="100" y="41"/>
                  </a:lnTo>
                  <a:lnTo>
                    <a:pt x="104" y="33"/>
                  </a:lnTo>
                  <a:lnTo>
                    <a:pt x="108" y="23"/>
                  </a:lnTo>
                  <a:lnTo>
                    <a:pt x="116" y="21"/>
                  </a:lnTo>
                  <a:lnTo>
                    <a:pt x="126" y="18"/>
                  </a:lnTo>
                  <a:lnTo>
                    <a:pt x="139" y="15"/>
                  </a:lnTo>
                  <a:lnTo>
                    <a:pt x="155" y="11"/>
                  </a:lnTo>
                  <a:lnTo>
                    <a:pt x="174" y="8"/>
                  </a:lnTo>
                  <a:lnTo>
                    <a:pt x="194" y="5"/>
                  </a:lnTo>
                  <a:lnTo>
                    <a:pt x="215" y="2"/>
                  </a:lnTo>
                  <a:lnTo>
                    <a:pt x="237" y="1"/>
                  </a:lnTo>
                  <a:lnTo>
                    <a:pt x="260" y="0"/>
                  </a:lnTo>
                  <a:lnTo>
                    <a:pt x="282" y="1"/>
                  </a:lnTo>
                  <a:lnTo>
                    <a:pt x="305" y="3"/>
                  </a:lnTo>
                  <a:lnTo>
                    <a:pt x="326" y="8"/>
                  </a:lnTo>
                  <a:lnTo>
                    <a:pt x="346" y="16"/>
                  </a:lnTo>
                  <a:lnTo>
                    <a:pt x="364" y="24"/>
                  </a:lnTo>
                  <a:lnTo>
                    <a:pt x="380" y="37"/>
                  </a:lnTo>
                  <a:lnTo>
                    <a:pt x="394" y="53"/>
                  </a:lnTo>
                  <a:lnTo>
                    <a:pt x="405" y="74"/>
                  </a:lnTo>
                  <a:lnTo>
                    <a:pt x="410" y="97"/>
                  </a:lnTo>
                  <a:lnTo>
                    <a:pt x="409" y="120"/>
                  </a:lnTo>
                  <a:lnTo>
                    <a:pt x="403" y="144"/>
                  </a:lnTo>
                  <a:lnTo>
                    <a:pt x="394" y="167"/>
                  </a:lnTo>
                  <a:lnTo>
                    <a:pt x="383" y="191"/>
                  </a:lnTo>
                  <a:lnTo>
                    <a:pt x="369" y="215"/>
                  </a:lnTo>
                  <a:lnTo>
                    <a:pt x="356" y="238"/>
                  </a:lnTo>
                  <a:lnTo>
                    <a:pt x="344" y="257"/>
                  </a:lnTo>
                  <a:lnTo>
                    <a:pt x="334" y="276"/>
                  </a:lnTo>
                  <a:lnTo>
                    <a:pt x="326" y="292"/>
                  </a:lnTo>
                  <a:lnTo>
                    <a:pt x="321" y="308"/>
                  </a:lnTo>
                  <a:lnTo>
                    <a:pt x="317" y="324"/>
                  </a:lnTo>
                  <a:lnTo>
                    <a:pt x="317" y="338"/>
                  </a:lnTo>
                  <a:lnTo>
                    <a:pt x="321" y="350"/>
                  </a:lnTo>
                  <a:lnTo>
                    <a:pt x="329" y="363"/>
                  </a:lnTo>
                  <a:lnTo>
                    <a:pt x="343" y="372"/>
                  </a:lnTo>
                  <a:lnTo>
                    <a:pt x="359" y="380"/>
                  </a:lnTo>
                  <a:lnTo>
                    <a:pt x="379" y="384"/>
                  </a:lnTo>
                  <a:lnTo>
                    <a:pt x="402" y="385"/>
                  </a:lnTo>
                  <a:lnTo>
                    <a:pt x="424" y="385"/>
                  </a:lnTo>
                  <a:lnTo>
                    <a:pt x="449" y="382"/>
                  </a:lnTo>
                  <a:lnTo>
                    <a:pt x="474" y="380"/>
                  </a:lnTo>
                  <a:lnTo>
                    <a:pt x="497" y="377"/>
                  </a:lnTo>
                  <a:lnTo>
                    <a:pt x="504" y="376"/>
                  </a:lnTo>
                  <a:lnTo>
                    <a:pt x="508" y="376"/>
                  </a:lnTo>
                  <a:lnTo>
                    <a:pt x="515" y="375"/>
                  </a:lnTo>
                  <a:lnTo>
                    <a:pt x="521" y="374"/>
                  </a:lnTo>
                  <a:lnTo>
                    <a:pt x="527" y="372"/>
                  </a:lnTo>
                  <a:lnTo>
                    <a:pt x="533" y="372"/>
                  </a:lnTo>
                  <a:lnTo>
                    <a:pt x="540" y="371"/>
                  </a:lnTo>
                  <a:lnTo>
                    <a:pt x="545" y="371"/>
                  </a:lnTo>
                  <a:lnTo>
                    <a:pt x="536" y="381"/>
                  </a:lnTo>
                  <a:lnTo>
                    <a:pt x="525" y="391"/>
                  </a:lnTo>
                  <a:lnTo>
                    <a:pt x="512" y="404"/>
                  </a:lnTo>
                  <a:lnTo>
                    <a:pt x="496" y="415"/>
                  </a:lnTo>
                  <a:lnTo>
                    <a:pt x="480" y="427"/>
                  </a:lnTo>
                  <a:lnTo>
                    <a:pt x="460" y="440"/>
                  </a:lnTo>
                  <a:lnTo>
                    <a:pt x="440" y="451"/>
                  </a:lnTo>
                  <a:lnTo>
                    <a:pt x="418" y="4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Rounded Rectangle 47"/>
            <p:cNvSpPr/>
            <p:nvPr/>
          </p:nvSpPr>
          <p:spPr>
            <a:xfrm rot="19200000" flipH="1">
              <a:off x="4327402" y="5450679"/>
              <a:ext cx="25390" cy="171779"/>
            </a:xfrm>
            <a:custGeom>
              <a:avLst/>
              <a:gdLst/>
              <a:ahLst/>
              <a:cxnLst/>
              <a:rect l="l" t="t" r="r" b="b"/>
              <a:pathLst>
                <a:path w="256111" h="1732775">
                  <a:moveTo>
                    <a:pt x="0" y="0"/>
                  </a:moveTo>
                  <a:lnTo>
                    <a:pt x="1" y="1688189"/>
                  </a:lnTo>
                  <a:cubicBezTo>
                    <a:pt x="0" y="1712812"/>
                    <a:pt x="18636" y="1732774"/>
                    <a:pt x="41622" y="1732775"/>
                  </a:cubicBezTo>
                  <a:lnTo>
                    <a:pt x="208104" y="1732774"/>
                  </a:lnTo>
                  <a:cubicBezTo>
                    <a:pt x="231091" y="1732774"/>
                    <a:pt x="249726" y="1712812"/>
                    <a:pt x="249726" y="1688189"/>
                  </a:cubicBezTo>
                  <a:cubicBezTo>
                    <a:pt x="249726" y="1149592"/>
                    <a:pt x="255511" y="819663"/>
                    <a:pt x="256111" y="30522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9" name="Block Arc 68"/>
            <p:cNvSpPr/>
            <p:nvPr/>
          </p:nvSpPr>
          <p:spPr>
            <a:xfrm>
              <a:off x="4500296" y="5424788"/>
              <a:ext cx="156487" cy="158678"/>
            </a:xfrm>
            <a:prstGeom prst="blockArc">
              <a:avLst>
                <a:gd name="adj1" fmla="val 10800000"/>
                <a:gd name="adj2" fmla="val 0"/>
                <a:gd name="adj3" fmla="val 1047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71" name="Cube 70"/>
          <p:cNvSpPr/>
          <p:nvPr/>
        </p:nvSpPr>
        <p:spPr>
          <a:xfrm>
            <a:off x="6690030" y="855596"/>
            <a:ext cx="215922" cy="217476"/>
          </a:xfrm>
          <a:prstGeom prst="cube">
            <a:avLst/>
          </a:prstGeom>
          <a:solidFill>
            <a:srgbClr val="7AC14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77740" y="2492896"/>
            <a:ext cx="2126988" cy="3240088"/>
          </a:xfrm>
        </p:spPr>
        <p:txBody>
          <a:bodyPr vert="horz" lIns="72000" tIns="72000" rIns="72000" bIns="72000" rtlCol="0">
            <a:normAutofit/>
          </a:bodyPr>
          <a:lstStyle/>
          <a:p>
            <a:r>
              <a:rPr lang="en-GB" b="1" dirty="0">
                <a:solidFill>
                  <a:srgbClr val="003E7E"/>
                </a:solidFill>
              </a:rPr>
              <a:t>c.75% </a:t>
            </a:r>
            <a:r>
              <a:rPr lang="en-GB" b="1" dirty="0" smtClean="0">
                <a:solidFill>
                  <a:srgbClr val="003E7E"/>
                </a:solidFill>
              </a:rPr>
              <a:t>resilient Grocery Foodservice</a:t>
            </a:r>
            <a:br>
              <a:rPr lang="en-GB" b="1" dirty="0" smtClean="0">
                <a:solidFill>
                  <a:srgbClr val="003E7E"/>
                </a:solidFill>
              </a:rPr>
            </a:br>
            <a:r>
              <a:rPr lang="en-GB" b="1" dirty="0" smtClean="0">
                <a:solidFill>
                  <a:srgbClr val="003E7E"/>
                </a:solidFill>
              </a:rPr>
              <a:t>Cleaning &amp; hygiene  Healthcare </a:t>
            </a:r>
            <a:endParaRPr lang="en-GB" b="1" dirty="0">
              <a:solidFill>
                <a:srgbClr val="003E7E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206953" y="6214999"/>
            <a:ext cx="331236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/>
            <a:r>
              <a:rPr lang="en-GB" sz="1100" dirty="0" smtClean="0">
                <a:solidFill>
                  <a:schemeClr val="tx2"/>
                </a:solidFill>
                <a:latin typeface="Arial" charset="0"/>
              </a:rPr>
              <a:t>2013 FY Revenue</a:t>
            </a:r>
            <a:endParaRPr lang="en-GB" sz="1100" dirty="0">
              <a:solidFill>
                <a:schemeClr val="tx2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80144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Title 1"/>
          <p:cNvSpPr>
            <a:spLocks noGrp="1"/>
          </p:cNvSpPr>
          <p:nvPr>
            <p:ph type="title"/>
          </p:nvPr>
        </p:nvSpPr>
        <p:spPr>
          <a:xfrm>
            <a:off x="388673" y="404664"/>
            <a:ext cx="1972039" cy="1944216"/>
          </a:xfrm>
        </p:spPr>
        <p:txBody>
          <a:bodyPr/>
          <a:lstStyle/>
          <a:p>
            <a:r>
              <a:rPr lang="pt-BR" dirty="0" smtClean="0"/>
              <a:t>Entry into Brazi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Freeform 122"/>
          <p:cNvSpPr>
            <a:spLocks/>
          </p:cNvSpPr>
          <p:nvPr/>
        </p:nvSpPr>
        <p:spPr bwMode="auto">
          <a:xfrm>
            <a:off x="4421815" y="1522766"/>
            <a:ext cx="323850" cy="512762"/>
          </a:xfrm>
          <a:custGeom>
            <a:avLst/>
            <a:gdLst/>
            <a:ahLst/>
            <a:cxnLst>
              <a:cxn ang="0">
                <a:pos x="60" y="180"/>
              </a:cxn>
              <a:cxn ang="0">
                <a:pos x="34" y="182"/>
              </a:cxn>
              <a:cxn ang="0">
                <a:pos x="4" y="140"/>
              </a:cxn>
              <a:cxn ang="0">
                <a:pos x="12" y="116"/>
              </a:cxn>
              <a:cxn ang="0">
                <a:pos x="18" y="100"/>
              </a:cxn>
              <a:cxn ang="0">
                <a:pos x="38" y="96"/>
              </a:cxn>
              <a:cxn ang="0">
                <a:pos x="52" y="88"/>
              </a:cxn>
              <a:cxn ang="0">
                <a:pos x="46" y="76"/>
              </a:cxn>
              <a:cxn ang="0">
                <a:pos x="42" y="68"/>
              </a:cxn>
              <a:cxn ang="0">
                <a:pos x="34" y="56"/>
              </a:cxn>
              <a:cxn ang="0">
                <a:pos x="56" y="36"/>
              </a:cxn>
              <a:cxn ang="0">
                <a:pos x="72" y="26"/>
              </a:cxn>
              <a:cxn ang="0">
                <a:pos x="82" y="14"/>
              </a:cxn>
              <a:cxn ang="0">
                <a:pos x="76" y="4"/>
              </a:cxn>
              <a:cxn ang="0">
                <a:pos x="84" y="8"/>
              </a:cxn>
              <a:cxn ang="0">
                <a:pos x="120" y="30"/>
              </a:cxn>
              <a:cxn ang="0">
                <a:pos x="142" y="50"/>
              </a:cxn>
              <a:cxn ang="0">
                <a:pos x="154" y="84"/>
              </a:cxn>
              <a:cxn ang="0">
                <a:pos x="148" y="112"/>
              </a:cxn>
              <a:cxn ang="0">
                <a:pos x="150" y="104"/>
              </a:cxn>
              <a:cxn ang="0">
                <a:pos x="164" y="90"/>
              </a:cxn>
              <a:cxn ang="0">
                <a:pos x="182" y="94"/>
              </a:cxn>
              <a:cxn ang="0">
                <a:pos x="204" y="114"/>
              </a:cxn>
              <a:cxn ang="0">
                <a:pos x="224" y="128"/>
              </a:cxn>
              <a:cxn ang="0">
                <a:pos x="228" y="160"/>
              </a:cxn>
              <a:cxn ang="0">
                <a:pos x="222" y="180"/>
              </a:cxn>
              <a:cxn ang="0">
                <a:pos x="222" y="182"/>
              </a:cxn>
              <a:cxn ang="0">
                <a:pos x="204" y="192"/>
              </a:cxn>
              <a:cxn ang="0">
                <a:pos x="188" y="204"/>
              </a:cxn>
              <a:cxn ang="0">
                <a:pos x="186" y="230"/>
              </a:cxn>
              <a:cxn ang="0">
                <a:pos x="182" y="248"/>
              </a:cxn>
              <a:cxn ang="0">
                <a:pos x="192" y="264"/>
              </a:cxn>
              <a:cxn ang="0">
                <a:pos x="204" y="278"/>
              </a:cxn>
              <a:cxn ang="0">
                <a:pos x="222" y="280"/>
              </a:cxn>
              <a:cxn ang="0">
                <a:pos x="226" y="298"/>
              </a:cxn>
              <a:cxn ang="0">
                <a:pos x="242" y="330"/>
              </a:cxn>
              <a:cxn ang="0">
                <a:pos x="258" y="354"/>
              </a:cxn>
              <a:cxn ang="0">
                <a:pos x="262" y="360"/>
              </a:cxn>
              <a:cxn ang="0">
                <a:pos x="238" y="360"/>
              </a:cxn>
              <a:cxn ang="0">
                <a:pos x="228" y="358"/>
              </a:cxn>
              <a:cxn ang="0">
                <a:pos x="214" y="368"/>
              </a:cxn>
              <a:cxn ang="0">
                <a:pos x="192" y="374"/>
              </a:cxn>
              <a:cxn ang="0">
                <a:pos x="164" y="386"/>
              </a:cxn>
              <a:cxn ang="0">
                <a:pos x="148" y="396"/>
              </a:cxn>
              <a:cxn ang="0">
                <a:pos x="136" y="398"/>
              </a:cxn>
              <a:cxn ang="0">
                <a:pos x="118" y="390"/>
              </a:cxn>
              <a:cxn ang="0">
                <a:pos x="94" y="370"/>
              </a:cxn>
              <a:cxn ang="0">
                <a:pos x="90" y="352"/>
              </a:cxn>
              <a:cxn ang="0">
                <a:pos x="82" y="334"/>
              </a:cxn>
              <a:cxn ang="0">
                <a:pos x="78" y="308"/>
              </a:cxn>
              <a:cxn ang="0">
                <a:pos x="84" y="284"/>
              </a:cxn>
              <a:cxn ang="0">
                <a:pos x="98" y="254"/>
              </a:cxn>
              <a:cxn ang="0">
                <a:pos x="94" y="226"/>
              </a:cxn>
              <a:cxn ang="0">
                <a:pos x="66" y="216"/>
              </a:cxn>
              <a:cxn ang="0">
                <a:pos x="76" y="192"/>
              </a:cxn>
            </a:cxnLst>
            <a:rect l="0" t="0" r="r" b="b"/>
            <a:pathLst>
              <a:path w="268" h="402">
                <a:moveTo>
                  <a:pt x="70" y="184"/>
                </a:moveTo>
                <a:lnTo>
                  <a:pt x="70" y="182"/>
                </a:lnTo>
                <a:lnTo>
                  <a:pt x="68" y="180"/>
                </a:lnTo>
                <a:lnTo>
                  <a:pt x="64" y="178"/>
                </a:lnTo>
                <a:lnTo>
                  <a:pt x="62" y="180"/>
                </a:lnTo>
                <a:lnTo>
                  <a:pt x="60" y="180"/>
                </a:lnTo>
                <a:lnTo>
                  <a:pt x="58" y="182"/>
                </a:lnTo>
                <a:lnTo>
                  <a:pt x="44" y="184"/>
                </a:lnTo>
                <a:lnTo>
                  <a:pt x="44" y="182"/>
                </a:lnTo>
                <a:lnTo>
                  <a:pt x="38" y="182"/>
                </a:lnTo>
                <a:lnTo>
                  <a:pt x="36" y="182"/>
                </a:lnTo>
                <a:lnTo>
                  <a:pt x="34" y="182"/>
                </a:lnTo>
                <a:lnTo>
                  <a:pt x="32" y="180"/>
                </a:lnTo>
                <a:lnTo>
                  <a:pt x="28" y="174"/>
                </a:lnTo>
                <a:lnTo>
                  <a:pt x="14" y="158"/>
                </a:lnTo>
                <a:lnTo>
                  <a:pt x="0" y="142"/>
                </a:lnTo>
                <a:lnTo>
                  <a:pt x="2" y="140"/>
                </a:lnTo>
                <a:lnTo>
                  <a:pt x="4" y="140"/>
                </a:lnTo>
                <a:lnTo>
                  <a:pt x="6" y="136"/>
                </a:lnTo>
                <a:lnTo>
                  <a:pt x="6" y="134"/>
                </a:lnTo>
                <a:lnTo>
                  <a:pt x="6" y="132"/>
                </a:lnTo>
                <a:lnTo>
                  <a:pt x="12" y="130"/>
                </a:lnTo>
                <a:lnTo>
                  <a:pt x="12" y="122"/>
                </a:lnTo>
                <a:lnTo>
                  <a:pt x="12" y="116"/>
                </a:lnTo>
                <a:lnTo>
                  <a:pt x="8" y="110"/>
                </a:lnTo>
                <a:lnTo>
                  <a:pt x="8" y="108"/>
                </a:lnTo>
                <a:lnTo>
                  <a:pt x="10" y="104"/>
                </a:lnTo>
                <a:lnTo>
                  <a:pt x="12" y="100"/>
                </a:lnTo>
                <a:lnTo>
                  <a:pt x="16" y="98"/>
                </a:lnTo>
                <a:lnTo>
                  <a:pt x="18" y="100"/>
                </a:lnTo>
                <a:lnTo>
                  <a:pt x="24" y="100"/>
                </a:lnTo>
                <a:lnTo>
                  <a:pt x="26" y="96"/>
                </a:lnTo>
                <a:lnTo>
                  <a:pt x="30" y="96"/>
                </a:lnTo>
                <a:lnTo>
                  <a:pt x="34" y="98"/>
                </a:lnTo>
                <a:lnTo>
                  <a:pt x="36" y="96"/>
                </a:lnTo>
                <a:lnTo>
                  <a:pt x="38" y="96"/>
                </a:lnTo>
                <a:lnTo>
                  <a:pt x="40" y="94"/>
                </a:lnTo>
                <a:lnTo>
                  <a:pt x="42" y="92"/>
                </a:lnTo>
                <a:lnTo>
                  <a:pt x="44" y="92"/>
                </a:lnTo>
                <a:lnTo>
                  <a:pt x="46" y="90"/>
                </a:lnTo>
                <a:lnTo>
                  <a:pt x="48" y="90"/>
                </a:lnTo>
                <a:lnTo>
                  <a:pt x="52" y="88"/>
                </a:lnTo>
                <a:lnTo>
                  <a:pt x="58" y="80"/>
                </a:lnTo>
                <a:lnTo>
                  <a:pt x="58" y="78"/>
                </a:lnTo>
                <a:lnTo>
                  <a:pt x="56" y="76"/>
                </a:lnTo>
                <a:lnTo>
                  <a:pt x="54" y="74"/>
                </a:lnTo>
                <a:lnTo>
                  <a:pt x="48" y="74"/>
                </a:lnTo>
                <a:lnTo>
                  <a:pt x="46" y="76"/>
                </a:lnTo>
                <a:lnTo>
                  <a:pt x="44" y="76"/>
                </a:lnTo>
                <a:lnTo>
                  <a:pt x="40" y="74"/>
                </a:lnTo>
                <a:lnTo>
                  <a:pt x="40" y="72"/>
                </a:lnTo>
                <a:lnTo>
                  <a:pt x="40" y="70"/>
                </a:lnTo>
                <a:lnTo>
                  <a:pt x="40" y="68"/>
                </a:lnTo>
                <a:lnTo>
                  <a:pt x="42" y="68"/>
                </a:lnTo>
                <a:lnTo>
                  <a:pt x="42" y="66"/>
                </a:lnTo>
                <a:lnTo>
                  <a:pt x="40" y="64"/>
                </a:lnTo>
                <a:lnTo>
                  <a:pt x="38" y="60"/>
                </a:lnTo>
                <a:lnTo>
                  <a:pt x="36" y="60"/>
                </a:lnTo>
                <a:lnTo>
                  <a:pt x="34" y="58"/>
                </a:lnTo>
                <a:lnTo>
                  <a:pt x="34" y="56"/>
                </a:lnTo>
                <a:lnTo>
                  <a:pt x="36" y="54"/>
                </a:lnTo>
                <a:lnTo>
                  <a:pt x="38" y="54"/>
                </a:lnTo>
                <a:lnTo>
                  <a:pt x="42" y="50"/>
                </a:lnTo>
                <a:lnTo>
                  <a:pt x="42" y="46"/>
                </a:lnTo>
                <a:lnTo>
                  <a:pt x="44" y="40"/>
                </a:lnTo>
                <a:lnTo>
                  <a:pt x="56" y="36"/>
                </a:lnTo>
                <a:lnTo>
                  <a:pt x="58" y="34"/>
                </a:lnTo>
                <a:lnTo>
                  <a:pt x="60" y="32"/>
                </a:lnTo>
                <a:lnTo>
                  <a:pt x="66" y="28"/>
                </a:lnTo>
                <a:lnTo>
                  <a:pt x="68" y="28"/>
                </a:lnTo>
                <a:lnTo>
                  <a:pt x="70" y="28"/>
                </a:lnTo>
                <a:lnTo>
                  <a:pt x="72" y="26"/>
                </a:lnTo>
                <a:lnTo>
                  <a:pt x="72" y="22"/>
                </a:lnTo>
                <a:lnTo>
                  <a:pt x="74" y="20"/>
                </a:lnTo>
                <a:lnTo>
                  <a:pt x="76" y="18"/>
                </a:lnTo>
                <a:lnTo>
                  <a:pt x="78" y="18"/>
                </a:lnTo>
                <a:lnTo>
                  <a:pt x="80" y="16"/>
                </a:lnTo>
                <a:lnTo>
                  <a:pt x="82" y="14"/>
                </a:lnTo>
                <a:lnTo>
                  <a:pt x="82" y="12"/>
                </a:lnTo>
                <a:lnTo>
                  <a:pt x="78" y="8"/>
                </a:lnTo>
                <a:lnTo>
                  <a:pt x="72" y="2"/>
                </a:lnTo>
                <a:lnTo>
                  <a:pt x="72" y="0"/>
                </a:lnTo>
                <a:lnTo>
                  <a:pt x="74" y="2"/>
                </a:lnTo>
                <a:lnTo>
                  <a:pt x="76" y="4"/>
                </a:lnTo>
                <a:lnTo>
                  <a:pt x="78" y="4"/>
                </a:lnTo>
                <a:lnTo>
                  <a:pt x="78" y="6"/>
                </a:lnTo>
                <a:lnTo>
                  <a:pt x="80" y="8"/>
                </a:lnTo>
                <a:lnTo>
                  <a:pt x="80" y="10"/>
                </a:lnTo>
                <a:lnTo>
                  <a:pt x="84" y="10"/>
                </a:lnTo>
                <a:lnTo>
                  <a:pt x="84" y="8"/>
                </a:lnTo>
                <a:lnTo>
                  <a:pt x="84" y="6"/>
                </a:lnTo>
                <a:lnTo>
                  <a:pt x="90" y="10"/>
                </a:lnTo>
                <a:lnTo>
                  <a:pt x="106" y="20"/>
                </a:lnTo>
                <a:lnTo>
                  <a:pt x="118" y="26"/>
                </a:lnTo>
                <a:lnTo>
                  <a:pt x="120" y="28"/>
                </a:lnTo>
                <a:lnTo>
                  <a:pt x="120" y="30"/>
                </a:lnTo>
                <a:lnTo>
                  <a:pt x="122" y="30"/>
                </a:lnTo>
                <a:lnTo>
                  <a:pt x="130" y="38"/>
                </a:lnTo>
                <a:lnTo>
                  <a:pt x="136" y="44"/>
                </a:lnTo>
                <a:lnTo>
                  <a:pt x="138" y="46"/>
                </a:lnTo>
                <a:lnTo>
                  <a:pt x="140" y="48"/>
                </a:lnTo>
                <a:lnTo>
                  <a:pt x="142" y="50"/>
                </a:lnTo>
                <a:lnTo>
                  <a:pt x="146" y="52"/>
                </a:lnTo>
                <a:lnTo>
                  <a:pt x="154" y="62"/>
                </a:lnTo>
                <a:lnTo>
                  <a:pt x="156" y="64"/>
                </a:lnTo>
                <a:lnTo>
                  <a:pt x="156" y="76"/>
                </a:lnTo>
                <a:lnTo>
                  <a:pt x="154" y="82"/>
                </a:lnTo>
                <a:lnTo>
                  <a:pt x="154" y="84"/>
                </a:lnTo>
                <a:lnTo>
                  <a:pt x="152" y="86"/>
                </a:lnTo>
                <a:lnTo>
                  <a:pt x="152" y="88"/>
                </a:lnTo>
                <a:lnTo>
                  <a:pt x="150" y="94"/>
                </a:lnTo>
                <a:lnTo>
                  <a:pt x="150" y="96"/>
                </a:lnTo>
                <a:lnTo>
                  <a:pt x="148" y="102"/>
                </a:lnTo>
                <a:lnTo>
                  <a:pt x="148" y="112"/>
                </a:lnTo>
                <a:lnTo>
                  <a:pt x="148" y="114"/>
                </a:lnTo>
                <a:lnTo>
                  <a:pt x="150" y="114"/>
                </a:lnTo>
                <a:lnTo>
                  <a:pt x="150" y="112"/>
                </a:lnTo>
                <a:lnTo>
                  <a:pt x="152" y="110"/>
                </a:lnTo>
                <a:lnTo>
                  <a:pt x="150" y="108"/>
                </a:lnTo>
                <a:lnTo>
                  <a:pt x="150" y="104"/>
                </a:lnTo>
                <a:lnTo>
                  <a:pt x="152" y="100"/>
                </a:lnTo>
                <a:lnTo>
                  <a:pt x="156" y="94"/>
                </a:lnTo>
                <a:lnTo>
                  <a:pt x="156" y="92"/>
                </a:lnTo>
                <a:lnTo>
                  <a:pt x="158" y="90"/>
                </a:lnTo>
                <a:lnTo>
                  <a:pt x="160" y="90"/>
                </a:lnTo>
                <a:lnTo>
                  <a:pt x="164" y="90"/>
                </a:lnTo>
                <a:lnTo>
                  <a:pt x="168" y="90"/>
                </a:lnTo>
                <a:lnTo>
                  <a:pt x="170" y="92"/>
                </a:lnTo>
                <a:lnTo>
                  <a:pt x="172" y="94"/>
                </a:lnTo>
                <a:lnTo>
                  <a:pt x="172" y="92"/>
                </a:lnTo>
                <a:lnTo>
                  <a:pt x="180" y="94"/>
                </a:lnTo>
                <a:lnTo>
                  <a:pt x="182" y="94"/>
                </a:lnTo>
                <a:lnTo>
                  <a:pt x="184" y="96"/>
                </a:lnTo>
                <a:lnTo>
                  <a:pt x="186" y="98"/>
                </a:lnTo>
                <a:lnTo>
                  <a:pt x="188" y="100"/>
                </a:lnTo>
                <a:lnTo>
                  <a:pt x="194" y="106"/>
                </a:lnTo>
                <a:lnTo>
                  <a:pt x="202" y="112"/>
                </a:lnTo>
                <a:lnTo>
                  <a:pt x="204" y="114"/>
                </a:lnTo>
                <a:lnTo>
                  <a:pt x="208" y="122"/>
                </a:lnTo>
                <a:lnTo>
                  <a:pt x="210" y="118"/>
                </a:lnTo>
                <a:lnTo>
                  <a:pt x="216" y="122"/>
                </a:lnTo>
                <a:lnTo>
                  <a:pt x="218" y="122"/>
                </a:lnTo>
                <a:lnTo>
                  <a:pt x="222" y="126"/>
                </a:lnTo>
                <a:lnTo>
                  <a:pt x="224" y="128"/>
                </a:lnTo>
                <a:lnTo>
                  <a:pt x="226" y="130"/>
                </a:lnTo>
                <a:lnTo>
                  <a:pt x="226" y="132"/>
                </a:lnTo>
                <a:lnTo>
                  <a:pt x="228" y="134"/>
                </a:lnTo>
                <a:lnTo>
                  <a:pt x="228" y="140"/>
                </a:lnTo>
                <a:lnTo>
                  <a:pt x="228" y="156"/>
                </a:lnTo>
                <a:lnTo>
                  <a:pt x="228" y="160"/>
                </a:lnTo>
                <a:lnTo>
                  <a:pt x="226" y="160"/>
                </a:lnTo>
                <a:lnTo>
                  <a:pt x="224" y="166"/>
                </a:lnTo>
                <a:lnTo>
                  <a:pt x="222" y="170"/>
                </a:lnTo>
                <a:lnTo>
                  <a:pt x="220" y="172"/>
                </a:lnTo>
                <a:lnTo>
                  <a:pt x="220" y="176"/>
                </a:lnTo>
                <a:lnTo>
                  <a:pt x="222" y="180"/>
                </a:lnTo>
                <a:lnTo>
                  <a:pt x="224" y="178"/>
                </a:lnTo>
                <a:lnTo>
                  <a:pt x="226" y="180"/>
                </a:lnTo>
                <a:lnTo>
                  <a:pt x="226" y="182"/>
                </a:lnTo>
                <a:lnTo>
                  <a:pt x="224" y="184"/>
                </a:lnTo>
                <a:lnTo>
                  <a:pt x="224" y="182"/>
                </a:lnTo>
                <a:lnTo>
                  <a:pt x="222" y="182"/>
                </a:lnTo>
                <a:lnTo>
                  <a:pt x="222" y="184"/>
                </a:lnTo>
                <a:lnTo>
                  <a:pt x="220" y="188"/>
                </a:lnTo>
                <a:lnTo>
                  <a:pt x="220" y="190"/>
                </a:lnTo>
                <a:lnTo>
                  <a:pt x="214" y="192"/>
                </a:lnTo>
                <a:lnTo>
                  <a:pt x="212" y="192"/>
                </a:lnTo>
                <a:lnTo>
                  <a:pt x="204" y="192"/>
                </a:lnTo>
                <a:lnTo>
                  <a:pt x="202" y="192"/>
                </a:lnTo>
                <a:lnTo>
                  <a:pt x="200" y="192"/>
                </a:lnTo>
                <a:lnTo>
                  <a:pt x="192" y="196"/>
                </a:lnTo>
                <a:lnTo>
                  <a:pt x="188" y="200"/>
                </a:lnTo>
                <a:lnTo>
                  <a:pt x="188" y="202"/>
                </a:lnTo>
                <a:lnTo>
                  <a:pt x="188" y="204"/>
                </a:lnTo>
                <a:lnTo>
                  <a:pt x="190" y="206"/>
                </a:lnTo>
                <a:lnTo>
                  <a:pt x="192" y="210"/>
                </a:lnTo>
                <a:lnTo>
                  <a:pt x="192" y="212"/>
                </a:lnTo>
                <a:lnTo>
                  <a:pt x="190" y="220"/>
                </a:lnTo>
                <a:lnTo>
                  <a:pt x="186" y="228"/>
                </a:lnTo>
                <a:lnTo>
                  <a:pt x="186" y="230"/>
                </a:lnTo>
                <a:lnTo>
                  <a:pt x="186" y="232"/>
                </a:lnTo>
                <a:lnTo>
                  <a:pt x="184" y="234"/>
                </a:lnTo>
                <a:lnTo>
                  <a:pt x="182" y="236"/>
                </a:lnTo>
                <a:lnTo>
                  <a:pt x="180" y="238"/>
                </a:lnTo>
                <a:lnTo>
                  <a:pt x="182" y="246"/>
                </a:lnTo>
                <a:lnTo>
                  <a:pt x="182" y="248"/>
                </a:lnTo>
                <a:lnTo>
                  <a:pt x="186" y="250"/>
                </a:lnTo>
                <a:lnTo>
                  <a:pt x="186" y="252"/>
                </a:lnTo>
                <a:lnTo>
                  <a:pt x="188" y="254"/>
                </a:lnTo>
                <a:lnTo>
                  <a:pt x="190" y="258"/>
                </a:lnTo>
                <a:lnTo>
                  <a:pt x="192" y="260"/>
                </a:lnTo>
                <a:lnTo>
                  <a:pt x="192" y="264"/>
                </a:lnTo>
                <a:lnTo>
                  <a:pt x="194" y="266"/>
                </a:lnTo>
                <a:lnTo>
                  <a:pt x="196" y="268"/>
                </a:lnTo>
                <a:lnTo>
                  <a:pt x="198" y="268"/>
                </a:lnTo>
                <a:lnTo>
                  <a:pt x="202" y="272"/>
                </a:lnTo>
                <a:lnTo>
                  <a:pt x="202" y="274"/>
                </a:lnTo>
                <a:lnTo>
                  <a:pt x="204" y="278"/>
                </a:lnTo>
                <a:lnTo>
                  <a:pt x="202" y="280"/>
                </a:lnTo>
                <a:lnTo>
                  <a:pt x="204" y="282"/>
                </a:lnTo>
                <a:lnTo>
                  <a:pt x="206" y="282"/>
                </a:lnTo>
                <a:lnTo>
                  <a:pt x="210" y="282"/>
                </a:lnTo>
                <a:lnTo>
                  <a:pt x="214" y="282"/>
                </a:lnTo>
                <a:lnTo>
                  <a:pt x="222" y="280"/>
                </a:lnTo>
                <a:lnTo>
                  <a:pt x="224" y="284"/>
                </a:lnTo>
                <a:lnTo>
                  <a:pt x="222" y="286"/>
                </a:lnTo>
                <a:lnTo>
                  <a:pt x="222" y="292"/>
                </a:lnTo>
                <a:lnTo>
                  <a:pt x="224" y="294"/>
                </a:lnTo>
                <a:lnTo>
                  <a:pt x="224" y="296"/>
                </a:lnTo>
                <a:lnTo>
                  <a:pt x="226" y="298"/>
                </a:lnTo>
                <a:lnTo>
                  <a:pt x="228" y="300"/>
                </a:lnTo>
                <a:lnTo>
                  <a:pt x="228" y="302"/>
                </a:lnTo>
                <a:lnTo>
                  <a:pt x="228" y="308"/>
                </a:lnTo>
                <a:lnTo>
                  <a:pt x="228" y="312"/>
                </a:lnTo>
                <a:lnTo>
                  <a:pt x="232" y="316"/>
                </a:lnTo>
                <a:lnTo>
                  <a:pt x="242" y="330"/>
                </a:lnTo>
                <a:lnTo>
                  <a:pt x="244" y="334"/>
                </a:lnTo>
                <a:lnTo>
                  <a:pt x="246" y="340"/>
                </a:lnTo>
                <a:lnTo>
                  <a:pt x="248" y="346"/>
                </a:lnTo>
                <a:lnTo>
                  <a:pt x="250" y="348"/>
                </a:lnTo>
                <a:lnTo>
                  <a:pt x="256" y="354"/>
                </a:lnTo>
                <a:lnTo>
                  <a:pt x="258" y="354"/>
                </a:lnTo>
                <a:lnTo>
                  <a:pt x="262" y="354"/>
                </a:lnTo>
                <a:lnTo>
                  <a:pt x="264" y="354"/>
                </a:lnTo>
                <a:lnTo>
                  <a:pt x="266" y="358"/>
                </a:lnTo>
                <a:lnTo>
                  <a:pt x="268" y="360"/>
                </a:lnTo>
                <a:lnTo>
                  <a:pt x="264" y="360"/>
                </a:lnTo>
                <a:lnTo>
                  <a:pt x="262" y="360"/>
                </a:lnTo>
                <a:lnTo>
                  <a:pt x="260" y="360"/>
                </a:lnTo>
                <a:lnTo>
                  <a:pt x="254" y="360"/>
                </a:lnTo>
                <a:lnTo>
                  <a:pt x="252" y="362"/>
                </a:lnTo>
                <a:lnTo>
                  <a:pt x="252" y="364"/>
                </a:lnTo>
                <a:lnTo>
                  <a:pt x="246" y="362"/>
                </a:lnTo>
                <a:lnTo>
                  <a:pt x="238" y="360"/>
                </a:lnTo>
                <a:lnTo>
                  <a:pt x="236" y="358"/>
                </a:lnTo>
                <a:lnTo>
                  <a:pt x="236" y="356"/>
                </a:lnTo>
                <a:lnTo>
                  <a:pt x="234" y="356"/>
                </a:lnTo>
                <a:lnTo>
                  <a:pt x="234" y="354"/>
                </a:lnTo>
                <a:lnTo>
                  <a:pt x="230" y="356"/>
                </a:lnTo>
                <a:lnTo>
                  <a:pt x="228" y="358"/>
                </a:lnTo>
                <a:lnTo>
                  <a:pt x="226" y="358"/>
                </a:lnTo>
                <a:lnTo>
                  <a:pt x="224" y="358"/>
                </a:lnTo>
                <a:lnTo>
                  <a:pt x="222" y="358"/>
                </a:lnTo>
                <a:lnTo>
                  <a:pt x="216" y="362"/>
                </a:lnTo>
                <a:lnTo>
                  <a:pt x="216" y="364"/>
                </a:lnTo>
                <a:lnTo>
                  <a:pt x="214" y="368"/>
                </a:lnTo>
                <a:lnTo>
                  <a:pt x="210" y="372"/>
                </a:lnTo>
                <a:lnTo>
                  <a:pt x="204" y="372"/>
                </a:lnTo>
                <a:lnTo>
                  <a:pt x="202" y="372"/>
                </a:lnTo>
                <a:lnTo>
                  <a:pt x="200" y="372"/>
                </a:lnTo>
                <a:lnTo>
                  <a:pt x="198" y="372"/>
                </a:lnTo>
                <a:lnTo>
                  <a:pt x="192" y="374"/>
                </a:lnTo>
                <a:lnTo>
                  <a:pt x="186" y="378"/>
                </a:lnTo>
                <a:lnTo>
                  <a:pt x="186" y="380"/>
                </a:lnTo>
                <a:lnTo>
                  <a:pt x="184" y="384"/>
                </a:lnTo>
                <a:lnTo>
                  <a:pt x="178" y="384"/>
                </a:lnTo>
                <a:lnTo>
                  <a:pt x="170" y="380"/>
                </a:lnTo>
                <a:lnTo>
                  <a:pt x="164" y="386"/>
                </a:lnTo>
                <a:lnTo>
                  <a:pt x="158" y="386"/>
                </a:lnTo>
                <a:lnTo>
                  <a:pt x="160" y="392"/>
                </a:lnTo>
                <a:lnTo>
                  <a:pt x="158" y="394"/>
                </a:lnTo>
                <a:lnTo>
                  <a:pt x="156" y="396"/>
                </a:lnTo>
                <a:lnTo>
                  <a:pt x="154" y="396"/>
                </a:lnTo>
                <a:lnTo>
                  <a:pt x="148" y="396"/>
                </a:lnTo>
                <a:lnTo>
                  <a:pt x="146" y="396"/>
                </a:lnTo>
                <a:lnTo>
                  <a:pt x="146" y="398"/>
                </a:lnTo>
                <a:lnTo>
                  <a:pt x="144" y="400"/>
                </a:lnTo>
                <a:lnTo>
                  <a:pt x="140" y="402"/>
                </a:lnTo>
                <a:lnTo>
                  <a:pt x="138" y="400"/>
                </a:lnTo>
                <a:lnTo>
                  <a:pt x="136" y="398"/>
                </a:lnTo>
                <a:lnTo>
                  <a:pt x="136" y="396"/>
                </a:lnTo>
                <a:lnTo>
                  <a:pt x="136" y="394"/>
                </a:lnTo>
                <a:lnTo>
                  <a:pt x="134" y="394"/>
                </a:lnTo>
                <a:lnTo>
                  <a:pt x="132" y="394"/>
                </a:lnTo>
                <a:lnTo>
                  <a:pt x="126" y="392"/>
                </a:lnTo>
                <a:lnTo>
                  <a:pt x="118" y="390"/>
                </a:lnTo>
                <a:lnTo>
                  <a:pt x="108" y="380"/>
                </a:lnTo>
                <a:lnTo>
                  <a:pt x="104" y="376"/>
                </a:lnTo>
                <a:lnTo>
                  <a:pt x="102" y="374"/>
                </a:lnTo>
                <a:lnTo>
                  <a:pt x="98" y="372"/>
                </a:lnTo>
                <a:lnTo>
                  <a:pt x="96" y="372"/>
                </a:lnTo>
                <a:lnTo>
                  <a:pt x="94" y="370"/>
                </a:lnTo>
                <a:lnTo>
                  <a:pt x="96" y="368"/>
                </a:lnTo>
                <a:lnTo>
                  <a:pt x="96" y="366"/>
                </a:lnTo>
                <a:lnTo>
                  <a:pt x="92" y="364"/>
                </a:lnTo>
                <a:lnTo>
                  <a:pt x="90" y="364"/>
                </a:lnTo>
                <a:lnTo>
                  <a:pt x="90" y="362"/>
                </a:lnTo>
                <a:lnTo>
                  <a:pt x="90" y="352"/>
                </a:lnTo>
                <a:lnTo>
                  <a:pt x="92" y="344"/>
                </a:lnTo>
                <a:lnTo>
                  <a:pt x="90" y="342"/>
                </a:lnTo>
                <a:lnTo>
                  <a:pt x="88" y="340"/>
                </a:lnTo>
                <a:lnTo>
                  <a:pt x="84" y="338"/>
                </a:lnTo>
                <a:lnTo>
                  <a:pt x="82" y="336"/>
                </a:lnTo>
                <a:lnTo>
                  <a:pt x="82" y="334"/>
                </a:lnTo>
                <a:lnTo>
                  <a:pt x="82" y="332"/>
                </a:lnTo>
                <a:lnTo>
                  <a:pt x="80" y="326"/>
                </a:lnTo>
                <a:lnTo>
                  <a:pt x="80" y="324"/>
                </a:lnTo>
                <a:lnTo>
                  <a:pt x="78" y="318"/>
                </a:lnTo>
                <a:lnTo>
                  <a:pt x="78" y="310"/>
                </a:lnTo>
                <a:lnTo>
                  <a:pt x="78" y="308"/>
                </a:lnTo>
                <a:lnTo>
                  <a:pt x="78" y="300"/>
                </a:lnTo>
                <a:lnTo>
                  <a:pt x="80" y="298"/>
                </a:lnTo>
                <a:lnTo>
                  <a:pt x="80" y="292"/>
                </a:lnTo>
                <a:lnTo>
                  <a:pt x="82" y="288"/>
                </a:lnTo>
                <a:lnTo>
                  <a:pt x="84" y="286"/>
                </a:lnTo>
                <a:lnTo>
                  <a:pt x="84" y="284"/>
                </a:lnTo>
                <a:lnTo>
                  <a:pt x="86" y="282"/>
                </a:lnTo>
                <a:lnTo>
                  <a:pt x="86" y="276"/>
                </a:lnTo>
                <a:lnTo>
                  <a:pt x="84" y="274"/>
                </a:lnTo>
                <a:lnTo>
                  <a:pt x="88" y="268"/>
                </a:lnTo>
                <a:lnTo>
                  <a:pt x="94" y="262"/>
                </a:lnTo>
                <a:lnTo>
                  <a:pt x="98" y="254"/>
                </a:lnTo>
                <a:lnTo>
                  <a:pt x="98" y="248"/>
                </a:lnTo>
                <a:lnTo>
                  <a:pt x="92" y="238"/>
                </a:lnTo>
                <a:lnTo>
                  <a:pt x="90" y="238"/>
                </a:lnTo>
                <a:lnTo>
                  <a:pt x="90" y="236"/>
                </a:lnTo>
                <a:lnTo>
                  <a:pt x="90" y="232"/>
                </a:lnTo>
                <a:lnTo>
                  <a:pt x="94" y="226"/>
                </a:lnTo>
                <a:lnTo>
                  <a:pt x="90" y="224"/>
                </a:lnTo>
                <a:lnTo>
                  <a:pt x="86" y="224"/>
                </a:lnTo>
                <a:lnTo>
                  <a:pt x="78" y="220"/>
                </a:lnTo>
                <a:lnTo>
                  <a:pt x="74" y="222"/>
                </a:lnTo>
                <a:lnTo>
                  <a:pt x="68" y="220"/>
                </a:lnTo>
                <a:lnTo>
                  <a:pt x="66" y="216"/>
                </a:lnTo>
                <a:lnTo>
                  <a:pt x="68" y="216"/>
                </a:lnTo>
                <a:lnTo>
                  <a:pt x="70" y="214"/>
                </a:lnTo>
                <a:lnTo>
                  <a:pt x="72" y="214"/>
                </a:lnTo>
                <a:lnTo>
                  <a:pt x="74" y="208"/>
                </a:lnTo>
                <a:lnTo>
                  <a:pt x="76" y="202"/>
                </a:lnTo>
                <a:lnTo>
                  <a:pt x="76" y="192"/>
                </a:lnTo>
                <a:lnTo>
                  <a:pt x="74" y="188"/>
                </a:lnTo>
                <a:lnTo>
                  <a:pt x="70" y="184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4" name="Freeform 123"/>
          <p:cNvSpPr>
            <a:spLocks/>
          </p:cNvSpPr>
          <p:nvPr/>
        </p:nvSpPr>
        <p:spPr bwMode="auto">
          <a:xfrm>
            <a:off x="4639308" y="1695803"/>
            <a:ext cx="265113" cy="293688"/>
          </a:xfrm>
          <a:custGeom>
            <a:avLst/>
            <a:gdLst/>
            <a:ahLst/>
            <a:cxnLst>
              <a:cxn ang="0">
                <a:pos x="210" y="156"/>
              </a:cxn>
              <a:cxn ang="0">
                <a:pos x="212" y="168"/>
              </a:cxn>
              <a:cxn ang="0">
                <a:pos x="204" y="184"/>
              </a:cxn>
              <a:cxn ang="0">
                <a:pos x="198" y="196"/>
              </a:cxn>
              <a:cxn ang="0">
                <a:pos x="184" y="202"/>
              </a:cxn>
              <a:cxn ang="0">
                <a:pos x="180" y="194"/>
              </a:cxn>
              <a:cxn ang="0">
                <a:pos x="168" y="190"/>
              </a:cxn>
              <a:cxn ang="0">
                <a:pos x="128" y="198"/>
              </a:cxn>
              <a:cxn ang="0">
                <a:pos x="114" y="190"/>
              </a:cxn>
              <a:cxn ang="0">
                <a:pos x="106" y="206"/>
              </a:cxn>
              <a:cxn ang="0">
                <a:pos x="116" y="228"/>
              </a:cxn>
              <a:cxn ang="0">
                <a:pos x="106" y="228"/>
              </a:cxn>
              <a:cxn ang="0">
                <a:pos x="88" y="224"/>
              </a:cxn>
              <a:cxn ang="0">
                <a:pos x="78" y="218"/>
              </a:cxn>
              <a:cxn ang="0">
                <a:pos x="66" y="204"/>
              </a:cxn>
              <a:cxn ang="0">
                <a:pos x="48" y="176"/>
              </a:cxn>
              <a:cxn ang="0">
                <a:pos x="46" y="162"/>
              </a:cxn>
              <a:cxn ang="0">
                <a:pos x="42" y="150"/>
              </a:cxn>
              <a:cxn ang="0">
                <a:pos x="30" y="146"/>
              </a:cxn>
              <a:cxn ang="0">
                <a:pos x="24" y="142"/>
              </a:cxn>
              <a:cxn ang="0">
                <a:pos x="16" y="132"/>
              </a:cxn>
              <a:cxn ang="0">
                <a:pos x="10" y="122"/>
              </a:cxn>
              <a:cxn ang="0">
                <a:pos x="2" y="112"/>
              </a:cxn>
              <a:cxn ang="0">
                <a:pos x="4" y="98"/>
              </a:cxn>
              <a:cxn ang="0">
                <a:pos x="10" y="84"/>
              </a:cxn>
              <a:cxn ang="0">
                <a:pos x="8" y="68"/>
              </a:cxn>
              <a:cxn ang="0">
                <a:pos x="20" y="56"/>
              </a:cxn>
              <a:cxn ang="0">
                <a:pos x="34" y="56"/>
              </a:cxn>
              <a:cxn ang="0">
                <a:pos x="42" y="46"/>
              </a:cxn>
              <a:cxn ang="0">
                <a:pos x="46" y="44"/>
              </a:cxn>
              <a:cxn ang="0">
                <a:pos x="40" y="36"/>
              </a:cxn>
              <a:cxn ang="0">
                <a:pos x="48" y="26"/>
              </a:cxn>
              <a:cxn ang="0">
                <a:pos x="56" y="2"/>
              </a:cxn>
              <a:cxn ang="0">
                <a:pos x="80" y="4"/>
              </a:cxn>
              <a:cxn ang="0">
                <a:pos x="116" y="14"/>
              </a:cxn>
              <a:cxn ang="0">
                <a:pos x="114" y="8"/>
              </a:cxn>
              <a:cxn ang="0">
                <a:pos x="130" y="2"/>
              </a:cxn>
              <a:cxn ang="0">
                <a:pos x="146" y="2"/>
              </a:cxn>
              <a:cxn ang="0">
                <a:pos x="158" y="6"/>
              </a:cxn>
              <a:cxn ang="0">
                <a:pos x="172" y="8"/>
              </a:cxn>
              <a:cxn ang="0">
                <a:pos x="158" y="6"/>
              </a:cxn>
              <a:cxn ang="0">
                <a:pos x="166" y="0"/>
              </a:cxn>
              <a:cxn ang="0">
                <a:pos x="184" y="2"/>
              </a:cxn>
              <a:cxn ang="0">
                <a:pos x="216" y="10"/>
              </a:cxn>
              <a:cxn ang="0">
                <a:pos x="216" y="26"/>
              </a:cxn>
              <a:cxn ang="0">
                <a:pos x="210" y="36"/>
              </a:cxn>
              <a:cxn ang="0">
                <a:pos x="202" y="44"/>
              </a:cxn>
              <a:cxn ang="0">
                <a:pos x="194" y="54"/>
              </a:cxn>
              <a:cxn ang="0">
                <a:pos x="196" y="72"/>
              </a:cxn>
              <a:cxn ang="0">
                <a:pos x="194" y="82"/>
              </a:cxn>
              <a:cxn ang="0">
                <a:pos x="200" y="100"/>
              </a:cxn>
              <a:cxn ang="0">
                <a:pos x="212" y="122"/>
              </a:cxn>
              <a:cxn ang="0">
                <a:pos x="220" y="140"/>
              </a:cxn>
            </a:cxnLst>
            <a:rect l="0" t="0" r="r" b="b"/>
            <a:pathLst>
              <a:path w="220" h="230">
                <a:moveTo>
                  <a:pt x="214" y="148"/>
                </a:moveTo>
                <a:lnTo>
                  <a:pt x="214" y="150"/>
                </a:lnTo>
                <a:lnTo>
                  <a:pt x="210" y="154"/>
                </a:lnTo>
                <a:lnTo>
                  <a:pt x="210" y="156"/>
                </a:lnTo>
                <a:lnTo>
                  <a:pt x="210" y="158"/>
                </a:lnTo>
                <a:lnTo>
                  <a:pt x="210" y="160"/>
                </a:lnTo>
                <a:lnTo>
                  <a:pt x="212" y="162"/>
                </a:lnTo>
                <a:lnTo>
                  <a:pt x="212" y="168"/>
                </a:lnTo>
                <a:lnTo>
                  <a:pt x="210" y="176"/>
                </a:lnTo>
                <a:lnTo>
                  <a:pt x="210" y="178"/>
                </a:lnTo>
                <a:lnTo>
                  <a:pt x="208" y="180"/>
                </a:lnTo>
                <a:lnTo>
                  <a:pt x="204" y="184"/>
                </a:lnTo>
                <a:lnTo>
                  <a:pt x="204" y="186"/>
                </a:lnTo>
                <a:lnTo>
                  <a:pt x="202" y="192"/>
                </a:lnTo>
                <a:lnTo>
                  <a:pt x="200" y="192"/>
                </a:lnTo>
                <a:lnTo>
                  <a:pt x="198" y="196"/>
                </a:lnTo>
                <a:lnTo>
                  <a:pt x="194" y="200"/>
                </a:lnTo>
                <a:lnTo>
                  <a:pt x="188" y="202"/>
                </a:lnTo>
                <a:lnTo>
                  <a:pt x="186" y="202"/>
                </a:lnTo>
                <a:lnTo>
                  <a:pt x="184" y="202"/>
                </a:lnTo>
                <a:lnTo>
                  <a:pt x="182" y="198"/>
                </a:lnTo>
                <a:lnTo>
                  <a:pt x="184" y="198"/>
                </a:lnTo>
                <a:lnTo>
                  <a:pt x="184" y="196"/>
                </a:lnTo>
                <a:lnTo>
                  <a:pt x="180" y="194"/>
                </a:lnTo>
                <a:lnTo>
                  <a:pt x="178" y="196"/>
                </a:lnTo>
                <a:lnTo>
                  <a:pt x="176" y="196"/>
                </a:lnTo>
                <a:lnTo>
                  <a:pt x="174" y="196"/>
                </a:lnTo>
                <a:lnTo>
                  <a:pt x="168" y="190"/>
                </a:lnTo>
                <a:lnTo>
                  <a:pt x="162" y="190"/>
                </a:lnTo>
                <a:lnTo>
                  <a:pt x="160" y="192"/>
                </a:lnTo>
                <a:lnTo>
                  <a:pt x="140" y="196"/>
                </a:lnTo>
                <a:lnTo>
                  <a:pt x="128" y="198"/>
                </a:lnTo>
                <a:lnTo>
                  <a:pt x="120" y="194"/>
                </a:lnTo>
                <a:lnTo>
                  <a:pt x="118" y="192"/>
                </a:lnTo>
                <a:lnTo>
                  <a:pt x="116" y="192"/>
                </a:lnTo>
                <a:lnTo>
                  <a:pt x="114" y="190"/>
                </a:lnTo>
                <a:lnTo>
                  <a:pt x="114" y="192"/>
                </a:lnTo>
                <a:lnTo>
                  <a:pt x="112" y="196"/>
                </a:lnTo>
                <a:lnTo>
                  <a:pt x="108" y="200"/>
                </a:lnTo>
                <a:lnTo>
                  <a:pt x="106" y="206"/>
                </a:lnTo>
                <a:lnTo>
                  <a:pt x="110" y="208"/>
                </a:lnTo>
                <a:lnTo>
                  <a:pt x="118" y="218"/>
                </a:lnTo>
                <a:lnTo>
                  <a:pt x="118" y="226"/>
                </a:lnTo>
                <a:lnTo>
                  <a:pt x="116" y="228"/>
                </a:lnTo>
                <a:lnTo>
                  <a:pt x="114" y="230"/>
                </a:lnTo>
                <a:lnTo>
                  <a:pt x="112" y="230"/>
                </a:lnTo>
                <a:lnTo>
                  <a:pt x="110" y="228"/>
                </a:lnTo>
                <a:lnTo>
                  <a:pt x="106" y="228"/>
                </a:lnTo>
                <a:lnTo>
                  <a:pt x="102" y="226"/>
                </a:lnTo>
                <a:lnTo>
                  <a:pt x="96" y="224"/>
                </a:lnTo>
                <a:lnTo>
                  <a:pt x="90" y="224"/>
                </a:lnTo>
                <a:lnTo>
                  <a:pt x="88" y="224"/>
                </a:lnTo>
                <a:lnTo>
                  <a:pt x="86" y="222"/>
                </a:lnTo>
                <a:lnTo>
                  <a:pt x="84" y="218"/>
                </a:lnTo>
                <a:lnTo>
                  <a:pt x="82" y="218"/>
                </a:lnTo>
                <a:lnTo>
                  <a:pt x="78" y="218"/>
                </a:lnTo>
                <a:lnTo>
                  <a:pt x="76" y="218"/>
                </a:lnTo>
                <a:lnTo>
                  <a:pt x="70" y="212"/>
                </a:lnTo>
                <a:lnTo>
                  <a:pt x="68" y="210"/>
                </a:lnTo>
                <a:lnTo>
                  <a:pt x="66" y="204"/>
                </a:lnTo>
                <a:lnTo>
                  <a:pt x="64" y="198"/>
                </a:lnTo>
                <a:lnTo>
                  <a:pt x="62" y="194"/>
                </a:lnTo>
                <a:lnTo>
                  <a:pt x="52" y="180"/>
                </a:lnTo>
                <a:lnTo>
                  <a:pt x="48" y="176"/>
                </a:lnTo>
                <a:lnTo>
                  <a:pt x="48" y="172"/>
                </a:lnTo>
                <a:lnTo>
                  <a:pt x="48" y="166"/>
                </a:lnTo>
                <a:lnTo>
                  <a:pt x="48" y="164"/>
                </a:lnTo>
                <a:lnTo>
                  <a:pt x="46" y="162"/>
                </a:lnTo>
                <a:lnTo>
                  <a:pt x="44" y="160"/>
                </a:lnTo>
                <a:lnTo>
                  <a:pt x="44" y="158"/>
                </a:lnTo>
                <a:lnTo>
                  <a:pt x="42" y="156"/>
                </a:lnTo>
                <a:lnTo>
                  <a:pt x="42" y="150"/>
                </a:lnTo>
                <a:lnTo>
                  <a:pt x="44" y="148"/>
                </a:lnTo>
                <a:lnTo>
                  <a:pt x="42" y="144"/>
                </a:lnTo>
                <a:lnTo>
                  <a:pt x="34" y="146"/>
                </a:lnTo>
                <a:lnTo>
                  <a:pt x="30" y="146"/>
                </a:lnTo>
                <a:lnTo>
                  <a:pt x="26" y="146"/>
                </a:lnTo>
                <a:lnTo>
                  <a:pt x="24" y="146"/>
                </a:lnTo>
                <a:lnTo>
                  <a:pt x="22" y="144"/>
                </a:lnTo>
                <a:lnTo>
                  <a:pt x="24" y="142"/>
                </a:lnTo>
                <a:lnTo>
                  <a:pt x="22" y="138"/>
                </a:lnTo>
                <a:lnTo>
                  <a:pt x="22" y="136"/>
                </a:lnTo>
                <a:lnTo>
                  <a:pt x="18" y="132"/>
                </a:lnTo>
                <a:lnTo>
                  <a:pt x="16" y="132"/>
                </a:lnTo>
                <a:lnTo>
                  <a:pt x="14" y="130"/>
                </a:lnTo>
                <a:lnTo>
                  <a:pt x="12" y="128"/>
                </a:lnTo>
                <a:lnTo>
                  <a:pt x="12" y="124"/>
                </a:lnTo>
                <a:lnTo>
                  <a:pt x="10" y="122"/>
                </a:lnTo>
                <a:lnTo>
                  <a:pt x="8" y="118"/>
                </a:lnTo>
                <a:lnTo>
                  <a:pt x="6" y="116"/>
                </a:lnTo>
                <a:lnTo>
                  <a:pt x="6" y="114"/>
                </a:lnTo>
                <a:lnTo>
                  <a:pt x="2" y="112"/>
                </a:lnTo>
                <a:lnTo>
                  <a:pt x="2" y="110"/>
                </a:lnTo>
                <a:lnTo>
                  <a:pt x="0" y="102"/>
                </a:lnTo>
                <a:lnTo>
                  <a:pt x="2" y="100"/>
                </a:lnTo>
                <a:lnTo>
                  <a:pt x="4" y="98"/>
                </a:lnTo>
                <a:lnTo>
                  <a:pt x="6" y="96"/>
                </a:lnTo>
                <a:lnTo>
                  <a:pt x="6" y="94"/>
                </a:lnTo>
                <a:lnTo>
                  <a:pt x="6" y="92"/>
                </a:lnTo>
                <a:lnTo>
                  <a:pt x="10" y="84"/>
                </a:lnTo>
                <a:lnTo>
                  <a:pt x="12" y="76"/>
                </a:lnTo>
                <a:lnTo>
                  <a:pt x="12" y="74"/>
                </a:lnTo>
                <a:lnTo>
                  <a:pt x="10" y="70"/>
                </a:lnTo>
                <a:lnTo>
                  <a:pt x="8" y="68"/>
                </a:lnTo>
                <a:lnTo>
                  <a:pt x="8" y="66"/>
                </a:lnTo>
                <a:lnTo>
                  <a:pt x="8" y="64"/>
                </a:lnTo>
                <a:lnTo>
                  <a:pt x="12" y="60"/>
                </a:lnTo>
                <a:lnTo>
                  <a:pt x="20" y="56"/>
                </a:lnTo>
                <a:lnTo>
                  <a:pt x="22" y="56"/>
                </a:lnTo>
                <a:lnTo>
                  <a:pt x="24" y="56"/>
                </a:lnTo>
                <a:lnTo>
                  <a:pt x="32" y="56"/>
                </a:lnTo>
                <a:lnTo>
                  <a:pt x="34" y="56"/>
                </a:lnTo>
                <a:lnTo>
                  <a:pt x="40" y="54"/>
                </a:lnTo>
                <a:lnTo>
                  <a:pt x="40" y="52"/>
                </a:lnTo>
                <a:lnTo>
                  <a:pt x="42" y="48"/>
                </a:lnTo>
                <a:lnTo>
                  <a:pt x="42" y="46"/>
                </a:lnTo>
                <a:lnTo>
                  <a:pt x="44" y="46"/>
                </a:lnTo>
                <a:lnTo>
                  <a:pt x="44" y="48"/>
                </a:lnTo>
                <a:lnTo>
                  <a:pt x="46" y="46"/>
                </a:lnTo>
                <a:lnTo>
                  <a:pt x="46" y="44"/>
                </a:lnTo>
                <a:lnTo>
                  <a:pt x="44" y="42"/>
                </a:lnTo>
                <a:lnTo>
                  <a:pt x="42" y="44"/>
                </a:lnTo>
                <a:lnTo>
                  <a:pt x="40" y="40"/>
                </a:lnTo>
                <a:lnTo>
                  <a:pt x="40" y="36"/>
                </a:lnTo>
                <a:lnTo>
                  <a:pt x="42" y="34"/>
                </a:lnTo>
                <a:lnTo>
                  <a:pt x="44" y="30"/>
                </a:lnTo>
                <a:lnTo>
                  <a:pt x="48" y="28"/>
                </a:lnTo>
                <a:lnTo>
                  <a:pt x="48" y="26"/>
                </a:lnTo>
                <a:lnTo>
                  <a:pt x="48" y="18"/>
                </a:lnTo>
                <a:lnTo>
                  <a:pt x="48" y="14"/>
                </a:lnTo>
                <a:lnTo>
                  <a:pt x="52" y="4"/>
                </a:lnTo>
                <a:lnTo>
                  <a:pt x="56" y="2"/>
                </a:lnTo>
                <a:lnTo>
                  <a:pt x="58" y="2"/>
                </a:lnTo>
                <a:lnTo>
                  <a:pt x="72" y="2"/>
                </a:lnTo>
                <a:lnTo>
                  <a:pt x="78" y="4"/>
                </a:lnTo>
                <a:lnTo>
                  <a:pt x="80" y="4"/>
                </a:lnTo>
                <a:lnTo>
                  <a:pt x="84" y="4"/>
                </a:lnTo>
                <a:lnTo>
                  <a:pt x="96" y="6"/>
                </a:lnTo>
                <a:lnTo>
                  <a:pt x="110" y="10"/>
                </a:lnTo>
                <a:lnTo>
                  <a:pt x="116" y="14"/>
                </a:lnTo>
                <a:lnTo>
                  <a:pt x="116" y="18"/>
                </a:lnTo>
                <a:lnTo>
                  <a:pt x="118" y="16"/>
                </a:lnTo>
                <a:lnTo>
                  <a:pt x="116" y="14"/>
                </a:lnTo>
                <a:lnTo>
                  <a:pt x="114" y="8"/>
                </a:lnTo>
                <a:lnTo>
                  <a:pt x="118" y="4"/>
                </a:lnTo>
                <a:lnTo>
                  <a:pt x="120" y="2"/>
                </a:lnTo>
                <a:lnTo>
                  <a:pt x="122" y="2"/>
                </a:lnTo>
                <a:lnTo>
                  <a:pt x="130" y="2"/>
                </a:lnTo>
                <a:lnTo>
                  <a:pt x="134" y="2"/>
                </a:lnTo>
                <a:lnTo>
                  <a:pt x="142" y="2"/>
                </a:lnTo>
                <a:lnTo>
                  <a:pt x="144" y="2"/>
                </a:lnTo>
                <a:lnTo>
                  <a:pt x="146" y="2"/>
                </a:lnTo>
                <a:lnTo>
                  <a:pt x="150" y="4"/>
                </a:lnTo>
                <a:lnTo>
                  <a:pt x="152" y="6"/>
                </a:lnTo>
                <a:lnTo>
                  <a:pt x="154" y="6"/>
                </a:lnTo>
                <a:lnTo>
                  <a:pt x="158" y="6"/>
                </a:lnTo>
                <a:lnTo>
                  <a:pt x="158" y="10"/>
                </a:lnTo>
                <a:lnTo>
                  <a:pt x="164" y="8"/>
                </a:lnTo>
                <a:lnTo>
                  <a:pt x="166" y="8"/>
                </a:lnTo>
                <a:lnTo>
                  <a:pt x="172" y="8"/>
                </a:lnTo>
                <a:lnTo>
                  <a:pt x="170" y="6"/>
                </a:lnTo>
                <a:lnTo>
                  <a:pt x="166" y="8"/>
                </a:lnTo>
                <a:lnTo>
                  <a:pt x="164" y="8"/>
                </a:lnTo>
                <a:lnTo>
                  <a:pt x="158" y="6"/>
                </a:lnTo>
                <a:lnTo>
                  <a:pt x="156" y="4"/>
                </a:lnTo>
                <a:lnTo>
                  <a:pt x="156" y="2"/>
                </a:lnTo>
                <a:lnTo>
                  <a:pt x="162" y="0"/>
                </a:lnTo>
                <a:lnTo>
                  <a:pt x="166" y="0"/>
                </a:lnTo>
                <a:lnTo>
                  <a:pt x="170" y="0"/>
                </a:lnTo>
                <a:lnTo>
                  <a:pt x="176" y="0"/>
                </a:lnTo>
                <a:lnTo>
                  <a:pt x="180" y="2"/>
                </a:lnTo>
                <a:lnTo>
                  <a:pt x="184" y="2"/>
                </a:lnTo>
                <a:lnTo>
                  <a:pt x="200" y="4"/>
                </a:lnTo>
                <a:lnTo>
                  <a:pt x="202" y="6"/>
                </a:lnTo>
                <a:lnTo>
                  <a:pt x="208" y="6"/>
                </a:lnTo>
                <a:lnTo>
                  <a:pt x="216" y="10"/>
                </a:lnTo>
                <a:lnTo>
                  <a:pt x="218" y="14"/>
                </a:lnTo>
                <a:lnTo>
                  <a:pt x="216" y="18"/>
                </a:lnTo>
                <a:lnTo>
                  <a:pt x="216" y="22"/>
                </a:lnTo>
                <a:lnTo>
                  <a:pt x="216" y="26"/>
                </a:lnTo>
                <a:lnTo>
                  <a:pt x="214" y="28"/>
                </a:lnTo>
                <a:lnTo>
                  <a:pt x="214" y="30"/>
                </a:lnTo>
                <a:lnTo>
                  <a:pt x="212" y="32"/>
                </a:lnTo>
                <a:lnTo>
                  <a:pt x="210" y="36"/>
                </a:lnTo>
                <a:lnTo>
                  <a:pt x="208" y="36"/>
                </a:lnTo>
                <a:lnTo>
                  <a:pt x="206" y="38"/>
                </a:lnTo>
                <a:lnTo>
                  <a:pt x="204" y="40"/>
                </a:lnTo>
                <a:lnTo>
                  <a:pt x="202" y="44"/>
                </a:lnTo>
                <a:lnTo>
                  <a:pt x="200" y="46"/>
                </a:lnTo>
                <a:lnTo>
                  <a:pt x="198" y="48"/>
                </a:lnTo>
                <a:lnTo>
                  <a:pt x="196" y="50"/>
                </a:lnTo>
                <a:lnTo>
                  <a:pt x="194" y="54"/>
                </a:lnTo>
                <a:lnTo>
                  <a:pt x="194" y="62"/>
                </a:lnTo>
                <a:lnTo>
                  <a:pt x="194" y="68"/>
                </a:lnTo>
                <a:lnTo>
                  <a:pt x="194" y="70"/>
                </a:lnTo>
                <a:lnTo>
                  <a:pt x="196" y="72"/>
                </a:lnTo>
                <a:lnTo>
                  <a:pt x="196" y="76"/>
                </a:lnTo>
                <a:lnTo>
                  <a:pt x="196" y="78"/>
                </a:lnTo>
                <a:lnTo>
                  <a:pt x="196" y="80"/>
                </a:lnTo>
                <a:lnTo>
                  <a:pt x="194" y="82"/>
                </a:lnTo>
                <a:lnTo>
                  <a:pt x="196" y="88"/>
                </a:lnTo>
                <a:lnTo>
                  <a:pt x="196" y="90"/>
                </a:lnTo>
                <a:lnTo>
                  <a:pt x="198" y="96"/>
                </a:lnTo>
                <a:lnTo>
                  <a:pt x="200" y="100"/>
                </a:lnTo>
                <a:lnTo>
                  <a:pt x="200" y="106"/>
                </a:lnTo>
                <a:lnTo>
                  <a:pt x="204" y="114"/>
                </a:lnTo>
                <a:lnTo>
                  <a:pt x="210" y="120"/>
                </a:lnTo>
                <a:lnTo>
                  <a:pt x="212" y="122"/>
                </a:lnTo>
                <a:lnTo>
                  <a:pt x="214" y="122"/>
                </a:lnTo>
                <a:lnTo>
                  <a:pt x="220" y="130"/>
                </a:lnTo>
                <a:lnTo>
                  <a:pt x="220" y="132"/>
                </a:lnTo>
                <a:lnTo>
                  <a:pt x="220" y="140"/>
                </a:lnTo>
                <a:lnTo>
                  <a:pt x="216" y="148"/>
                </a:lnTo>
                <a:lnTo>
                  <a:pt x="214" y="148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5" name="Freeform 124"/>
          <p:cNvSpPr>
            <a:spLocks/>
          </p:cNvSpPr>
          <p:nvPr/>
        </p:nvSpPr>
        <p:spPr bwMode="auto">
          <a:xfrm>
            <a:off x="4866315" y="1714853"/>
            <a:ext cx="190500" cy="255588"/>
          </a:xfrm>
          <a:custGeom>
            <a:avLst/>
            <a:gdLst/>
            <a:ahLst/>
            <a:cxnLst>
              <a:cxn ang="0">
                <a:pos x="10" y="182"/>
              </a:cxn>
              <a:cxn ang="0">
                <a:pos x="16" y="172"/>
              </a:cxn>
              <a:cxn ang="0">
                <a:pos x="22" y="164"/>
              </a:cxn>
              <a:cxn ang="0">
                <a:pos x="24" y="148"/>
              </a:cxn>
              <a:cxn ang="0">
                <a:pos x="22" y="142"/>
              </a:cxn>
              <a:cxn ang="0">
                <a:pos x="26" y="134"/>
              </a:cxn>
              <a:cxn ang="0">
                <a:pos x="32" y="118"/>
              </a:cxn>
              <a:cxn ang="0">
                <a:pos x="24" y="108"/>
              </a:cxn>
              <a:cxn ang="0">
                <a:pos x="12" y="92"/>
              </a:cxn>
              <a:cxn ang="0">
                <a:pos x="8" y="76"/>
              </a:cxn>
              <a:cxn ang="0">
                <a:pos x="8" y="66"/>
              </a:cxn>
              <a:cxn ang="0">
                <a:pos x="8" y="58"/>
              </a:cxn>
              <a:cxn ang="0">
                <a:pos x="6" y="48"/>
              </a:cxn>
              <a:cxn ang="0">
                <a:pos x="10" y="34"/>
              </a:cxn>
              <a:cxn ang="0">
                <a:pos x="16" y="26"/>
              </a:cxn>
              <a:cxn ang="0">
                <a:pos x="22" y="22"/>
              </a:cxn>
              <a:cxn ang="0">
                <a:pos x="28" y="16"/>
              </a:cxn>
              <a:cxn ang="0">
                <a:pos x="30" y="4"/>
              </a:cxn>
              <a:cxn ang="0">
                <a:pos x="38" y="0"/>
              </a:cxn>
              <a:cxn ang="0">
                <a:pos x="56" y="6"/>
              </a:cxn>
              <a:cxn ang="0">
                <a:pos x="68" y="12"/>
              </a:cxn>
              <a:cxn ang="0">
                <a:pos x="86" y="14"/>
              </a:cxn>
              <a:cxn ang="0">
                <a:pos x="96" y="20"/>
              </a:cxn>
              <a:cxn ang="0">
                <a:pos x="106" y="32"/>
              </a:cxn>
              <a:cxn ang="0">
                <a:pos x="120" y="42"/>
              </a:cxn>
              <a:cxn ang="0">
                <a:pos x="138" y="56"/>
              </a:cxn>
              <a:cxn ang="0">
                <a:pos x="140" y="62"/>
              </a:cxn>
              <a:cxn ang="0">
                <a:pos x="142" y="72"/>
              </a:cxn>
              <a:cxn ang="0">
                <a:pos x="138" y="76"/>
              </a:cxn>
              <a:cxn ang="0">
                <a:pos x="144" y="72"/>
              </a:cxn>
              <a:cxn ang="0">
                <a:pos x="144" y="66"/>
              </a:cxn>
              <a:cxn ang="0">
                <a:pos x="144" y="58"/>
              </a:cxn>
              <a:cxn ang="0">
                <a:pos x="152" y="64"/>
              </a:cxn>
              <a:cxn ang="0">
                <a:pos x="154" y="70"/>
              </a:cxn>
              <a:cxn ang="0">
                <a:pos x="156" y="78"/>
              </a:cxn>
              <a:cxn ang="0">
                <a:pos x="158" y="84"/>
              </a:cxn>
              <a:cxn ang="0">
                <a:pos x="158" y="90"/>
              </a:cxn>
              <a:cxn ang="0">
                <a:pos x="154" y="94"/>
              </a:cxn>
              <a:cxn ang="0">
                <a:pos x="150" y="102"/>
              </a:cxn>
              <a:cxn ang="0">
                <a:pos x="142" y="110"/>
              </a:cxn>
              <a:cxn ang="0">
                <a:pos x="136" y="126"/>
              </a:cxn>
              <a:cxn ang="0">
                <a:pos x="126" y="136"/>
              </a:cxn>
              <a:cxn ang="0">
                <a:pos x="122" y="146"/>
              </a:cxn>
              <a:cxn ang="0">
                <a:pos x="118" y="154"/>
              </a:cxn>
              <a:cxn ang="0">
                <a:pos x="112" y="170"/>
              </a:cxn>
              <a:cxn ang="0">
                <a:pos x="110" y="176"/>
              </a:cxn>
              <a:cxn ang="0">
                <a:pos x="100" y="188"/>
              </a:cxn>
              <a:cxn ang="0">
                <a:pos x="90" y="196"/>
              </a:cxn>
              <a:cxn ang="0">
                <a:pos x="84" y="194"/>
              </a:cxn>
              <a:cxn ang="0">
                <a:pos x="76" y="194"/>
              </a:cxn>
              <a:cxn ang="0">
                <a:pos x="72" y="188"/>
              </a:cxn>
              <a:cxn ang="0">
                <a:pos x="68" y="188"/>
              </a:cxn>
              <a:cxn ang="0">
                <a:pos x="48" y="188"/>
              </a:cxn>
              <a:cxn ang="0">
                <a:pos x="44" y="186"/>
              </a:cxn>
              <a:cxn ang="0">
                <a:pos x="36" y="194"/>
              </a:cxn>
              <a:cxn ang="0">
                <a:pos x="8" y="194"/>
              </a:cxn>
              <a:cxn ang="0">
                <a:pos x="4" y="188"/>
              </a:cxn>
            </a:cxnLst>
            <a:rect l="0" t="0" r="r" b="b"/>
            <a:pathLst>
              <a:path w="158" h="200">
                <a:moveTo>
                  <a:pt x="0" y="188"/>
                </a:moveTo>
                <a:lnTo>
                  <a:pt x="6" y="186"/>
                </a:lnTo>
                <a:lnTo>
                  <a:pt x="10" y="182"/>
                </a:lnTo>
                <a:lnTo>
                  <a:pt x="12" y="178"/>
                </a:lnTo>
                <a:lnTo>
                  <a:pt x="14" y="178"/>
                </a:lnTo>
                <a:lnTo>
                  <a:pt x="16" y="172"/>
                </a:lnTo>
                <a:lnTo>
                  <a:pt x="16" y="170"/>
                </a:lnTo>
                <a:lnTo>
                  <a:pt x="20" y="166"/>
                </a:lnTo>
                <a:lnTo>
                  <a:pt x="22" y="164"/>
                </a:lnTo>
                <a:lnTo>
                  <a:pt x="22" y="162"/>
                </a:lnTo>
                <a:lnTo>
                  <a:pt x="24" y="154"/>
                </a:lnTo>
                <a:lnTo>
                  <a:pt x="24" y="148"/>
                </a:lnTo>
                <a:lnTo>
                  <a:pt x="22" y="146"/>
                </a:lnTo>
                <a:lnTo>
                  <a:pt x="22" y="144"/>
                </a:lnTo>
                <a:lnTo>
                  <a:pt x="22" y="142"/>
                </a:lnTo>
                <a:lnTo>
                  <a:pt x="22" y="140"/>
                </a:lnTo>
                <a:lnTo>
                  <a:pt x="26" y="136"/>
                </a:lnTo>
                <a:lnTo>
                  <a:pt x="26" y="134"/>
                </a:lnTo>
                <a:lnTo>
                  <a:pt x="28" y="134"/>
                </a:lnTo>
                <a:lnTo>
                  <a:pt x="32" y="126"/>
                </a:lnTo>
                <a:lnTo>
                  <a:pt x="32" y="118"/>
                </a:lnTo>
                <a:lnTo>
                  <a:pt x="32" y="116"/>
                </a:lnTo>
                <a:lnTo>
                  <a:pt x="26" y="108"/>
                </a:lnTo>
                <a:lnTo>
                  <a:pt x="24" y="108"/>
                </a:lnTo>
                <a:lnTo>
                  <a:pt x="22" y="106"/>
                </a:lnTo>
                <a:lnTo>
                  <a:pt x="16" y="100"/>
                </a:lnTo>
                <a:lnTo>
                  <a:pt x="12" y="92"/>
                </a:lnTo>
                <a:lnTo>
                  <a:pt x="12" y="86"/>
                </a:lnTo>
                <a:lnTo>
                  <a:pt x="10" y="82"/>
                </a:lnTo>
                <a:lnTo>
                  <a:pt x="8" y="76"/>
                </a:lnTo>
                <a:lnTo>
                  <a:pt x="8" y="74"/>
                </a:lnTo>
                <a:lnTo>
                  <a:pt x="6" y="68"/>
                </a:lnTo>
                <a:lnTo>
                  <a:pt x="8" y="66"/>
                </a:lnTo>
                <a:lnTo>
                  <a:pt x="8" y="64"/>
                </a:lnTo>
                <a:lnTo>
                  <a:pt x="8" y="62"/>
                </a:lnTo>
                <a:lnTo>
                  <a:pt x="8" y="58"/>
                </a:lnTo>
                <a:lnTo>
                  <a:pt x="6" y="56"/>
                </a:lnTo>
                <a:lnTo>
                  <a:pt x="6" y="54"/>
                </a:lnTo>
                <a:lnTo>
                  <a:pt x="6" y="48"/>
                </a:lnTo>
                <a:lnTo>
                  <a:pt x="6" y="40"/>
                </a:lnTo>
                <a:lnTo>
                  <a:pt x="8" y="36"/>
                </a:lnTo>
                <a:lnTo>
                  <a:pt x="10" y="34"/>
                </a:lnTo>
                <a:lnTo>
                  <a:pt x="12" y="32"/>
                </a:lnTo>
                <a:lnTo>
                  <a:pt x="14" y="30"/>
                </a:lnTo>
                <a:lnTo>
                  <a:pt x="16" y="26"/>
                </a:lnTo>
                <a:lnTo>
                  <a:pt x="18" y="24"/>
                </a:lnTo>
                <a:lnTo>
                  <a:pt x="20" y="22"/>
                </a:lnTo>
                <a:lnTo>
                  <a:pt x="22" y="22"/>
                </a:lnTo>
                <a:lnTo>
                  <a:pt x="24" y="20"/>
                </a:lnTo>
                <a:lnTo>
                  <a:pt x="26" y="18"/>
                </a:lnTo>
                <a:lnTo>
                  <a:pt x="28" y="16"/>
                </a:lnTo>
                <a:lnTo>
                  <a:pt x="30" y="10"/>
                </a:lnTo>
                <a:lnTo>
                  <a:pt x="30" y="8"/>
                </a:lnTo>
                <a:lnTo>
                  <a:pt x="30" y="4"/>
                </a:lnTo>
                <a:lnTo>
                  <a:pt x="32" y="2"/>
                </a:lnTo>
                <a:lnTo>
                  <a:pt x="34" y="0"/>
                </a:lnTo>
                <a:lnTo>
                  <a:pt x="38" y="0"/>
                </a:lnTo>
                <a:lnTo>
                  <a:pt x="44" y="0"/>
                </a:lnTo>
                <a:lnTo>
                  <a:pt x="50" y="2"/>
                </a:lnTo>
                <a:lnTo>
                  <a:pt x="56" y="6"/>
                </a:lnTo>
                <a:lnTo>
                  <a:pt x="58" y="8"/>
                </a:lnTo>
                <a:lnTo>
                  <a:pt x="62" y="10"/>
                </a:lnTo>
                <a:lnTo>
                  <a:pt x="68" y="12"/>
                </a:lnTo>
                <a:lnTo>
                  <a:pt x="74" y="12"/>
                </a:lnTo>
                <a:lnTo>
                  <a:pt x="80" y="14"/>
                </a:lnTo>
                <a:lnTo>
                  <a:pt x="86" y="14"/>
                </a:lnTo>
                <a:lnTo>
                  <a:pt x="88" y="14"/>
                </a:lnTo>
                <a:lnTo>
                  <a:pt x="90" y="18"/>
                </a:lnTo>
                <a:lnTo>
                  <a:pt x="96" y="20"/>
                </a:lnTo>
                <a:lnTo>
                  <a:pt x="96" y="22"/>
                </a:lnTo>
                <a:lnTo>
                  <a:pt x="100" y="26"/>
                </a:lnTo>
                <a:lnTo>
                  <a:pt x="106" y="32"/>
                </a:lnTo>
                <a:lnTo>
                  <a:pt x="108" y="34"/>
                </a:lnTo>
                <a:lnTo>
                  <a:pt x="116" y="40"/>
                </a:lnTo>
                <a:lnTo>
                  <a:pt x="120" y="42"/>
                </a:lnTo>
                <a:lnTo>
                  <a:pt x="124" y="42"/>
                </a:lnTo>
                <a:lnTo>
                  <a:pt x="136" y="54"/>
                </a:lnTo>
                <a:lnTo>
                  <a:pt x="138" y="56"/>
                </a:lnTo>
                <a:lnTo>
                  <a:pt x="140" y="58"/>
                </a:lnTo>
                <a:lnTo>
                  <a:pt x="140" y="60"/>
                </a:lnTo>
                <a:lnTo>
                  <a:pt x="140" y="62"/>
                </a:lnTo>
                <a:lnTo>
                  <a:pt x="142" y="68"/>
                </a:lnTo>
                <a:lnTo>
                  <a:pt x="142" y="70"/>
                </a:lnTo>
                <a:lnTo>
                  <a:pt x="142" y="72"/>
                </a:lnTo>
                <a:lnTo>
                  <a:pt x="140" y="74"/>
                </a:lnTo>
                <a:lnTo>
                  <a:pt x="138" y="74"/>
                </a:lnTo>
                <a:lnTo>
                  <a:pt x="138" y="76"/>
                </a:lnTo>
                <a:lnTo>
                  <a:pt x="140" y="76"/>
                </a:lnTo>
                <a:lnTo>
                  <a:pt x="142" y="74"/>
                </a:lnTo>
                <a:lnTo>
                  <a:pt x="144" y="72"/>
                </a:lnTo>
                <a:lnTo>
                  <a:pt x="144" y="70"/>
                </a:lnTo>
                <a:lnTo>
                  <a:pt x="144" y="68"/>
                </a:lnTo>
                <a:lnTo>
                  <a:pt x="144" y="66"/>
                </a:lnTo>
                <a:lnTo>
                  <a:pt x="144" y="64"/>
                </a:lnTo>
                <a:lnTo>
                  <a:pt x="144" y="60"/>
                </a:lnTo>
                <a:lnTo>
                  <a:pt x="144" y="58"/>
                </a:lnTo>
                <a:lnTo>
                  <a:pt x="146" y="58"/>
                </a:lnTo>
                <a:lnTo>
                  <a:pt x="150" y="60"/>
                </a:lnTo>
                <a:lnTo>
                  <a:pt x="152" y="64"/>
                </a:lnTo>
                <a:lnTo>
                  <a:pt x="152" y="68"/>
                </a:lnTo>
                <a:lnTo>
                  <a:pt x="154" y="68"/>
                </a:lnTo>
                <a:lnTo>
                  <a:pt x="154" y="70"/>
                </a:lnTo>
                <a:lnTo>
                  <a:pt x="154" y="72"/>
                </a:lnTo>
                <a:lnTo>
                  <a:pt x="154" y="76"/>
                </a:lnTo>
                <a:lnTo>
                  <a:pt x="156" y="78"/>
                </a:lnTo>
                <a:lnTo>
                  <a:pt x="158" y="80"/>
                </a:lnTo>
                <a:lnTo>
                  <a:pt x="158" y="82"/>
                </a:lnTo>
                <a:lnTo>
                  <a:pt x="158" y="84"/>
                </a:lnTo>
                <a:lnTo>
                  <a:pt x="158" y="86"/>
                </a:lnTo>
                <a:lnTo>
                  <a:pt x="158" y="88"/>
                </a:lnTo>
                <a:lnTo>
                  <a:pt x="158" y="90"/>
                </a:lnTo>
                <a:lnTo>
                  <a:pt x="158" y="92"/>
                </a:lnTo>
                <a:lnTo>
                  <a:pt x="156" y="92"/>
                </a:lnTo>
                <a:lnTo>
                  <a:pt x="154" y="94"/>
                </a:lnTo>
                <a:lnTo>
                  <a:pt x="152" y="96"/>
                </a:lnTo>
                <a:lnTo>
                  <a:pt x="152" y="100"/>
                </a:lnTo>
                <a:lnTo>
                  <a:pt x="150" y="102"/>
                </a:lnTo>
                <a:lnTo>
                  <a:pt x="146" y="106"/>
                </a:lnTo>
                <a:lnTo>
                  <a:pt x="144" y="108"/>
                </a:lnTo>
                <a:lnTo>
                  <a:pt x="142" y="110"/>
                </a:lnTo>
                <a:lnTo>
                  <a:pt x="140" y="114"/>
                </a:lnTo>
                <a:lnTo>
                  <a:pt x="140" y="116"/>
                </a:lnTo>
                <a:lnTo>
                  <a:pt x="136" y="126"/>
                </a:lnTo>
                <a:lnTo>
                  <a:pt x="132" y="130"/>
                </a:lnTo>
                <a:lnTo>
                  <a:pt x="128" y="136"/>
                </a:lnTo>
                <a:lnTo>
                  <a:pt x="126" y="136"/>
                </a:lnTo>
                <a:lnTo>
                  <a:pt x="122" y="142"/>
                </a:lnTo>
                <a:lnTo>
                  <a:pt x="122" y="144"/>
                </a:lnTo>
                <a:lnTo>
                  <a:pt x="122" y="146"/>
                </a:lnTo>
                <a:lnTo>
                  <a:pt x="122" y="148"/>
                </a:lnTo>
                <a:lnTo>
                  <a:pt x="120" y="152"/>
                </a:lnTo>
                <a:lnTo>
                  <a:pt x="118" y="154"/>
                </a:lnTo>
                <a:lnTo>
                  <a:pt x="116" y="160"/>
                </a:lnTo>
                <a:lnTo>
                  <a:pt x="114" y="166"/>
                </a:lnTo>
                <a:lnTo>
                  <a:pt x="112" y="170"/>
                </a:lnTo>
                <a:lnTo>
                  <a:pt x="112" y="172"/>
                </a:lnTo>
                <a:lnTo>
                  <a:pt x="112" y="174"/>
                </a:lnTo>
                <a:lnTo>
                  <a:pt x="110" y="176"/>
                </a:lnTo>
                <a:lnTo>
                  <a:pt x="110" y="180"/>
                </a:lnTo>
                <a:lnTo>
                  <a:pt x="104" y="184"/>
                </a:lnTo>
                <a:lnTo>
                  <a:pt x="100" y="188"/>
                </a:lnTo>
                <a:lnTo>
                  <a:pt x="94" y="194"/>
                </a:lnTo>
                <a:lnTo>
                  <a:pt x="92" y="194"/>
                </a:lnTo>
                <a:lnTo>
                  <a:pt x="90" y="196"/>
                </a:lnTo>
                <a:lnTo>
                  <a:pt x="88" y="196"/>
                </a:lnTo>
                <a:lnTo>
                  <a:pt x="84" y="196"/>
                </a:lnTo>
                <a:lnTo>
                  <a:pt x="84" y="194"/>
                </a:lnTo>
                <a:lnTo>
                  <a:pt x="82" y="194"/>
                </a:lnTo>
                <a:lnTo>
                  <a:pt x="80" y="194"/>
                </a:lnTo>
                <a:lnTo>
                  <a:pt x="76" y="194"/>
                </a:lnTo>
                <a:lnTo>
                  <a:pt x="74" y="194"/>
                </a:lnTo>
                <a:lnTo>
                  <a:pt x="76" y="190"/>
                </a:lnTo>
                <a:lnTo>
                  <a:pt x="72" y="188"/>
                </a:lnTo>
                <a:lnTo>
                  <a:pt x="70" y="186"/>
                </a:lnTo>
                <a:lnTo>
                  <a:pt x="68" y="186"/>
                </a:lnTo>
                <a:lnTo>
                  <a:pt x="68" y="188"/>
                </a:lnTo>
                <a:lnTo>
                  <a:pt x="62" y="192"/>
                </a:lnTo>
                <a:lnTo>
                  <a:pt x="58" y="192"/>
                </a:lnTo>
                <a:lnTo>
                  <a:pt x="48" y="188"/>
                </a:lnTo>
                <a:lnTo>
                  <a:pt x="48" y="186"/>
                </a:lnTo>
                <a:lnTo>
                  <a:pt x="46" y="184"/>
                </a:lnTo>
                <a:lnTo>
                  <a:pt x="44" y="186"/>
                </a:lnTo>
                <a:lnTo>
                  <a:pt x="38" y="190"/>
                </a:lnTo>
                <a:lnTo>
                  <a:pt x="38" y="192"/>
                </a:lnTo>
                <a:lnTo>
                  <a:pt x="36" y="194"/>
                </a:lnTo>
                <a:lnTo>
                  <a:pt x="26" y="200"/>
                </a:lnTo>
                <a:lnTo>
                  <a:pt x="16" y="198"/>
                </a:lnTo>
                <a:lnTo>
                  <a:pt x="8" y="194"/>
                </a:lnTo>
                <a:lnTo>
                  <a:pt x="6" y="192"/>
                </a:lnTo>
                <a:lnTo>
                  <a:pt x="4" y="190"/>
                </a:lnTo>
                <a:lnTo>
                  <a:pt x="4" y="188"/>
                </a:lnTo>
                <a:lnTo>
                  <a:pt x="2" y="188"/>
                </a:lnTo>
                <a:lnTo>
                  <a:pt x="0" y="188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5" name="Group 125"/>
          <p:cNvGrpSpPr>
            <a:grpSpLocks/>
          </p:cNvGrpSpPr>
          <p:nvPr/>
        </p:nvGrpSpPr>
        <p:grpSpPr bwMode="auto">
          <a:xfrm>
            <a:off x="2706018" y="2110141"/>
            <a:ext cx="158750" cy="101600"/>
            <a:chOff x="1346" y="980"/>
            <a:chExt cx="132" cy="80"/>
          </a:xfrm>
        </p:grpSpPr>
        <p:sp>
          <p:nvSpPr>
            <p:cNvPr id="17" name="Freeform 126"/>
            <p:cNvSpPr>
              <a:spLocks/>
            </p:cNvSpPr>
            <p:nvPr/>
          </p:nvSpPr>
          <p:spPr bwMode="auto">
            <a:xfrm>
              <a:off x="1350" y="980"/>
              <a:ext cx="42" cy="6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8" y="4"/>
                </a:cxn>
                <a:cxn ang="0">
                  <a:pos x="18" y="6"/>
                </a:cxn>
                <a:cxn ang="0">
                  <a:pos x="20" y="6"/>
                </a:cxn>
                <a:cxn ang="0">
                  <a:pos x="20" y="8"/>
                </a:cxn>
                <a:cxn ang="0">
                  <a:pos x="22" y="10"/>
                </a:cxn>
                <a:cxn ang="0">
                  <a:pos x="22" y="12"/>
                </a:cxn>
                <a:cxn ang="0">
                  <a:pos x="22" y="14"/>
                </a:cxn>
                <a:cxn ang="0">
                  <a:pos x="22" y="18"/>
                </a:cxn>
                <a:cxn ang="0">
                  <a:pos x="22" y="20"/>
                </a:cxn>
                <a:cxn ang="0">
                  <a:pos x="26" y="22"/>
                </a:cxn>
                <a:cxn ang="0">
                  <a:pos x="28" y="24"/>
                </a:cxn>
                <a:cxn ang="0">
                  <a:pos x="30" y="24"/>
                </a:cxn>
                <a:cxn ang="0">
                  <a:pos x="32" y="26"/>
                </a:cxn>
                <a:cxn ang="0">
                  <a:pos x="32" y="28"/>
                </a:cxn>
                <a:cxn ang="0">
                  <a:pos x="34" y="30"/>
                </a:cxn>
                <a:cxn ang="0">
                  <a:pos x="36" y="36"/>
                </a:cxn>
                <a:cxn ang="0">
                  <a:pos x="34" y="36"/>
                </a:cxn>
                <a:cxn ang="0">
                  <a:pos x="38" y="40"/>
                </a:cxn>
                <a:cxn ang="0">
                  <a:pos x="40" y="42"/>
                </a:cxn>
                <a:cxn ang="0">
                  <a:pos x="40" y="44"/>
                </a:cxn>
                <a:cxn ang="0">
                  <a:pos x="42" y="46"/>
                </a:cxn>
                <a:cxn ang="0">
                  <a:pos x="40" y="56"/>
                </a:cxn>
                <a:cxn ang="0">
                  <a:pos x="36" y="58"/>
                </a:cxn>
                <a:cxn ang="0">
                  <a:pos x="24" y="62"/>
                </a:cxn>
                <a:cxn ang="0">
                  <a:pos x="22" y="62"/>
                </a:cxn>
                <a:cxn ang="0">
                  <a:pos x="20" y="62"/>
                </a:cxn>
                <a:cxn ang="0">
                  <a:pos x="16" y="62"/>
                </a:cxn>
                <a:cxn ang="0">
                  <a:pos x="14" y="62"/>
                </a:cxn>
                <a:cxn ang="0">
                  <a:pos x="12" y="62"/>
                </a:cxn>
                <a:cxn ang="0">
                  <a:pos x="10" y="62"/>
                </a:cxn>
                <a:cxn ang="0">
                  <a:pos x="8" y="60"/>
                </a:cxn>
                <a:cxn ang="0">
                  <a:pos x="6" y="58"/>
                </a:cxn>
                <a:cxn ang="0">
                  <a:pos x="6" y="56"/>
                </a:cxn>
                <a:cxn ang="0">
                  <a:pos x="6" y="54"/>
                </a:cxn>
                <a:cxn ang="0">
                  <a:pos x="6" y="52"/>
                </a:cxn>
                <a:cxn ang="0">
                  <a:pos x="8" y="50"/>
                </a:cxn>
                <a:cxn ang="0">
                  <a:pos x="16" y="44"/>
                </a:cxn>
                <a:cxn ang="0">
                  <a:pos x="20" y="42"/>
                </a:cxn>
                <a:cxn ang="0">
                  <a:pos x="22" y="42"/>
                </a:cxn>
                <a:cxn ang="0">
                  <a:pos x="24" y="44"/>
                </a:cxn>
                <a:cxn ang="0">
                  <a:pos x="28" y="38"/>
                </a:cxn>
                <a:cxn ang="0">
                  <a:pos x="26" y="36"/>
                </a:cxn>
                <a:cxn ang="0">
                  <a:pos x="24" y="36"/>
                </a:cxn>
                <a:cxn ang="0">
                  <a:pos x="14" y="22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0" y="12"/>
                </a:cxn>
                <a:cxn ang="0">
                  <a:pos x="10" y="8"/>
                </a:cxn>
                <a:cxn ang="0">
                  <a:pos x="8" y="6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6"/>
                </a:cxn>
              </a:cxnLst>
              <a:rect l="0" t="0" r="r" b="b"/>
              <a:pathLst>
                <a:path w="42" h="62">
                  <a:moveTo>
                    <a:pt x="0" y="6"/>
                  </a:moveTo>
                  <a:lnTo>
                    <a:pt x="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20" y="6"/>
                  </a:lnTo>
                  <a:lnTo>
                    <a:pt x="20" y="8"/>
                  </a:lnTo>
                  <a:lnTo>
                    <a:pt x="22" y="10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2" y="18"/>
                  </a:lnTo>
                  <a:lnTo>
                    <a:pt x="22" y="20"/>
                  </a:lnTo>
                  <a:lnTo>
                    <a:pt x="26" y="22"/>
                  </a:lnTo>
                  <a:lnTo>
                    <a:pt x="28" y="24"/>
                  </a:lnTo>
                  <a:lnTo>
                    <a:pt x="30" y="24"/>
                  </a:lnTo>
                  <a:lnTo>
                    <a:pt x="32" y="26"/>
                  </a:lnTo>
                  <a:lnTo>
                    <a:pt x="32" y="28"/>
                  </a:lnTo>
                  <a:lnTo>
                    <a:pt x="34" y="30"/>
                  </a:lnTo>
                  <a:lnTo>
                    <a:pt x="36" y="36"/>
                  </a:lnTo>
                  <a:lnTo>
                    <a:pt x="34" y="36"/>
                  </a:lnTo>
                  <a:lnTo>
                    <a:pt x="38" y="40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42" y="46"/>
                  </a:lnTo>
                  <a:lnTo>
                    <a:pt x="40" y="56"/>
                  </a:lnTo>
                  <a:lnTo>
                    <a:pt x="36" y="58"/>
                  </a:lnTo>
                  <a:lnTo>
                    <a:pt x="24" y="62"/>
                  </a:lnTo>
                  <a:lnTo>
                    <a:pt x="22" y="62"/>
                  </a:lnTo>
                  <a:lnTo>
                    <a:pt x="20" y="62"/>
                  </a:lnTo>
                  <a:lnTo>
                    <a:pt x="16" y="62"/>
                  </a:lnTo>
                  <a:lnTo>
                    <a:pt x="14" y="62"/>
                  </a:lnTo>
                  <a:lnTo>
                    <a:pt x="12" y="62"/>
                  </a:lnTo>
                  <a:lnTo>
                    <a:pt x="10" y="62"/>
                  </a:lnTo>
                  <a:lnTo>
                    <a:pt x="8" y="60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6" y="52"/>
                  </a:lnTo>
                  <a:lnTo>
                    <a:pt x="8" y="50"/>
                  </a:lnTo>
                  <a:lnTo>
                    <a:pt x="16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4" y="44"/>
                  </a:lnTo>
                  <a:lnTo>
                    <a:pt x="28" y="38"/>
                  </a:lnTo>
                  <a:lnTo>
                    <a:pt x="26" y="36"/>
                  </a:lnTo>
                  <a:lnTo>
                    <a:pt x="24" y="36"/>
                  </a:lnTo>
                  <a:lnTo>
                    <a:pt x="14" y="22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0" y="12"/>
                  </a:lnTo>
                  <a:lnTo>
                    <a:pt x="10" y="8"/>
                  </a:lnTo>
                  <a:lnTo>
                    <a:pt x="8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4E0DD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27"/>
            <p:cNvSpPr>
              <a:spLocks/>
            </p:cNvSpPr>
            <p:nvPr/>
          </p:nvSpPr>
          <p:spPr bwMode="auto">
            <a:xfrm>
              <a:off x="1390" y="994"/>
              <a:ext cx="18" cy="12"/>
            </a:xfrm>
            <a:custGeom>
              <a:avLst/>
              <a:gdLst/>
              <a:ahLst/>
              <a:cxnLst>
                <a:cxn ang="0">
                  <a:pos x="14" y="12"/>
                </a:cxn>
                <a:cxn ang="0">
                  <a:pos x="10" y="10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10" y="2"/>
                </a:cxn>
                <a:cxn ang="0">
                  <a:pos x="12" y="4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18" y="8"/>
                </a:cxn>
                <a:cxn ang="0">
                  <a:pos x="16" y="12"/>
                </a:cxn>
                <a:cxn ang="0">
                  <a:pos x="14" y="12"/>
                </a:cxn>
              </a:cxnLst>
              <a:rect l="0" t="0" r="r" b="b"/>
              <a:pathLst>
                <a:path w="18" h="12">
                  <a:moveTo>
                    <a:pt x="14" y="12"/>
                  </a:moveTo>
                  <a:lnTo>
                    <a:pt x="10" y="10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8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10" y="2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8" y="8"/>
                  </a:lnTo>
                  <a:lnTo>
                    <a:pt x="16" y="12"/>
                  </a:lnTo>
                  <a:lnTo>
                    <a:pt x="14" y="12"/>
                  </a:lnTo>
                  <a:close/>
                </a:path>
              </a:pathLst>
            </a:custGeom>
            <a:solidFill>
              <a:srgbClr val="C4E0DD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8"/>
            <p:cNvSpPr>
              <a:spLocks/>
            </p:cNvSpPr>
            <p:nvPr/>
          </p:nvSpPr>
          <p:spPr bwMode="auto">
            <a:xfrm>
              <a:off x="1346" y="1000"/>
              <a:ext cx="16" cy="14"/>
            </a:xfrm>
            <a:custGeom>
              <a:avLst/>
              <a:gdLst/>
              <a:ahLst/>
              <a:cxnLst>
                <a:cxn ang="0">
                  <a:pos x="10" y="14"/>
                </a:cxn>
                <a:cxn ang="0">
                  <a:pos x="8" y="14"/>
                </a:cxn>
                <a:cxn ang="0">
                  <a:pos x="4" y="10"/>
                </a:cxn>
                <a:cxn ang="0">
                  <a:pos x="2" y="8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6" y="4"/>
                </a:cxn>
                <a:cxn ang="0">
                  <a:pos x="14" y="10"/>
                </a:cxn>
                <a:cxn ang="0">
                  <a:pos x="14" y="12"/>
                </a:cxn>
                <a:cxn ang="0">
                  <a:pos x="10" y="14"/>
                </a:cxn>
              </a:cxnLst>
              <a:rect l="0" t="0" r="r" b="b"/>
              <a:pathLst>
                <a:path w="16" h="14">
                  <a:moveTo>
                    <a:pt x="10" y="14"/>
                  </a:moveTo>
                  <a:lnTo>
                    <a:pt x="8" y="14"/>
                  </a:lnTo>
                  <a:lnTo>
                    <a:pt x="4" y="10"/>
                  </a:lnTo>
                  <a:lnTo>
                    <a:pt x="2" y="8"/>
                  </a:lnTo>
                  <a:lnTo>
                    <a:pt x="0" y="4"/>
                  </a:lnTo>
                  <a:lnTo>
                    <a:pt x="2" y="2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0" y="14"/>
                  </a:lnTo>
                  <a:close/>
                </a:path>
              </a:pathLst>
            </a:custGeom>
            <a:solidFill>
              <a:srgbClr val="C4E0DD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29"/>
            <p:cNvSpPr>
              <a:spLocks/>
            </p:cNvSpPr>
            <p:nvPr/>
          </p:nvSpPr>
          <p:spPr bwMode="auto">
            <a:xfrm>
              <a:off x="1408" y="1014"/>
              <a:ext cx="18" cy="14"/>
            </a:xfrm>
            <a:custGeom>
              <a:avLst/>
              <a:gdLst/>
              <a:ahLst/>
              <a:cxnLst>
                <a:cxn ang="0">
                  <a:pos x="10" y="14"/>
                </a:cxn>
                <a:cxn ang="0">
                  <a:pos x="6" y="14"/>
                </a:cxn>
                <a:cxn ang="0">
                  <a:pos x="0" y="10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10" y="0"/>
                </a:cxn>
                <a:cxn ang="0">
                  <a:pos x="14" y="0"/>
                </a:cxn>
                <a:cxn ang="0">
                  <a:pos x="18" y="2"/>
                </a:cxn>
                <a:cxn ang="0">
                  <a:pos x="18" y="4"/>
                </a:cxn>
                <a:cxn ang="0">
                  <a:pos x="18" y="8"/>
                </a:cxn>
                <a:cxn ang="0">
                  <a:pos x="18" y="10"/>
                </a:cxn>
                <a:cxn ang="0">
                  <a:pos x="16" y="14"/>
                </a:cxn>
                <a:cxn ang="0">
                  <a:pos x="10" y="14"/>
                </a:cxn>
              </a:cxnLst>
              <a:rect l="0" t="0" r="r" b="b"/>
              <a:pathLst>
                <a:path w="18" h="14">
                  <a:moveTo>
                    <a:pt x="10" y="14"/>
                  </a:moveTo>
                  <a:lnTo>
                    <a:pt x="6" y="14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16" y="14"/>
                  </a:lnTo>
                  <a:lnTo>
                    <a:pt x="10" y="14"/>
                  </a:lnTo>
                  <a:close/>
                </a:path>
              </a:pathLst>
            </a:custGeom>
            <a:solidFill>
              <a:srgbClr val="C4E0DD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30"/>
            <p:cNvSpPr>
              <a:spLocks/>
            </p:cNvSpPr>
            <p:nvPr/>
          </p:nvSpPr>
          <p:spPr bwMode="auto">
            <a:xfrm>
              <a:off x="1456" y="1024"/>
              <a:ext cx="22" cy="14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0" y="14"/>
                </a:cxn>
                <a:cxn ang="0">
                  <a:pos x="2" y="12"/>
                </a:cxn>
                <a:cxn ang="0">
                  <a:pos x="4" y="10"/>
                </a:cxn>
                <a:cxn ang="0">
                  <a:pos x="6" y="10"/>
                </a:cxn>
                <a:cxn ang="0">
                  <a:pos x="6" y="8"/>
                </a:cxn>
                <a:cxn ang="0">
                  <a:pos x="8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22" y="0"/>
                </a:cxn>
                <a:cxn ang="0">
                  <a:pos x="20" y="2"/>
                </a:cxn>
                <a:cxn ang="0">
                  <a:pos x="20" y="4"/>
                </a:cxn>
                <a:cxn ang="0">
                  <a:pos x="18" y="6"/>
                </a:cxn>
                <a:cxn ang="0">
                  <a:pos x="12" y="12"/>
                </a:cxn>
                <a:cxn ang="0">
                  <a:pos x="10" y="14"/>
                </a:cxn>
                <a:cxn ang="0">
                  <a:pos x="6" y="14"/>
                </a:cxn>
              </a:cxnLst>
              <a:rect l="0" t="0" r="r" b="b"/>
              <a:pathLst>
                <a:path w="22" h="14">
                  <a:moveTo>
                    <a:pt x="6" y="14"/>
                  </a:moveTo>
                  <a:lnTo>
                    <a:pt x="0" y="14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8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4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10" y="14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rgbClr val="C4E0DD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31"/>
            <p:cNvSpPr>
              <a:spLocks/>
            </p:cNvSpPr>
            <p:nvPr/>
          </p:nvSpPr>
          <p:spPr bwMode="auto">
            <a:xfrm>
              <a:off x="1408" y="1054"/>
              <a:ext cx="8" cy="6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6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6" y="6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C4E0DD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6" name="Group 132"/>
          <p:cNvGrpSpPr>
            <a:grpSpLocks/>
          </p:cNvGrpSpPr>
          <p:nvPr/>
        </p:nvGrpSpPr>
        <p:grpSpPr bwMode="auto">
          <a:xfrm>
            <a:off x="3143877" y="2018067"/>
            <a:ext cx="376238" cy="447675"/>
            <a:chOff x="1924" y="908"/>
            <a:chExt cx="312" cy="35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24" name="Freeform 133"/>
            <p:cNvSpPr>
              <a:spLocks/>
            </p:cNvSpPr>
            <p:nvPr/>
          </p:nvSpPr>
          <p:spPr bwMode="auto">
            <a:xfrm>
              <a:off x="1924" y="908"/>
              <a:ext cx="312" cy="350"/>
            </a:xfrm>
            <a:custGeom>
              <a:avLst/>
              <a:gdLst/>
              <a:ahLst/>
              <a:cxnLst>
                <a:cxn ang="0">
                  <a:pos x="114" y="334"/>
                </a:cxn>
                <a:cxn ang="0">
                  <a:pos x="100" y="348"/>
                </a:cxn>
                <a:cxn ang="0">
                  <a:pos x="80" y="330"/>
                </a:cxn>
                <a:cxn ang="0">
                  <a:pos x="66" y="322"/>
                </a:cxn>
                <a:cxn ang="0">
                  <a:pos x="44" y="314"/>
                </a:cxn>
                <a:cxn ang="0">
                  <a:pos x="28" y="318"/>
                </a:cxn>
                <a:cxn ang="0">
                  <a:pos x="30" y="308"/>
                </a:cxn>
                <a:cxn ang="0">
                  <a:pos x="34" y="294"/>
                </a:cxn>
                <a:cxn ang="0">
                  <a:pos x="42" y="274"/>
                </a:cxn>
                <a:cxn ang="0">
                  <a:pos x="46" y="260"/>
                </a:cxn>
                <a:cxn ang="0">
                  <a:pos x="60" y="242"/>
                </a:cxn>
                <a:cxn ang="0">
                  <a:pos x="68" y="212"/>
                </a:cxn>
                <a:cxn ang="0">
                  <a:pos x="66" y="188"/>
                </a:cxn>
                <a:cxn ang="0">
                  <a:pos x="60" y="200"/>
                </a:cxn>
                <a:cxn ang="0">
                  <a:pos x="58" y="218"/>
                </a:cxn>
                <a:cxn ang="0">
                  <a:pos x="56" y="204"/>
                </a:cxn>
                <a:cxn ang="0">
                  <a:pos x="40" y="226"/>
                </a:cxn>
                <a:cxn ang="0">
                  <a:pos x="12" y="206"/>
                </a:cxn>
                <a:cxn ang="0">
                  <a:pos x="12" y="194"/>
                </a:cxn>
                <a:cxn ang="0">
                  <a:pos x="10" y="168"/>
                </a:cxn>
                <a:cxn ang="0">
                  <a:pos x="14" y="150"/>
                </a:cxn>
                <a:cxn ang="0">
                  <a:pos x="14" y="128"/>
                </a:cxn>
                <a:cxn ang="0">
                  <a:pos x="26" y="114"/>
                </a:cxn>
                <a:cxn ang="0">
                  <a:pos x="36" y="112"/>
                </a:cxn>
                <a:cxn ang="0">
                  <a:pos x="36" y="88"/>
                </a:cxn>
                <a:cxn ang="0">
                  <a:pos x="52" y="70"/>
                </a:cxn>
                <a:cxn ang="0">
                  <a:pos x="52" y="56"/>
                </a:cxn>
                <a:cxn ang="0">
                  <a:pos x="50" y="42"/>
                </a:cxn>
                <a:cxn ang="0">
                  <a:pos x="62" y="30"/>
                </a:cxn>
                <a:cxn ang="0">
                  <a:pos x="76" y="24"/>
                </a:cxn>
                <a:cxn ang="0">
                  <a:pos x="98" y="20"/>
                </a:cxn>
                <a:cxn ang="0">
                  <a:pos x="114" y="6"/>
                </a:cxn>
                <a:cxn ang="0">
                  <a:pos x="132" y="12"/>
                </a:cxn>
                <a:cxn ang="0">
                  <a:pos x="150" y="22"/>
                </a:cxn>
                <a:cxn ang="0">
                  <a:pos x="168" y="34"/>
                </a:cxn>
                <a:cxn ang="0">
                  <a:pos x="180" y="36"/>
                </a:cxn>
                <a:cxn ang="0">
                  <a:pos x="192" y="42"/>
                </a:cxn>
                <a:cxn ang="0">
                  <a:pos x="204" y="60"/>
                </a:cxn>
                <a:cxn ang="0">
                  <a:pos x="232" y="64"/>
                </a:cxn>
                <a:cxn ang="0">
                  <a:pos x="248" y="56"/>
                </a:cxn>
                <a:cxn ang="0">
                  <a:pos x="284" y="76"/>
                </a:cxn>
                <a:cxn ang="0">
                  <a:pos x="306" y="82"/>
                </a:cxn>
                <a:cxn ang="0">
                  <a:pos x="298" y="86"/>
                </a:cxn>
                <a:cxn ang="0">
                  <a:pos x="300" y="96"/>
                </a:cxn>
                <a:cxn ang="0">
                  <a:pos x="312" y="112"/>
                </a:cxn>
                <a:cxn ang="0">
                  <a:pos x="306" y="130"/>
                </a:cxn>
                <a:cxn ang="0">
                  <a:pos x="294" y="160"/>
                </a:cxn>
                <a:cxn ang="0">
                  <a:pos x="248" y="206"/>
                </a:cxn>
                <a:cxn ang="0">
                  <a:pos x="172" y="240"/>
                </a:cxn>
                <a:cxn ang="0">
                  <a:pos x="152" y="258"/>
                </a:cxn>
                <a:cxn ang="0">
                  <a:pos x="148" y="264"/>
                </a:cxn>
                <a:cxn ang="0">
                  <a:pos x="142" y="270"/>
                </a:cxn>
                <a:cxn ang="0">
                  <a:pos x="138" y="286"/>
                </a:cxn>
                <a:cxn ang="0">
                  <a:pos x="128" y="310"/>
                </a:cxn>
                <a:cxn ang="0">
                  <a:pos x="128" y="326"/>
                </a:cxn>
              </a:cxnLst>
              <a:rect l="0" t="0" r="r" b="b"/>
              <a:pathLst>
                <a:path w="312" h="350">
                  <a:moveTo>
                    <a:pt x="124" y="326"/>
                  </a:moveTo>
                  <a:lnTo>
                    <a:pt x="124" y="328"/>
                  </a:lnTo>
                  <a:lnTo>
                    <a:pt x="122" y="328"/>
                  </a:lnTo>
                  <a:lnTo>
                    <a:pt x="120" y="328"/>
                  </a:lnTo>
                  <a:lnTo>
                    <a:pt x="118" y="330"/>
                  </a:lnTo>
                  <a:lnTo>
                    <a:pt x="116" y="332"/>
                  </a:lnTo>
                  <a:lnTo>
                    <a:pt x="114" y="334"/>
                  </a:lnTo>
                  <a:lnTo>
                    <a:pt x="114" y="338"/>
                  </a:lnTo>
                  <a:lnTo>
                    <a:pt x="112" y="342"/>
                  </a:lnTo>
                  <a:lnTo>
                    <a:pt x="108" y="348"/>
                  </a:lnTo>
                  <a:lnTo>
                    <a:pt x="108" y="350"/>
                  </a:lnTo>
                  <a:lnTo>
                    <a:pt x="106" y="350"/>
                  </a:lnTo>
                  <a:lnTo>
                    <a:pt x="104" y="348"/>
                  </a:lnTo>
                  <a:lnTo>
                    <a:pt x="100" y="348"/>
                  </a:lnTo>
                  <a:lnTo>
                    <a:pt x="98" y="348"/>
                  </a:lnTo>
                  <a:lnTo>
                    <a:pt x="96" y="348"/>
                  </a:lnTo>
                  <a:lnTo>
                    <a:pt x="94" y="348"/>
                  </a:lnTo>
                  <a:lnTo>
                    <a:pt x="90" y="344"/>
                  </a:lnTo>
                  <a:lnTo>
                    <a:pt x="86" y="338"/>
                  </a:lnTo>
                  <a:lnTo>
                    <a:pt x="84" y="336"/>
                  </a:lnTo>
                  <a:lnTo>
                    <a:pt x="80" y="330"/>
                  </a:lnTo>
                  <a:lnTo>
                    <a:pt x="80" y="326"/>
                  </a:lnTo>
                  <a:lnTo>
                    <a:pt x="80" y="324"/>
                  </a:lnTo>
                  <a:lnTo>
                    <a:pt x="74" y="320"/>
                  </a:lnTo>
                  <a:lnTo>
                    <a:pt x="74" y="318"/>
                  </a:lnTo>
                  <a:lnTo>
                    <a:pt x="72" y="318"/>
                  </a:lnTo>
                  <a:lnTo>
                    <a:pt x="72" y="320"/>
                  </a:lnTo>
                  <a:lnTo>
                    <a:pt x="66" y="322"/>
                  </a:lnTo>
                  <a:lnTo>
                    <a:pt x="64" y="320"/>
                  </a:lnTo>
                  <a:lnTo>
                    <a:pt x="54" y="314"/>
                  </a:lnTo>
                  <a:lnTo>
                    <a:pt x="52" y="312"/>
                  </a:lnTo>
                  <a:lnTo>
                    <a:pt x="50" y="312"/>
                  </a:lnTo>
                  <a:lnTo>
                    <a:pt x="48" y="310"/>
                  </a:lnTo>
                  <a:lnTo>
                    <a:pt x="46" y="312"/>
                  </a:lnTo>
                  <a:lnTo>
                    <a:pt x="44" y="314"/>
                  </a:lnTo>
                  <a:lnTo>
                    <a:pt x="42" y="314"/>
                  </a:lnTo>
                  <a:lnTo>
                    <a:pt x="40" y="316"/>
                  </a:lnTo>
                  <a:lnTo>
                    <a:pt x="36" y="320"/>
                  </a:lnTo>
                  <a:lnTo>
                    <a:pt x="34" y="322"/>
                  </a:lnTo>
                  <a:lnTo>
                    <a:pt x="32" y="320"/>
                  </a:lnTo>
                  <a:lnTo>
                    <a:pt x="30" y="318"/>
                  </a:lnTo>
                  <a:lnTo>
                    <a:pt x="28" y="318"/>
                  </a:lnTo>
                  <a:lnTo>
                    <a:pt x="28" y="316"/>
                  </a:lnTo>
                  <a:lnTo>
                    <a:pt x="32" y="312"/>
                  </a:lnTo>
                  <a:lnTo>
                    <a:pt x="34" y="310"/>
                  </a:lnTo>
                  <a:lnTo>
                    <a:pt x="36" y="306"/>
                  </a:lnTo>
                  <a:lnTo>
                    <a:pt x="34" y="306"/>
                  </a:lnTo>
                  <a:lnTo>
                    <a:pt x="32" y="306"/>
                  </a:lnTo>
                  <a:lnTo>
                    <a:pt x="30" y="308"/>
                  </a:lnTo>
                  <a:lnTo>
                    <a:pt x="30" y="306"/>
                  </a:lnTo>
                  <a:lnTo>
                    <a:pt x="28" y="304"/>
                  </a:lnTo>
                  <a:lnTo>
                    <a:pt x="28" y="302"/>
                  </a:lnTo>
                  <a:lnTo>
                    <a:pt x="28" y="298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4"/>
                  </a:lnTo>
                  <a:lnTo>
                    <a:pt x="36" y="296"/>
                  </a:lnTo>
                  <a:lnTo>
                    <a:pt x="38" y="296"/>
                  </a:lnTo>
                  <a:lnTo>
                    <a:pt x="46" y="290"/>
                  </a:lnTo>
                  <a:lnTo>
                    <a:pt x="46" y="288"/>
                  </a:lnTo>
                  <a:lnTo>
                    <a:pt x="44" y="280"/>
                  </a:lnTo>
                  <a:lnTo>
                    <a:pt x="44" y="276"/>
                  </a:lnTo>
                  <a:lnTo>
                    <a:pt x="42" y="274"/>
                  </a:lnTo>
                  <a:lnTo>
                    <a:pt x="42" y="268"/>
                  </a:lnTo>
                  <a:lnTo>
                    <a:pt x="40" y="264"/>
                  </a:lnTo>
                  <a:lnTo>
                    <a:pt x="36" y="262"/>
                  </a:lnTo>
                  <a:lnTo>
                    <a:pt x="36" y="260"/>
                  </a:lnTo>
                  <a:lnTo>
                    <a:pt x="38" y="260"/>
                  </a:lnTo>
                  <a:lnTo>
                    <a:pt x="40" y="260"/>
                  </a:lnTo>
                  <a:lnTo>
                    <a:pt x="46" y="260"/>
                  </a:lnTo>
                  <a:lnTo>
                    <a:pt x="54" y="256"/>
                  </a:lnTo>
                  <a:lnTo>
                    <a:pt x="56" y="252"/>
                  </a:lnTo>
                  <a:lnTo>
                    <a:pt x="58" y="250"/>
                  </a:lnTo>
                  <a:lnTo>
                    <a:pt x="58" y="248"/>
                  </a:lnTo>
                  <a:lnTo>
                    <a:pt x="58" y="246"/>
                  </a:lnTo>
                  <a:lnTo>
                    <a:pt x="60" y="244"/>
                  </a:lnTo>
                  <a:lnTo>
                    <a:pt x="60" y="242"/>
                  </a:lnTo>
                  <a:lnTo>
                    <a:pt x="62" y="236"/>
                  </a:lnTo>
                  <a:lnTo>
                    <a:pt x="64" y="230"/>
                  </a:lnTo>
                  <a:lnTo>
                    <a:pt x="66" y="222"/>
                  </a:lnTo>
                  <a:lnTo>
                    <a:pt x="68" y="220"/>
                  </a:lnTo>
                  <a:lnTo>
                    <a:pt x="70" y="220"/>
                  </a:lnTo>
                  <a:lnTo>
                    <a:pt x="70" y="216"/>
                  </a:lnTo>
                  <a:lnTo>
                    <a:pt x="68" y="212"/>
                  </a:lnTo>
                  <a:lnTo>
                    <a:pt x="66" y="214"/>
                  </a:lnTo>
                  <a:lnTo>
                    <a:pt x="66" y="212"/>
                  </a:lnTo>
                  <a:lnTo>
                    <a:pt x="62" y="206"/>
                  </a:lnTo>
                  <a:lnTo>
                    <a:pt x="64" y="204"/>
                  </a:lnTo>
                  <a:lnTo>
                    <a:pt x="62" y="198"/>
                  </a:lnTo>
                  <a:lnTo>
                    <a:pt x="64" y="190"/>
                  </a:lnTo>
                  <a:lnTo>
                    <a:pt x="66" y="188"/>
                  </a:lnTo>
                  <a:lnTo>
                    <a:pt x="68" y="186"/>
                  </a:lnTo>
                  <a:lnTo>
                    <a:pt x="64" y="188"/>
                  </a:lnTo>
                  <a:lnTo>
                    <a:pt x="60" y="192"/>
                  </a:lnTo>
                  <a:lnTo>
                    <a:pt x="60" y="194"/>
                  </a:lnTo>
                  <a:lnTo>
                    <a:pt x="60" y="196"/>
                  </a:lnTo>
                  <a:lnTo>
                    <a:pt x="60" y="198"/>
                  </a:lnTo>
                  <a:lnTo>
                    <a:pt x="60" y="200"/>
                  </a:lnTo>
                  <a:lnTo>
                    <a:pt x="62" y="200"/>
                  </a:lnTo>
                  <a:lnTo>
                    <a:pt x="62" y="202"/>
                  </a:lnTo>
                  <a:lnTo>
                    <a:pt x="62" y="208"/>
                  </a:lnTo>
                  <a:lnTo>
                    <a:pt x="62" y="210"/>
                  </a:lnTo>
                  <a:lnTo>
                    <a:pt x="60" y="216"/>
                  </a:lnTo>
                  <a:lnTo>
                    <a:pt x="60" y="218"/>
                  </a:lnTo>
                  <a:lnTo>
                    <a:pt x="58" y="218"/>
                  </a:lnTo>
                  <a:lnTo>
                    <a:pt x="56" y="220"/>
                  </a:lnTo>
                  <a:lnTo>
                    <a:pt x="54" y="220"/>
                  </a:lnTo>
                  <a:lnTo>
                    <a:pt x="52" y="218"/>
                  </a:lnTo>
                  <a:lnTo>
                    <a:pt x="54" y="210"/>
                  </a:lnTo>
                  <a:lnTo>
                    <a:pt x="54" y="206"/>
                  </a:lnTo>
                  <a:lnTo>
                    <a:pt x="56" y="206"/>
                  </a:lnTo>
                  <a:lnTo>
                    <a:pt x="56" y="204"/>
                  </a:lnTo>
                  <a:lnTo>
                    <a:pt x="54" y="204"/>
                  </a:lnTo>
                  <a:lnTo>
                    <a:pt x="52" y="208"/>
                  </a:lnTo>
                  <a:lnTo>
                    <a:pt x="50" y="212"/>
                  </a:lnTo>
                  <a:lnTo>
                    <a:pt x="48" y="214"/>
                  </a:lnTo>
                  <a:lnTo>
                    <a:pt x="44" y="218"/>
                  </a:lnTo>
                  <a:lnTo>
                    <a:pt x="42" y="220"/>
                  </a:lnTo>
                  <a:lnTo>
                    <a:pt x="40" y="226"/>
                  </a:lnTo>
                  <a:lnTo>
                    <a:pt x="38" y="226"/>
                  </a:lnTo>
                  <a:lnTo>
                    <a:pt x="30" y="222"/>
                  </a:lnTo>
                  <a:lnTo>
                    <a:pt x="24" y="214"/>
                  </a:lnTo>
                  <a:lnTo>
                    <a:pt x="20" y="210"/>
                  </a:lnTo>
                  <a:lnTo>
                    <a:pt x="18" y="208"/>
                  </a:lnTo>
                  <a:lnTo>
                    <a:pt x="14" y="206"/>
                  </a:lnTo>
                  <a:lnTo>
                    <a:pt x="12" y="206"/>
                  </a:lnTo>
                  <a:lnTo>
                    <a:pt x="10" y="206"/>
                  </a:lnTo>
                  <a:lnTo>
                    <a:pt x="6" y="204"/>
                  </a:lnTo>
                  <a:lnTo>
                    <a:pt x="2" y="198"/>
                  </a:lnTo>
                  <a:lnTo>
                    <a:pt x="0" y="196"/>
                  </a:lnTo>
                  <a:lnTo>
                    <a:pt x="4" y="198"/>
                  </a:lnTo>
                  <a:lnTo>
                    <a:pt x="8" y="196"/>
                  </a:lnTo>
                  <a:lnTo>
                    <a:pt x="12" y="194"/>
                  </a:lnTo>
                  <a:lnTo>
                    <a:pt x="12" y="192"/>
                  </a:lnTo>
                  <a:lnTo>
                    <a:pt x="14" y="190"/>
                  </a:lnTo>
                  <a:lnTo>
                    <a:pt x="14" y="184"/>
                  </a:lnTo>
                  <a:lnTo>
                    <a:pt x="14" y="182"/>
                  </a:lnTo>
                  <a:lnTo>
                    <a:pt x="12" y="174"/>
                  </a:lnTo>
                  <a:lnTo>
                    <a:pt x="12" y="172"/>
                  </a:lnTo>
                  <a:lnTo>
                    <a:pt x="10" y="168"/>
                  </a:lnTo>
                  <a:lnTo>
                    <a:pt x="8" y="166"/>
                  </a:lnTo>
                  <a:lnTo>
                    <a:pt x="8" y="164"/>
                  </a:lnTo>
                  <a:lnTo>
                    <a:pt x="8" y="162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12" y="158"/>
                  </a:lnTo>
                  <a:lnTo>
                    <a:pt x="14" y="150"/>
                  </a:lnTo>
                  <a:lnTo>
                    <a:pt x="10" y="146"/>
                  </a:lnTo>
                  <a:lnTo>
                    <a:pt x="8" y="142"/>
                  </a:lnTo>
                  <a:lnTo>
                    <a:pt x="6" y="140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8" y="128"/>
                  </a:lnTo>
                  <a:lnTo>
                    <a:pt x="14" y="128"/>
                  </a:lnTo>
                  <a:lnTo>
                    <a:pt x="16" y="128"/>
                  </a:lnTo>
                  <a:lnTo>
                    <a:pt x="20" y="128"/>
                  </a:lnTo>
                  <a:lnTo>
                    <a:pt x="22" y="128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6" y="118"/>
                  </a:lnTo>
                  <a:lnTo>
                    <a:pt x="26" y="114"/>
                  </a:lnTo>
                  <a:lnTo>
                    <a:pt x="30" y="110"/>
                  </a:lnTo>
                  <a:lnTo>
                    <a:pt x="32" y="110"/>
                  </a:lnTo>
                  <a:lnTo>
                    <a:pt x="32" y="112"/>
                  </a:lnTo>
                  <a:lnTo>
                    <a:pt x="34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36" y="112"/>
                  </a:lnTo>
                  <a:lnTo>
                    <a:pt x="34" y="112"/>
                  </a:lnTo>
                  <a:lnTo>
                    <a:pt x="32" y="110"/>
                  </a:lnTo>
                  <a:lnTo>
                    <a:pt x="32" y="108"/>
                  </a:lnTo>
                  <a:lnTo>
                    <a:pt x="28" y="100"/>
                  </a:lnTo>
                  <a:lnTo>
                    <a:pt x="26" y="98"/>
                  </a:lnTo>
                  <a:lnTo>
                    <a:pt x="34" y="90"/>
                  </a:lnTo>
                  <a:lnTo>
                    <a:pt x="36" y="88"/>
                  </a:lnTo>
                  <a:lnTo>
                    <a:pt x="38" y="86"/>
                  </a:lnTo>
                  <a:lnTo>
                    <a:pt x="40" y="86"/>
                  </a:lnTo>
                  <a:lnTo>
                    <a:pt x="46" y="80"/>
                  </a:lnTo>
                  <a:lnTo>
                    <a:pt x="48" y="78"/>
                  </a:lnTo>
                  <a:lnTo>
                    <a:pt x="50" y="76"/>
                  </a:lnTo>
                  <a:lnTo>
                    <a:pt x="52" y="72"/>
                  </a:lnTo>
                  <a:lnTo>
                    <a:pt x="52" y="70"/>
                  </a:lnTo>
                  <a:lnTo>
                    <a:pt x="52" y="66"/>
                  </a:lnTo>
                  <a:lnTo>
                    <a:pt x="52" y="64"/>
                  </a:lnTo>
                  <a:lnTo>
                    <a:pt x="52" y="62"/>
                  </a:lnTo>
                  <a:lnTo>
                    <a:pt x="52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4" y="46"/>
                  </a:lnTo>
                  <a:lnTo>
                    <a:pt x="52" y="44"/>
                  </a:lnTo>
                  <a:lnTo>
                    <a:pt x="50" y="42"/>
                  </a:lnTo>
                  <a:lnTo>
                    <a:pt x="48" y="40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4"/>
                  </a:lnTo>
                  <a:lnTo>
                    <a:pt x="62" y="30"/>
                  </a:lnTo>
                  <a:lnTo>
                    <a:pt x="64" y="30"/>
                  </a:lnTo>
                  <a:lnTo>
                    <a:pt x="64" y="28"/>
                  </a:lnTo>
                  <a:lnTo>
                    <a:pt x="66" y="26"/>
                  </a:lnTo>
                  <a:lnTo>
                    <a:pt x="68" y="26"/>
                  </a:lnTo>
                  <a:lnTo>
                    <a:pt x="72" y="24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78" y="24"/>
                  </a:lnTo>
                  <a:lnTo>
                    <a:pt x="82" y="22"/>
                  </a:lnTo>
                  <a:lnTo>
                    <a:pt x="84" y="20"/>
                  </a:lnTo>
                  <a:lnTo>
                    <a:pt x="92" y="20"/>
                  </a:lnTo>
                  <a:lnTo>
                    <a:pt x="94" y="20"/>
                  </a:lnTo>
                  <a:lnTo>
                    <a:pt x="96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2" y="16"/>
                  </a:lnTo>
                  <a:lnTo>
                    <a:pt x="104" y="14"/>
                  </a:lnTo>
                  <a:lnTo>
                    <a:pt x="108" y="14"/>
                  </a:lnTo>
                  <a:lnTo>
                    <a:pt x="112" y="12"/>
                  </a:lnTo>
                  <a:lnTo>
                    <a:pt x="114" y="10"/>
                  </a:lnTo>
                  <a:lnTo>
                    <a:pt x="114" y="6"/>
                  </a:lnTo>
                  <a:lnTo>
                    <a:pt x="118" y="0"/>
                  </a:lnTo>
                  <a:lnTo>
                    <a:pt x="126" y="8"/>
                  </a:lnTo>
                  <a:lnTo>
                    <a:pt x="128" y="8"/>
                  </a:lnTo>
                  <a:lnTo>
                    <a:pt x="128" y="10"/>
                  </a:lnTo>
                  <a:lnTo>
                    <a:pt x="130" y="10"/>
                  </a:lnTo>
                  <a:lnTo>
                    <a:pt x="132" y="14"/>
                  </a:lnTo>
                  <a:lnTo>
                    <a:pt x="132" y="12"/>
                  </a:lnTo>
                  <a:lnTo>
                    <a:pt x="138" y="14"/>
                  </a:lnTo>
                  <a:lnTo>
                    <a:pt x="138" y="16"/>
                  </a:lnTo>
                  <a:lnTo>
                    <a:pt x="144" y="20"/>
                  </a:lnTo>
                  <a:lnTo>
                    <a:pt x="146" y="20"/>
                  </a:lnTo>
                  <a:lnTo>
                    <a:pt x="146" y="22"/>
                  </a:lnTo>
                  <a:lnTo>
                    <a:pt x="148" y="22"/>
                  </a:lnTo>
                  <a:lnTo>
                    <a:pt x="150" y="22"/>
                  </a:lnTo>
                  <a:lnTo>
                    <a:pt x="152" y="26"/>
                  </a:lnTo>
                  <a:lnTo>
                    <a:pt x="156" y="28"/>
                  </a:lnTo>
                  <a:lnTo>
                    <a:pt x="158" y="28"/>
                  </a:lnTo>
                  <a:lnTo>
                    <a:pt x="160" y="30"/>
                  </a:lnTo>
                  <a:lnTo>
                    <a:pt x="162" y="28"/>
                  </a:lnTo>
                  <a:lnTo>
                    <a:pt x="166" y="30"/>
                  </a:lnTo>
                  <a:lnTo>
                    <a:pt x="168" y="34"/>
                  </a:lnTo>
                  <a:lnTo>
                    <a:pt x="170" y="34"/>
                  </a:lnTo>
                  <a:lnTo>
                    <a:pt x="172" y="34"/>
                  </a:lnTo>
                  <a:lnTo>
                    <a:pt x="174" y="34"/>
                  </a:lnTo>
                  <a:lnTo>
                    <a:pt x="178" y="32"/>
                  </a:lnTo>
                  <a:lnTo>
                    <a:pt x="180" y="32"/>
                  </a:lnTo>
                  <a:lnTo>
                    <a:pt x="182" y="34"/>
                  </a:lnTo>
                  <a:lnTo>
                    <a:pt x="180" y="36"/>
                  </a:lnTo>
                  <a:lnTo>
                    <a:pt x="182" y="38"/>
                  </a:lnTo>
                  <a:lnTo>
                    <a:pt x="184" y="38"/>
                  </a:lnTo>
                  <a:lnTo>
                    <a:pt x="184" y="40"/>
                  </a:lnTo>
                  <a:lnTo>
                    <a:pt x="186" y="42"/>
                  </a:lnTo>
                  <a:lnTo>
                    <a:pt x="188" y="42"/>
                  </a:lnTo>
                  <a:lnTo>
                    <a:pt x="190" y="42"/>
                  </a:lnTo>
                  <a:lnTo>
                    <a:pt x="192" y="42"/>
                  </a:lnTo>
                  <a:lnTo>
                    <a:pt x="192" y="44"/>
                  </a:lnTo>
                  <a:lnTo>
                    <a:pt x="192" y="46"/>
                  </a:lnTo>
                  <a:lnTo>
                    <a:pt x="192" y="48"/>
                  </a:lnTo>
                  <a:lnTo>
                    <a:pt x="194" y="56"/>
                  </a:lnTo>
                  <a:lnTo>
                    <a:pt x="196" y="56"/>
                  </a:lnTo>
                  <a:lnTo>
                    <a:pt x="200" y="58"/>
                  </a:lnTo>
                  <a:lnTo>
                    <a:pt x="204" y="60"/>
                  </a:lnTo>
                  <a:lnTo>
                    <a:pt x="206" y="60"/>
                  </a:lnTo>
                  <a:lnTo>
                    <a:pt x="212" y="58"/>
                  </a:lnTo>
                  <a:lnTo>
                    <a:pt x="214" y="62"/>
                  </a:lnTo>
                  <a:lnTo>
                    <a:pt x="224" y="64"/>
                  </a:lnTo>
                  <a:lnTo>
                    <a:pt x="226" y="64"/>
                  </a:lnTo>
                  <a:lnTo>
                    <a:pt x="228" y="64"/>
                  </a:lnTo>
                  <a:lnTo>
                    <a:pt x="232" y="64"/>
                  </a:lnTo>
                  <a:lnTo>
                    <a:pt x="232" y="62"/>
                  </a:lnTo>
                  <a:lnTo>
                    <a:pt x="238" y="64"/>
                  </a:lnTo>
                  <a:lnTo>
                    <a:pt x="238" y="66"/>
                  </a:lnTo>
                  <a:lnTo>
                    <a:pt x="240" y="66"/>
                  </a:lnTo>
                  <a:lnTo>
                    <a:pt x="246" y="64"/>
                  </a:lnTo>
                  <a:lnTo>
                    <a:pt x="248" y="64"/>
                  </a:lnTo>
                  <a:lnTo>
                    <a:pt x="248" y="56"/>
                  </a:lnTo>
                  <a:lnTo>
                    <a:pt x="256" y="56"/>
                  </a:lnTo>
                  <a:lnTo>
                    <a:pt x="262" y="58"/>
                  </a:lnTo>
                  <a:lnTo>
                    <a:pt x="268" y="60"/>
                  </a:lnTo>
                  <a:lnTo>
                    <a:pt x="270" y="60"/>
                  </a:lnTo>
                  <a:lnTo>
                    <a:pt x="272" y="64"/>
                  </a:lnTo>
                  <a:lnTo>
                    <a:pt x="276" y="70"/>
                  </a:lnTo>
                  <a:lnTo>
                    <a:pt x="284" y="76"/>
                  </a:lnTo>
                  <a:lnTo>
                    <a:pt x="286" y="76"/>
                  </a:lnTo>
                  <a:lnTo>
                    <a:pt x="288" y="76"/>
                  </a:lnTo>
                  <a:lnTo>
                    <a:pt x="294" y="76"/>
                  </a:lnTo>
                  <a:lnTo>
                    <a:pt x="296" y="78"/>
                  </a:lnTo>
                  <a:lnTo>
                    <a:pt x="302" y="82"/>
                  </a:lnTo>
                  <a:lnTo>
                    <a:pt x="304" y="82"/>
                  </a:lnTo>
                  <a:lnTo>
                    <a:pt x="306" y="82"/>
                  </a:lnTo>
                  <a:lnTo>
                    <a:pt x="308" y="82"/>
                  </a:lnTo>
                  <a:lnTo>
                    <a:pt x="308" y="84"/>
                  </a:lnTo>
                  <a:lnTo>
                    <a:pt x="310" y="84"/>
                  </a:lnTo>
                  <a:lnTo>
                    <a:pt x="308" y="86"/>
                  </a:lnTo>
                  <a:lnTo>
                    <a:pt x="306" y="86"/>
                  </a:lnTo>
                  <a:lnTo>
                    <a:pt x="302" y="88"/>
                  </a:lnTo>
                  <a:lnTo>
                    <a:pt x="298" y="86"/>
                  </a:lnTo>
                  <a:lnTo>
                    <a:pt x="296" y="84"/>
                  </a:lnTo>
                  <a:lnTo>
                    <a:pt x="292" y="84"/>
                  </a:lnTo>
                  <a:lnTo>
                    <a:pt x="292" y="88"/>
                  </a:lnTo>
                  <a:lnTo>
                    <a:pt x="294" y="88"/>
                  </a:lnTo>
                  <a:lnTo>
                    <a:pt x="298" y="90"/>
                  </a:lnTo>
                  <a:lnTo>
                    <a:pt x="300" y="94"/>
                  </a:lnTo>
                  <a:lnTo>
                    <a:pt x="300" y="96"/>
                  </a:lnTo>
                  <a:lnTo>
                    <a:pt x="302" y="98"/>
                  </a:lnTo>
                  <a:lnTo>
                    <a:pt x="302" y="100"/>
                  </a:lnTo>
                  <a:lnTo>
                    <a:pt x="304" y="102"/>
                  </a:lnTo>
                  <a:lnTo>
                    <a:pt x="306" y="104"/>
                  </a:lnTo>
                  <a:lnTo>
                    <a:pt x="310" y="106"/>
                  </a:lnTo>
                  <a:lnTo>
                    <a:pt x="312" y="108"/>
                  </a:lnTo>
                  <a:lnTo>
                    <a:pt x="312" y="112"/>
                  </a:lnTo>
                  <a:lnTo>
                    <a:pt x="310" y="112"/>
                  </a:lnTo>
                  <a:lnTo>
                    <a:pt x="310" y="114"/>
                  </a:lnTo>
                  <a:lnTo>
                    <a:pt x="310" y="118"/>
                  </a:lnTo>
                  <a:lnTo>
                    <a:pt x="310" y="122"/>
                  </a:lnTo>
                  <a:lnTo>
                    <a:pt x="312" y="130"/>
                  </a:lnTo>
                  <a:lnTo>
                    <a:pt x="308" y="130"/>
                  </a:lnTo>
                  <a:lnTo>
                    <a:pt x="306" y="130"/>
                  </a:lnTo>
                  <a:lnTo>
                    <a:pt x="304" y="130"/>
                  </a:lnTo>
                  <a:lnTo>
                    <a:pt x="302" y="128"/>
                  </a:lnTo>
                  <a:lnTo>
                    <a:pt x="302" y="134"/>
                  </a:lnTo>
                  <a:lnTo>
                    <a:pt x="300" y="136"/>
                  </a:lnTo>
                  <a:lnTo>
                    <a:pt x="300" y="140"/>
                  </a:lnTo>
                  <a:lnTo>
                    <a:pt x="298" y="146"/>
                  </a:lnTo>
                  <a:lnTo>
                    <a:pt x="294" y="160"/>
                  </a:lnTo>
                  <a:lnTo>
                    <a:pt x="294" y="162"/>
                  </a:lnTo>
                  <a:lnTo>
                    <a:pt x="292" y="164"/>
                  </a:lnTo>
                  <a:lnTo>
                    <a:pt x="286" y="170"/>
                  </a:lnTo>
                  <a:lnTo>
                    <a:pt x="282" y="174"/>
                  </a:lnTo>
                  <a:lnTo>
                    <a:pt x="272" y="186"/>
                  </a:lnTo>
                  <a:lnTo>
                    <a:pt x="266" y="194"/>
                  </a:lnTo>
                  <a:lnTo>
                    <a:pt x="248" y="206"/>
                  </a:lnTo>
                  <a:lnTo>
                    <a:pt x="236" y="218"/>
                  </a:lnTo>
                  <a:lnTo>
                    <a:pt x="222" y="222"/>
                  </a:lnTo>
                  <a:lnTo>
                    <a:pt x="214" y="224"/>
                  </a:lnTo>
                  <a:lnTo>
                    <a:pt x="204" y="228"/>
                  </a:lnTo>
                  <a:lnTo>
                    <a:pt x="192" y="232"/>
                  </a:lnTo>
                  <a:lnTo>
                    <a:pt x="174" y="240"/>
                  </a:lnTo>
                  <a:lnTo>
                    <a:pt x="172" y="240"/>
                  </a:lnTo>
                  <a:lnTo>
                    <a:pt x="170" y="240"/>
                  </a:lnTo>
                  <a:lnTo>
                    <a:pt x="166" y="242"/>
                  </a:lnTo>
                  <a:lnTo>
                    <a:pt x="160" y="250"/>
                  </a:lnTo>
                  <a:lnTo>
                    <a:pt x="160" y="252"/>
                  </a:lnTo>
                  <a:lnTo>
                    <a:pt x="156" y="256"/>
                  </a:lnTo>
                  <a:lnTo>
                    <a:pt x="154" y="256"/>
                  </a:lnTo>
                  <a:lnTo>
                    <a:pt x="152" y="258"/>
                  </a:lnTo>
                  <a:lnTo>
                    <a:pt x="152" y="260"/>
                  </a:lnTo>
                  <a:lnTo>
                    <a:pt x="150" y="260"/>
                  </a:lnTo>
                  <a:lnTo>
                    <a:pt x="152" y="262"/>
                  </a:lnTo>
                  <a:lnTo>
                    <a:pt x="154" y="264"/>
                  </a:lnTo>
                  <a:lnTo>
                    <a:pt x="152" y="266"/>
                  </a:lnTo>
                  <a:lnTo>
                    <a:pt x="148" y="268"/>
                  </a:lnTo>
                  <a:lnTo>
                    <a:pt x="148" y="264"/>
                  </a:lnTo>
                  <a:lnTo>
                    <a:pt x="148" y="262"/>
                  </a:lnTo>
                  <a:lnTo>
                    <a:pt x="146" y="262"/>
                  </a:lnTo>
                  <a:lnTo>
                    <a:pt x="146" y="264"/>
                  </a:lnTo>
                  <a:lnTo>
                    <a:pt x="144" y="264"/>
                  </a:lnTo>
                  <a:lnTo>
                    <a:pt x="144" y="266"/>
                  </a:lnTo>
                  <a:lnTo>
                    <a:pt x="144" y="268"/>
                  </a:lnTo>
                  <a:lnTo>
                    <a:pt x="142" y="270"/>
                  </a:lnTo>
                  <a:lnTo>
                    <a:pt x="144" y="272"/>
                  </a:lnTo>
                  <a:lnTo>
                    <a:pt x="142" y="276"/>
                  </a:lnTo>
                  <a:lnTo>
                    <a:pt x="142" y="278"/>
                  </a:lnTo>
                  <a:lnTo>
                    <a:pt x="142" y="280"/>
                  </a:lnTo>
                  <a:lnTo>
                    <a:pt x="140" y="282"/>
                  </a:lnTo>
                  <a:lnTo>
                    <a:pt x="140" y="284"/>
                  </a:lnTo>
                  <a:lnTo>
                    <a:pt x="138" y="286"/>
                  </a:lnTo>
                  <a:lnTo>
                    <a:pt x="134" y="290"/>
                  </a:lnTo>
                  <a:lnTo>
                    <a:pt x="134" y="292"/>
                  </a:lnTo>
                  <a:lnTo>
                    <a:pt x="132" y="294"/>
                  </a:lnTo>
                  <a:lnTo>
                    <a:pt x="132" y="296"/>
                  </a:lnTo>
                  <a:lnTo>
                    <a:pt x="132" y="298"/>
                  </a:lnTo>
                  <a:lnTo>
                    <a:pt x="132" y="300"/>
                  </a:lnTo>
                  <a:lnTo>
                    <a:pt x="128" y="310"/>
                  </a:lnTo>
                  <a:lnTo>
                    <a:pt x="128" y="312"/>
                  </a:lnTo>
                  <a:lnTo>
                    <a:pt x="126" y="312"/>
                  </a:lnTo>
                  <a:lnTo>
                    <a:pt x="126" y="314"/>
                  </a:lnTo>
                  <a:lnTo>
                    <a:pt x="128" y="314"/>
                  </a:lnTo>
                  <a:lnTo>
                    <a:pt x="128" y="318"/>
                  </a:lnTo>
                  <a:lnTo>
                    <a:pt x="128" y="320"/>
                  </a:lnTo>
                  <a:lnTo>
                    <a:pt x="128" y="326"/>
                  </a:lnTo>
                  <a:lnTo>
                    <a:pt x="126" y="326"/>
                  </a:lnTo>
                  <a:lnTo>
                    <a:pt x="124" y="32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4"/>
            <p:cNvSpPr>
              <a:spLocks/>
            </p:cNvSpPr>
            <p:nvPr/>
          </p:nvSpPr>
          <p:spPr bwMode="auto">
            <a:xfrm>
              <a:off x="1964" y="1130"/>
              <a:ext cx="20" cy="20"/>
            </a:xfrm>
            <a:custGeom>
              <a:avLst/>
              <a:gdLst/>
              <a:ahLst/>
              <a:cxnLst>
                <a:cxn ang="0">
                  <a:pos x="2" y="20"/>
                </a:cxn>
                <a:cxn ang="0">
                  <a:pos x="0" y="20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2" y="8"/>
                </a:cxn>
                <a:cxn ang="0">
                  <a:pos x="2" y="4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20" y="4"/>
                </a:cxn>
                <a:cxn ang="0">
                  <a:pos x="18" y="4"/>
                </a:cxn>
                <a:cxn ang="0">
                  <a:pos x="18" y="6"/>
                </a:cxn>
                <a:cxn ang="0">
                  <a:pos x="8" y="12"/>
                </a:cxn>
                <a:cxn ang="0">
                  <a:pos x="10" y="16"/>
                </a:cxn>
                <a:cxn ang="0">
                  <a:pos x="8" y="20"/>
                </a:cxn>
                <a:cxn ang="0">
                  <a:pos x="4" y="20"/>
                </a:cxn>
                <a:cxn ang="0">
                  <a:pos x="2" y="20"/>
                </a:cxn>
              </a:cxnLst>
              <a:rect l="0" t="0" r="r" b="b"/>
              <a:pathLst>
                <a:path w="20" h="20">
                  <a:moveTo>
                    <a:pt x="2" y="20"/>
                  </a:moveTo>
                  <a:lnTo>
                    <a:pt x="0" y="20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8"/>
                  </a:lnTo>
                  <a:lnTo>
                    <a:pt x="2" y="4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8" y="12"/>
                  </a:lnTo>
                  <a:lnTo>
                    <a:pt x="10" y="16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2" y="2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6" name="Freeform 135"/>
          <p:cNvSpPr>
            <a:spLocks/>
          </p:cNvSpPr>
          <p:nvPr/>
        </p:nvSpPr>
        <p:spPr bwMode="auto">
          <a:xfrm>
            <a:off x="4309104" y="3461109"/>
            <a:ext cx="509588" cy="587375"/>
          </a:xfrm>
          <a:custGeom>
            <a:avLst/>
            <a:gdLst/>
            <a:ahLst/>
            <a:cxnLst>
              <a:cxn ang="0">
                <a:pos x="234" y="320"/>
              </a:cxn>
              <a:cxn ang="0">
                <a:pos x="214" y="314"/>
              </a:cxn>
              <a:cxn ang="0">
                <a:pos x="194" y="304"/>
              </a:cxn>
              <a:cxn ang="0">
                <a:pos x="176" y="292"/>
              </a:cxn>
              <a:cxn ang="0">
                <a:pos x="156" y="278"/>
              </a:cxn>
              <a:cxn ang="0">
                <a:pos x="124" y="258"/>
              </a:cxn>
              <a:cxn ang="0">
                <a:pos x="100" y="250"/>
              </a:cxn>
              <a:cxn ang="0">
                <a:pos x="80" y="244"/>
              </a:cxn>
              <a:cxn ang="0">
                <a:pos x="58" y="224"/>
              </a:cxn>
              <a:cxn ang="0">
                <a:pos x="38" y="204"/>
              </a:cxn>
              <a:cxn ang="0">
                <a:pos x="28" y="190"/>
              </a:cxn>
              <a:cxn ang="0">
                <a:pos x="16" y="170"/>
              </a:cxn>
              <a:cxn ang="0">
                <a:pos x="4" y="152"/>
              </a:cxn>
              <a:cxn ang="0">
                <a:pos x="24" y="90"/>
              </a:cxn>
              <a:cxn ang="0">
                <a:pos x="32" y="54"/>
              </a:cxn>
              <a:cxn ang="0">
                <a:pos x="74" y="14"/>
              </a:cxn>
              <a:cxn ang="0">
                <a:pos x="144" y="0"/>
              </a:cxn>
              <a:cxn ang="0">
                <a:pos x="208" y="14"/>
              </a:cxn>
              <a:cxn ang="0">
                <a:pos x="240" y="46"/>
              </a:cxn>
              <a:cxn ang="0">
                <a:pos x="242" y="64"/>
              </a:cxn>
              <a:cxn ang="0">
                <a:pos x="252" y="82"/>
              </a:cxn>
              <a:cxn ang="0">
                <a:pos x="246" y="122"/>
              </a:cxn>
              <a:cxn ang="0">
                <a:pos x="240" y="154"/>
              </a:cxn>
              <a:cxn ang="0">
                <a:pos x="250" y="158"/>
              </a:cxn>
              <a:cxn ang="0">
                <a:pos x="280" y="164"/>
              </a:cxn>
              <a:cxn ang="0">
                <a:pos x="302" y="166"/>
              </a:cxn>
              <a:cxn ang="0">
                <a:pos x="318" y="158"/>
              </a:cxn>
              <a:cxn ang="0">
                <a:pos x="330" y="170"/>
              </a:cxn>
              <a:cxn ang="0">
                <a:pos x="354" y="178"/>
              </a:cxn>
              <a:cxn ang="0">
                <a:pos x="358" y="190"/>
              </a:cxn>
              <a:cxn ang="0">
                <a:pos x="358" y="212"/>
              </a:cxn>
              <a:cxn ang="0">
                <a:pos x="360" y="236"/>
              </a:cxn>
              <a:cxn ang="0">
                <a:pos x="364" y="252"/>
              </a:cxn>
              <a:cxn ang="0">
                <a:pos x="374" y="268"/>
              </a:cxn>
              <a:cxn ang="0">
                <a:pos x="392" y="262"/>
              </a:cxn>
              <a:cxn ang="0">
                <a:pos x="420" y="272"/>
              </a:cxn>
              <a:cxn ang="0">
                <a:pos x="420" y="290"/>
              </a:cxn>
              <a:cxn ang="0">
                <a:pos x="416" y="302"/>
              </a:cxn>
              <a:cxn ang="0">
                <a:pos x="408" y="324"/>
              </a:cxn>
              <a:cxn ang="0">
                <a:pos x="402" y="340"/>
              </a:cxn>
              <a:cxn ang="0">
                <a:pos x="396" y="366"/>
              </a:cxn>
              <a:cxn ang="0">
                <a:pos x="390" y="390"/>
              </a:cxn>
              <a:cxn ang="0">
                <a:pos x="374" y="414"/>
              </a:cxn>
              <a:cxn ang="0">
                <a:pos x="358" y="428"/>
              </a:cxn>
              <a:cxn ang="0">
                <a:pos x="340" y="438"/>
              </a:cxn>
              <a:cxn ang="0">
                <a:pos x="324" y="450"/>
              </a:cxn>
              <a:cxn ang="0">
                <a:pos x="310" y="446"/>
              </a:cxn>
              <a:cxn ang="0">
                <a:pos x="296" y="460"/>
              </a:cxn>
              <a:cxn ang="0">
                <a:pos x="286" y="452"/>
              </a:cxn>
              <a:cxn ang="0">
                <a:pos x="276" y="454"/>
              </a:cxn>
              <a:cxn ang="0">
                <a:pos x="266" y="454"/>
              </a:cxn>
              <a:cxn ang="0">
                <a:pos x="252" y="450"/>
              </a:cxn>
              <a:cxn ang="0">
                <a:pos x="232" y="442"/>
              </a:cxn>
              <a:cxn ang="0">
                <a:pos x="194" y="438"/>
              </a:cxn>
              <a:cxn ang="0">
                <a:pos x="186" y="434"/>
              </a:cxn>
              <a:cxn ang="0">
                <a:pos x="202" y="418"/>
              </a:cxn>
              <a:cxn ang="0">
                <a:pos x="214" y="386"/>
              </a:cxn>
              <a:cxn ang="0">
                <a:pos x="230" y="368"/>
              </a:cxn>
              <a:cxn ang="0">
                <a:pos x="248" y="346"/>
              </a:cxn>
            </a:cxnLst>
            <a:rect l="0" t="0" r="r" b="b"/>
            <a:pathLst>
              <a:path w="422" h="460">
                <a:moveTo>
                  <a:pt x="244" y="332"/>
                </a:moveTo>
                <a:lnTo>
                  <a:pt x="242" y="330"/>
                </a:lnTo>
                <a:lnTo>
                  <a:pt x="240" y="328"/>
                </a:lnTo>
                <a:lnTo>
                  <a:pt x="240" y="326"/>
                </a:lnTo>
                <a:lnTo>
                  <a:pt x="234" y="322"/>
                </a:lnTo>
                <a:lnTo>
                  <a:pt x="234" y="320"/>
                </a:lnTo>
                <a:lnTo>
                  <a:pt x="232" y="320"/>
                </a:lnTo>
                <a:lnTo>
                  <a:pt x="230" y="320"/>
                </a:lnTo>
                <a:lnTo>
                  <a:pt x="226" y="318"/>
                </a:lnTo>
                <a:lnTo>
                  <a:pt x="222" y="316"/>
                </a:lnTo>
                <a:lnTo>
                  <a:pt x="218" y="314"/>
                </a:lnTo>
                <a:lnTo>
                  <a:pt x="214" y="314"/>
                </a:lnTo>
                <a:lnTo>
                  <a:pt x="210" y="312"/>
                </a:lnTo>
                <a:lnTo>
                  <a:pt x="206" y="308"/>
                </a:lnTo>
                <a:lnTo>
                  <a:pt x="202" y="306"/>
                </a:lnTo>
                <a:lnTo>
                  <a:pt x="200" y="306"/>
                </a:lnTo>
                <a:lnTo>
                  <a:pt x="198" y="306"/>
                </a:lnTo>
                <a:lnTo>
                  <a:pt x="194" y="304"/>
                </a:lnTo>
                <a:lnTo>
                  <a:pt x="188" y="302"/>
                </a:lnTo>
                <a:lnTo>
                  <a:pt x="184" y="298"/>
                </a:lnTo>
                <a:lnTo>
                  <a:pt x="182" y="298"/>
                </a:lnTo>
                <a:lnTo>
                  <a:pt x="182" y="296"/>
                </a:lnTo>
                <a:lnTo>
                  <a:pt x="180" y="294"/>
                </a:lnTo>
                <a:lnTo>
                  <a:pt x="176" y="292"/>
                </a:lnTo>
                <a:lnTo>
                  <a:pt x="174" y="292"/>
                </a:lnTo>
                <a:lnTo>
                  <a:pt x="164" y="286"/>
                </a:lnTo>
                <a:lnTo>
                  <a:pt x="162" y="286"/>
                </a:lnTo>
                <a:lnTo>
                  <a:pt x="162" y="284"/>
                </a:lnTo>
                <a:lnTo>
                  <a:pt x="160" y="282"/>
                </a:lnTo>
                <a:lnTo>
                  <a:pt x="156" y="278"/>
                </a:lnTo>
                <a:lnTo>
                  <a:pt x="154" y="274"/>
                </a:lnTo>
                <a:lnTo>
                  <a:pt x="146" y="270"/>
                </a:lnTo>
                <a:lnTo>
                  <a:pt x="132" y="260"/>
                </a:lnTo>
                <a:lnTo>
                  <a:pt x="128" y="258"/>
                </a:lnTo>
                <a:lnTo>
                  <a:pt x="126" y="258"/>
                </a:lnTo>
                <a:lnTo>
                  <a:pt x="124" y="258"/>
                </a:lnTo>
                <a:lnTo>
                  <a:pt x="122" y="258"/>
                </a:lnTo>
                <a:lnTo>
                  <a:pt x="122" y="260"/>
                </a:lnTo>
                <a:lnTo>
                  <a:pt x="116" y="258"/>
                </a:lnTo>
                <a:lnTo>
                  <a:pt x="108" y="256"/>
                </a:lnTo>
                <a:lnTo>
                  <a:pt x="100" y="252"/>
                </a:lnTo>
                <a:lnTo>
                  <a:pt x="100" y="250"/>
                </a:lnTo>
                <a:lnTo>
                  <a:pt x="94" y="250"/>
                </a:lnTo>
                <a:lnTo>
                  <a:pt x="92" y="250"/>
                </a:lnTo>
                <a:lnTo>
                  <a:pt x="86" y="248"/>
                </a:lnTo>
                <a:lnTo>
                  <a:pt x="82" y="246"/>
                </a:lnTo>
                <a:lnTo>
                  <a:pt x="80" y="246"/>
                </a:lnTo>
                <a:lnTo>
                  <a:pt x="80" y="244"/>
                </a:lnTo>
                <a:lnTo>
                  <a:pt x="78" y="242"/>
                </a:lnTo>
                <a:lnTo>
                  <a:pt x="76" y="234"/>
                </a:lnTo>
                <a:lnTo>
                  <a:pt x="72" y="232"/>
                </a:lnTo>
                <a:lnTo>
                  <a:pt x="66" y="228"/>
                </a:lnTo>
                <a:lnTo>
                  <a:pt x="64" y="226"/>
                </a:lnTo>
                <a:lnTo>
                  <a:pt x="58" y="224"/>
                </a:lnTo>
                <a:lnTo>
                  <a:pt x="52" y="216"/>
                </a:lnTo>
                <a:lnTo>
                  <a:pt x="50" y="216"/>
                </a:lnTo>
                <a:lnTo>
                  <a:pt x="46" y="216"/>
                </a:lnTo>
                <a:lnTo>
                  <a:pt x="44" y="214"/>
                </a:lnTo>
                <a:lnTo>
                  <a:pt x="44" y="210"/>
                </a:lnTo>
                <a:lnTo>
                  <a:pt x="38" y="204"/>
                </a:lnTo>
                <a:lnTo>
                  <a:pt x="36" y="204"/>
                </a:lnTo>
                <a:lnTo>
                  <a:pt x="32" y="200"/>
                </a:lnTo>
                <a:lnTo>
                  <a:pt x="30" y="198"/>
                </a:lnTo>
                <a:lnTo>
                  <a:pt x="32" y="198"/>
                </a:lnTo>
                <a:lnTo>
                  <a:pt x="30" y="194"/>
                </a:lnTo>
                <a:lnTo>
                  <a:pt x="28" y="190"/>
                </a:lnTo>
                <a:lnTo>
                  <a:pt x="24" y="186"/>
                </a:lnTo>
                <a:lnTo>
                  <a:pt x="20" y="176"/>
                </a:lnTo>
                <a:lnTo>
                  <a:pt x="20" y="174"/>
                </a:lnTo>
                <a:lnTo>
                  <a:pt x="18" y="172"/>
                </a:lnTo>
                <a:lnTo>
                  <a:pt x="16" y="172"/>
                </a:lnTo>
                <a:lnTo>
                  <a:pt x="16" y="170"/>
                </a:lnTo>
                <a:lnTo>
                  <a:pt x="14" y="170"/>
                </a:lnTo>
                <a:lnTo>
                  <a:pt x="12" y="170"/>
                </a:lnTo>
                <a:lnTo>
                  <a:pt x="6" y="164"/>
                </a:lnTo>
                <a:lnTo>
                  <a:pt x="2" y="160"/>
                </a:lnTo>
                <a:lnTo>
                  <a:pt x="0" y="158"/>
                </a:lnTo>
                <a:lnTo>
                  <a:pt x="4" y="152"/>
                </a:lnTo>
                <a:lnTo>
                  <a:pt x="8" y="138"/>
                </a:lnTo>
                <a:lnTo>
                  <a:pt x="10" y="132"/>
                </a:lnTo>
                <a:lnTo>
                  <a:pt x="10" y="130"/>
                </a:lnTo>
                <a:lnTo>
                  <a:pt x="16" y="114"/>
                </a:lnTo>
                <a:lnTo>
                  <a:pt x="24" y="94"/>
                </a:lnTo>
                <a:lnTo>
                  <a:pt x="24" y="90"/>
                </a:lnTo>
                <a:lnTo>
                  <a:pt x="24" y="80"/>
                </a:lnTo>
                <a:lnTo>
                  <a:pt x="24" y="76"/>
                </a:lnTo>
                <a:lnTo>
                  <a:pt x="24" y="70"/>
                </a:lnTo>
                <a:lnTo>
                  <a:pt x="24" y="68"/>
                </a:lnTo>
                <a:lnTo>
                  <a:pt x="28" y="62"/>
                </a:lnTo>
                <a:lnTo>
                  <a:pt x="32" y="54"/>
                </a:lnTo>
                <a:lnTo>
                  <a:pt x="44" y="42"/>
                </a:lnTo>
                <a:lnTo>
                  <a:pt x="46" y="32"/>
                </a:lnTo>
                <a:lnTo>
                  <a:pt x="52" y="22"/>
                </a:lnTo>
                <a:lnTo>
                  <a:pt x="54" y="18"/>
                </a:lnTo>
                <a:lnTo>
                  <a:pt x="58" y="16"/>
                </a:lnTo>
                <a:lnTo>
                  <a:pt x="74" y="14"/>
                </a:lnTo>
                <a:lnTo>
                  <a:pt x="102" y="10"/>
                </a:lnTo>
                <a:lnTo>
                  <a:pt x="112" y="10"/>
                </a:lnTo>
                <a:lnTo>
                  <a:pt x="118" y="8"/>
                </a:lnTo>
                <a:lnTo>
                  <a:pt x="122" y="6"/>
                </a:lnTo>
                <a:lnTo>
                  <a:pt x="142" y="2"/>
                </a:lnTo>
                <a:lnTo>
                  <a:pt x="144" y="0"/>
                </a:lnTo>
                <a:lnTo>
                  <a:pt x="146" y="0"/>
                </a:lnTo>
                <a:lnTo>
                  <a:pt x="166" y="2"/>
                </a:lnTo>
                <a:lnTo>
                  <a:pt x="174" y="4"/>
                </a:lnTo>
                <a:lnTo>
                  <a:pt x="188" y="4"/>
                </a:lnTo>
                <a:lnTo>
                  <a:pt x="192" y="4"/>
                </a:lnTo>
                <a:lnTo>
                  <a:pt x="208" y="14"/>
                </a:lnTo>
                <a:lnTo>
                  <a:pt x="220" y="22"/>
                </a:lnTo>
                <a:lnTo>
                  <a:pt x="234" y="30"/>
                </a:lnTo>
                <a:lnTo>
                  <a:pt x="236" y="30"/>
                </a:lnTo>
                <a:lnTo>
                  <a:pt x="240" y="32"/>
                </a:lnTo>
                <a:lnTo>
                  <a:pt x="240" y="42"/>
                </a:lnTo>
                <a:lnTo>
                  <a:pt x="240" y="46"/>
                </a:lnTo>
                <a:lnTo>
                  <a:pt x="240" y="48"/>
                </a:lnTo>
                <a:lnTo>
                  <a:pt x="238" y="50"/>
                </a:lnTo>
                <a:lnTo>
                  <a:pt x="238" y="54"/>
                </a:lnTo>
                <a:lnTo>
                  <a:pt x="238" y="56"/>
                </a:lnTo>
                <a:lnTo>
                  <a:pt x="240" y="60"/>
                </a:lnTo>
                <a:lnTo>
                  <a:pt x="242" y="64"/>
                </a:lnTo>
                <a:lnTo>
                  <a:pt x="244" y="70"/>
                </a:lnTo>
                <a:lnTo>
                  <a:pt x="246" y="76"/>
                </a:lnTo>
                <a:lnTo>
                  <a:pt x="246" y="82"/>
                </a:lnTo>
                <a:lnTo>
                  <a:pt x="248" y="78"/>
                </a:lnTo>
                <a:lnTo>
                  <a:pt x="248" y="80"/>
                </a:lnTo>
                <a:lnTo>
                  <a:pt x="252" y="82"/>
                </a:lnTo>
                <a:lnTo>
                  <a:pt x="250" y="88"/>
                </a:lnTo>
                <a:lnTo>
                  <a:pt x="252" y="96"/>
                </a:lnTo>
                <a:lnTo>
                  <a:pt x="250" y="116"/>
                </a:lnTo>
                <a:lnTo>
                  <a:pt x="248" y="118"/>
                </a:lnTo>
                <a:lnTo>
                  <a:pt x="246" y="120"/>
                </a:lnTo>
                <a:lnTo>
                  <a:pt x="246" y="122"/>
                </a:lnTo>
                <a:lnTo>
                  <a:pt x="244" y="124"/>
                </a:lnTo>
                <a:lnTo>
                  <a:pt x="244" y="132"/>
                </a:lnTo>
                <a:lnTo>
                  <a:pt x="244" y="140"/>
                </a:lnTo>
                <a:lnTo>
                  <a:pt x="242" y="150"/>
                </a:lnTo>
                <a:lnTo>
                  <a:pt x="240" y="152"/>
                </a:lnTo>
                <a:lnTo>
                  <a:pt x="240" y="154"/>
                </a:lnTo>
                <a:lnTo>
                  <a:pt x="240" y="156"/>
                </a:lnTo>
                <a:lnTo>
                  <a:pt x="244" y="158"/>
                </a:lnTo>
                <a:lnTo>
                  <a:pt x="246" y="160"/>
                </a:lnTo>
                <a:lnTo>
                  <a:pt x="248" y="160"/>
                </a:lnTo>
                <a:lnTo>
                  <a:pt x="250" y="160"/>
                </a:lnTo>
                <a:lnTo>
                  <a:pt x="250" y="158"/>
                </a:lnTo>
                <a:lnTo>
                  <a:pt x="258" y="160"/>
                </a:lnTo>
                <a:lnTo>
                  <a:pt x="260" y="162"/>
                </a:lnTo>
                <a:lnTo>
                  <a:pt x="270" y="164"/>
                </a:lnTo>
                <a:lnTo>
                  <a:pt x="274" y="164"/>
                </a:lnTo>
                <a:lnTo>
                  <a:pt x="278" y="164"/>
                </a:lnTo>
                <a:lnTo>
                  <a:pt x="280" y="164"/>
                </a:lnTo>
                <a:lnTo>
                  <a:pt x="282" y="164"/>
                </a:lnTo>
                <a:lnTo>
                  <a:pt x="290" y="166"/>
                </a:lnTo>
                <a:lnTo>
                  <a:pt x="296" y="168"/>
                </a:lnTo>
                <a:lnTo>
                  <a:pt x="300" y="168"/>
                </a:lnTo>
                <a:lnTo>
                  <a:pt x="302" y="168"/>
                </a:lnTo>
                <a:lnTo>
                  <a:pt x="302" y="166"/>
                </a:lnTo>
                <a:lnTo>
                  <a:pt x="306" y="166"/>
                </a:lnTo>
                <a:lnTo>
                  <a:pt x="308" y="168"/>
                </a:lnTo>
                <a:lnTo>
                  <a:pt x="312" y="164"/>
                </a:lnTo>
                <a:lnTo>
                  <a:pt x="314" y="162"/>
                </a:lnTo>
                <a:lnTo>
                  <a:pt x="316" y="160"/>
                </a:lnTo>
                <a:lnTo>
                  <a:pt x="318" y="158"/>
                </a:lnTo>
                <a:lnTo>
                  <a:pt x="322" y="158"/>
                </a:lnTo>
                <a:lnTo>
                  <a:pt x="322" y="160"/>
                </a:lnTo>
                <a:lnTo>
                  <a:pt x="322" y="162"/>
                </a:lnTo>
                <a:lnTo>
                  <a:pt x="324" y="164"/>
                </a:lnTo>
                <a:lnTo>
                  <a:pt x="326" y="166"/>
                </a:lnTo>
                <a:lnTo>
                  <a:pt x="330" y="170"/>
                </a:lnTo>
                <a:lnTo>
                  <a:pt x="332" y="170"/>
                </a:lnTo>
                <a:lnTo>
                  <a:pt x="338" y="170"/>
                </a:lnTo>
                <a:lnTo>
                  <a:pt x="340" y="170"/>
                </a:lnTo>
                <a:lnTo>
                  <a:pt x="342" y="170"/>
                </a:lnTo>
                <a:lnTo>
                  <a:pt x="348" y="172"/>
                </a:lnTo>
                <a:lnTo>
                  <a:pt x="354" y="178"/>
                </a:lnTo>
                <a:lnTo>
                  <a:pt x="354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6" y="188"/>
                </a:lnTo>
                <a:lnTo>
                  <a:pt x="358" y="190"/>
                </a:lnTo>
                <a:lnTo>
                  <a:pt x="360" y="190"/>
                </a:lnTo>
                <a:lnTo>
                  <a:pt x="358" y="196"/>
                </a:lnTo>
                <a:lnTo>
                  <a:pt x="358" y="198"/>
                </a:lnTo>
                <a:lnTo>
                  <a:pt x="358" y="200"/>
                </a:lnTo>
                <a:lnTo>
                  <a:pt x="358" y="202"/>
                </a:lnTo>
                <a:lnTo>
                  <a:pt x="358" y="212"/>
                </a:lnTo>
                <a:lnTo>
                  <a:pt x="358" y="216"/>
                </a:lnTo>
                <a:lnTo>
                  <a:pt x="360" y="218"/>
                </a:lnTo>
                <a:lnTo>
                  <a:pt x="360" y="228"/>
                </a:lnTo>
                <a:lnTo>
                  <a:pt x="360" y="230"/>
                </a:lnTo>
                <a:lnTo>
                  <a:pt x="362" y="232"/>
                </a:lnTo>
                <a:lnTo>
                  <a:pt x="360" y="236"/>
                </a:lnTo>
                <a:lnTo>
                  <a:pt x="360" y="244"/>
                </a:lnTo>
                <a:lnTo>
                  <a:pt x="360" y="246"/>
                </a:lnTo>
                <a:lnTo>
                  <a:pt x="362" y="246"/>
                </a:lnTo>
                <a:lnTo>
                  <a:pt x="362" y="248"/>
                </a:lnTo>
                <a:lnTo>
                  <a:pt x="364" y="250"/>
                </a:lnTo>
                <a:lnTo>
                  <a:pt x="364" y="252"/>
                </a:lnTo>
                <a:lnTo>
                  <a:pt x="364" y="254"/>
                </a:lnTo>
                <a:lnTo>
                  <a:pt x="364" y="260"/>
                </a:lnTo>
                <a:lnTo>
                  <a:pt x="364" y="262"/>
                </a:lnTo>
                <a:lnTo>
                  <a:pt x="364" y="264"/>
                </a:lnTo>
                <a:lnTo>
                  <a:pt x="366" y="266"/>
                </a:lnTo>
                <a:lnTo>
                  <a:pt x="374" y="268"/>
                </a:lnTo>
                <a:lnTo>
                  <a:pt x="376" y="268"/>
                </a:lnTo>
                <a:lnTo>
                  <a:pt x="378" y="268"/>
                </a:lnTo>
                <a:lnTo>
                  <a:pt x="382" y="266"/>
                </a:lnTo>
                <a:lnTo>
                  <a:pt x="388" y="266"/>
                </a:lnTo>
                <a:lnTo>
                  <a:pt x="390" y="264"/>
                </a:lnTo>
                <a:lnTo>
                  <a:pt x="392" y="262"/>
                </a:lnTo>
                <a:lnTo>
                  <a:pt x="404" y="256"/>
                </a:lnTo>
                <a:lnTo>
                  <a:pt x="408" y="260"/>
                </a:lnTo>
                <a:lnTo>
                  <a:pt x="414" y="264"/>
                </a:lnTo>
                <a:lnTo>
                  <a:pt x="420" y="270"/>
                </a:lnTo>
                <a:lnTo>
                  <a:pt x="422" y="272"/>
                </a:lnTo>
                <a:lnTo>
                  <a:pt x="420" y="272"/>
                </a:lnTo>
                <a:lnTo>
                  <a:pt x="418" y="274"/>
                </a:lnTo>
                <a:lnTo>
                  <a:pt x="418" y="276"/>
                </a:lnTo>
                <a:lnTo>
                  <a:pt x="418" y="282"/>
                </a:lnTo>
                <a:lnTo>
                  <a:pt x="420" y="284"/>
                </a:lnTo>
                <a:lnTo>
                  <a:pt x="420" y="288"/>
                </a:lnTo>
                <a:lnTo>
                  <a:pt x="420" y="290"/>
                </a:lnTo>
                <a:lnTo>
                  <a:pt x="418" y="292"/>
                </a:lnTo>
                <a:lnTo>
                  <a:pt x="416" y="292"/>
                </a:lnTo>
                <a:lnTo>
                  <a:pt x="416" y="294"/>
                </a:lnTo>
                <a:lnTo>
                  <a:pt x="416" y="296"/>
                </a:lnTo>
                <a:lnTo>
                  <a:pt x="416" y="298"/>
                </a:lnTo>
                <a:lnTo>
                  <a:pt x="416" y="302"/>
                </a:lnTo>
                <a:lnTo>
                  <a:pt x="416" y="304"/>
                </a:lnTo>
                <a:lnTo>
                  <a:pt x="416" y="306"/>
                </a:lnTo>
                <a:lnTo>
                  <a:pt x="414" y="306"/>
                </a:lnTo>
                <a:lnTo>
                  <a:pt x="412" y="312"/>
                </a:lnTo>
                <a:lnTo>
                  <a:pt x="410" y="314"/>
                </a:lnTo>
                <a:lnTo>
                  <a:pt x="408" y="324"/>
                </a:lnTo>
                <a:lnTo>
                  <a:pt x="406" y="326"/>
                </a:lnTo>
                <a:lnTo>
                  <a:pt x="406" y="328"/>
                </a:lnTo>
                <a:lnTo>
                  <a:pt x="408" y="330"/>
                </a:lnTo>
                <a:lnTo>
                  <a:pt x="408" y="332"/>
                </a:lnTo>
                <a:lnTo>
                  <a:pt x="404" y="338"/>
                </a:lnTo>
                <a:lnTo>
                  <a:pt x="402" y="340"/>
                </a:lnTo>
                <a:lnTo>
                  <a:pt x="400" y="342"/>
                </a:lnTo>
                <a:lnTo>
                  <a:pt x="396" y="346"/>
                </a:lnTo>
                <a:lnTo>
                  <a:pt x="396" y="350"/>
                </a:lnTo>
                <a:lnTo>
                  <a:pt x="396" y="354"/>
                </a:lnTo>
                <a:lnTo>
                  <a:pt x="396" y="358"/>
                </a:lnTo>
                <a:lnTo>
                  <a:pt x="396" y="366"/>
                </a:lnTo>
                <a:lnTo>
                  <a:pt x="396" y="374"/>
                </a:lnTo>
                <a:lnTo>
                  <a:pt x="392" y="376"/>
                </a:lnTo>
                <a:lnTo>
                  <a:pt x="392" y="386"/>
                </a:lnTo>
                <a:lnTo>
                  <a:pt x="392" y="388"/>
                </a:lnTo>
                <a:lnTo>
                  <a:pt x="392" y="390"/>
                </a:lnTo>
                <a:lnTo>
                  <a:pt x="390" y="390"/>
                </a:lnTo>
                <a:lnTo>
                  <a:pt x="390" y="394"/>
                </a:lnTo>
                <a:lnTo>
                  <a:pt x="388" y="400"/>
                </a:lnTo>
                <a:lnTo>
                  <a:pt x="378" y="414"/>
                </a:lnTo>
                <a:lnTo>
                  <a:pt x="378" y="412"/>
                </a:lnTo>
                <a:lnTo>
                  <a:pt x="376" y="414"/>
                </a:lnTo>
                <a:lnTo>
                  <a:pt x="374" y="414"/>
                </a:lnTo>
                <a:lnTo>
                  <a:pt x="374" y="418"/>
                </a:lnTo>
                <a:lnTo>
                  <a:pt x="372" y="420"/>
                </a:lnTo>
                <a:lnTo>
                  <a:pt x="370" y="420"/>
                </a:lnTo>
                <a:lnTo>
                  <a:pt x="368" y="420"/>
                </a:lnTo>
                <a:lnTo>
                  <a:pt x="364" y="424"/>
                </a:lnTo>
                <a:lnTo>
                  <a:pt x="358" y="428"/>
                </a:lnTo>
                <a:lnTo>
                  <a:pt x="356" y="428"/>
                </a:lnTo>
                <a:lnTo>
                  <a:pt x="350" y="428"/>
                </a:lnTo>
                <a:lnTo>
                  <a:pt x="350" y="430"/>
                </a:lnTo>
                <a:lnTo>
                  <a:pt x="348" y="430"/>
                </a:lnTo>
                <a:lnTo>
                  <a:pt x="340" y="436"/>
                </a:lnTo>
                <a:lnTo>
                  <a:pt x="340" y="438"/>
                </a:lnTo>
                <a:lnTo>
                  <a:pt x="340" y="442"/>
                </a:lnTo>
                <a:lnTo>
                  <a:pt x="340" y="444"/>
                </a:lnTo>
                <a:lnTo>
                  <a:pt x="338" y="448"/>
                </a:lnTo>
                <a:lnTo>
                  <a:pt x="330" y="454"/>
                </a:lnTo>
                <a:lnTo>
                  <a:pt x="324" y="452"/>
                </a:lnTo>
                <a:lnTo>
                  <a:pt x="324" y="450"/>
                </a:lnTo>
                <a:lnTo>
                  <a:pt x="322" y="448"/>
                </a:lnTo>
                <a:lnTo>
                  <a:pt x="320" y="448"/>
                </a:lnTo>
                <a:lnTo>
                  <a:pt x="316" y="446"/>
                </a:lnTo>
                <a:lnTo>
                  <a:pt x="314" y="446"/>
                </a:lnTo>
                <a:lnTo>
                  <a:pt x="312" y="446"/>
                </a:lnTo>
                <a:lnTo>
                  <a:pt x="310" y="446"/>
                </a:lnTo>
                <a:lnTo>
                  <a:pt x="304" y="450"/>
                </a:lnTo>
                <a:lnTo>
                  <a:pt x="304" y="452"/>
                </a:lnTo>
                <a:lnTo>
                  <a:pt x="304" y="454"/>
                </a:lnTo>
                <a:lnTo>
                  <a:pt x="300" y="460"/>
                </a:lnTo>
                <a:lnTo>
                  <a:pt x="298" y="460"/>
                </a:lnTo>
                <a:lnTo>
                  <a:pt x="296" y="460"/>
                </a:lnTo>
                <a:lnTo>
                  <a:pt x="294" y="458"/>
                </a:lnTo>
                <a:lnTo>
                  <a:pt x="292" y="454"/>
                </a:lnTo>
                <a:lnTo>
                  <a:pt x="290" y="454"/>
                </a:lnTo>
                <a:lnTo>
                  <a:pt x="290" y="452"/>
                </a:lnTo>
                <a:lnTo>
                  <a:pt x="288" y="452"/>
                </a:lnTo>
                <a:lnTo>
                  <a:pt x="286" y="452"/>
                </a:lnTo>
                <a:lnTo>
                  <a:pt x="284" y="452"/>
                </a:lnTo>
                <a:lnTo>
                  <a:pt x="284" y="454"/>
                </a:lnTo>
                <a:lnTo>
                  <a:pt x="282" y="454"/>
                </a:lnTo>
                <a:lnTo>
                  <a:pt x="280" y="454"/>
                </a:lnTo>
                <a:lnTo>
                  <a:pt x="278" y="454"/>
                </a:lnTo>
                <a:lnTo>
                  <a:pt x="276" y="454"/>
                </a:lnTo>
                <a:lnTo>
                  <a:pt x="276" y="452"/>
                </a:lnTo>
                <a:lnTo>
                  <a:pt x="274" y="450"/>
                </a:lnTo>
                <a:lnTo>
                  <a:pt x="272" y="450"/>
                </a:lnTo>
                <a:lnTo>
                  <a:pt x="268" y="450"/>
                </a:lnTo>
                <a:lnTo>
                  <a:pt x="266" y="452"/>
                </a:lnTo>
                <a:lnTo>
                  <a:pt x="266" y="454"/>
                </a:lnTo>
                <a:lnTo>
                  <a:pt x="264" y="454"/>
                </a:lnTo>
                <a:lnTo>
                  <a:pt x="262" y="454"/>
                </a:lnTo>
                <a:lnTo>
                  <a:pt x="258" y="454"/>
                </a:lnTo>
                <a:lnTo>
                  <a:pt x="256" y="452"/>
                </a:lnTo>
                <a:lnTo>
                  <a:pt x="254" y="450"/>
                </a:lnTo>
                <a:lnTo>
                  <a:pt x="252" y="450"/>
                </a:lnTo>
                <a:lnTo>
                  <a:pt x="250" y="450"/>
                </a:lnTo>
                <a:lnTo>
                  <a:pt x="248" y="448"/>
                </a:lnTo>
                <a:lnTo>
                  <a:pt x="236" y="446"/>
                </a:lnTo>
                <a:lnTo>
                  <a:pt x="236" y="444"/>
                </a:lnTo>
                <a:lnTo>
                  <a:pt x="234" y="444"/>
                </a:lnTo>
                <a:lnTo>
                  <a:pt x="232" y="442"/>
                </a:lnTo>
                <a:lnTo>
                  <a:pt x="228" y="440"/>
                </a:lnTo>
                <a:lnTo>
                  <a:pt x="222" y="440"/>
                </a:lnTo>
                <a:lnTo>
                  <a:pt x="218" y="438"/>
                </a:lnTo>
                <a:lnTo>
                  <a:pt x="210" y="438"/>
                </a:lnTo>
                <a:lnTo>
                  <a:pt x="204" y="438"/>
                </a:lnTo>
                <a:lnTo>
                  <a:pt x="194" y="438"/>
                </a:lnTo>
                <a:lnTo>
                  <a:pt x="192" y="438"/>
                </a:lnTo>
                <a:lnTo>
                  <a:pt x="192" y="440"/>
                </a:lnTo>
                <a:lnTo>
                  <a:pt x="190" y="440"/>
                </a:lnTo>
                <a:lnTo>
                  <a:pt x="188" y="440"/>
                </a:lnTo>
                <a:lnTo>
                  <a:pt x="188" y="436"/>
                </a:lnTo>
                <a:lnTo>
                  <a:pt x="186" y="434"/>
                </a:lnTo>
                <a:lnTo>
                  <a:pt x="186" y="432"/>
                </a:lnTo>
                <a:lnTo>
                  <a:pt x="188" y="430"/>
                </a:lnTo>
                <a:lnTo>
                  <a:pt x="190" y="430"/>
                </a:lnTo>
                <a:lnTo>
                  <a:pt x="196" y="422"/>
                </a:lnTo>
                <a:lnTo>
                  <a:pt x="200" y="418"/>
                </a:lnTo>
                <a:lnTo>
                  <a:pt x="202" y="418"/>
                </a:lnTo>
                <a:lnTo>
                  <a:pt x="204" y="418"/>
                </a:lnTo>
                <a:lnTo>
                  <a:pt x="212" y="406"/>
                </a:lnTo>
                <a:lnTo>
                  <a:pt x="212" y="402"/>
                </a:lnTo>
                <a:lnTo>
                  <a:pt x="212" y="400"/>
                </a:lnTo>
                <a:lnTo>
                  <a:pt x="212" y="392"/>
                </a:lnTo>
                <a:lnTo>
                  <a:pt x="214" y="386"/>
                </a:lnTo>
                <a:lnTo>
                  <a:pt x="216" y="384"/>
                </a:lnTo>
                <a:lnTo>
                  <a:pt x="216" y="382"/>
                </a:lnTo>
                <a:lnTo>
                  <a:pt x="220" y="376"/>
                </a:lnTo>
                <a:lnTo>
                  <a:pt x="224" y="376"/>
                </a:lnTo>
                <a:lnTo>
                  <a:pt x="230" y="370"/>
                </a:lnTo>
                <a:lnTo>
                  <a:pt x="230" y="368"/>
                </a:lnTo>
                <a:lnTo>
                  <a:pt x="232" y="364"/>
                </a:lnTo>
                <a:lnTo>
                  <a:pt x="234" y="362"/>
                </a:lnTo>
                <a:lnTo>
                  <a:pt x="234" y="358"/>
                </a:lnTo>
                <a:lnTo>
                  <a:pt x="236" y="358"/>
                </a:lnTo>
                <a:lnTo>
                  <a:pt x="238" y="356"/>
                </a:lnTo>
                <a:lnTo>
                  <a:pt x="248" y="346"/>
                </a:lnTo>
                <a:lnTo>
                  <a:pt x="248" y="342"/>
                </a:lnTo>
                <a:lnTo>
                  <a:pt x="248" y="340"/>
                </a:lnTo>
                <a:lnTo>
                  <a:pt x="246" y="338"/>
                </a:lnTo>
                <a:lnTo>
                  <a:pt x="244" y="33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7" name="Freeform 136"/>
          <p:cNvSpPr>
            <a:spLocks/>
          </p:cNvSpPr>
          <p:nvPr/>
        </p:nvSpPr>
        <p:spPr bwMode="auto">
          <a:xfrm>
            <a:off x="4507540" y="4221592"/>
            <a:ext cx="315912" cy="344487"/>
          </a:xfrm>
          <a:custGeom>
            <a:avLst/>
            <a:gdLst/>
            <a:ahLst/>
            <a:cxnLst>
              <a:cxn ang="0">
                <a:pos x="8" y="170"/>
              </a:cxn>
              <a:cxn ang="0">
                <a:pos x="10" y="162"/>
              </a:cxn>
              <a:cxn ang="0">
                <a:pos x="20" y="158"/>
              </a:cxn>
              <a:cxn ang="0">
                <a:pos x="20" y="144"/>
              </a:cxn>
              <a:cxn ang="0">
                <a:pos x="18" y="128"/>
              </a:cxn>
              <a:cxn ang="0">
                <a:pos x="24" y="118"/>
              </a:cxn>
              <a:cxn ang="0">
                <a:pos x="22" y="108"/>
              </a:cxn>
              <a:cxn ang="0">
                <a:pos x="22" y="96"/>
              </a:cxn>
              <a:cxn ang="0">
                <a:pos x="30" y="90"/>
              </a:cxn>
              <a:cxn ang="0">
                <a:pos x="30" y="74"/>
              </a:cxn>
              <a:cxn ang="0">
                <a:pos x="44" y="50"/>
              </a:cxn>
              <a:cxn ang="0">
                <a:pos x="46" y="28"/>
              </a:cxn>
              <a:cxn ang="0">
                <a:pos x="48" y="18"/>
              </a:cxn>
              <a:cxn ang="0">
                <a:pos x="58" y="6"/>
              </a:cxn>
              <a:cxn ang="0">
                <a:pos x="64" y="8"/>
              </a:cxn>
              <a:cxn ang="0">
                <a:pos x="80" y="10"/>
              </a:cxn>
              <a:cxn ang="0">
                <a:pos x="92" y="0"/>
              </a:cxn>
              <a:cxn ang="0">
                <a:pos x="110" y="14"/>
              </a:cxn>
              <a:cxn ang="0">
                <a:pos x="122" y="26"/>
              </a:cxn>
              <a:cxn ang="0">
                <a:pos x="136" y="44"/>
              </a:cxn>
              <a:cxn ang="0">
                <a:pos x="134" y="56"/>
              </a:cxn>
              <a:cxn ang="0">
                <a:pos x="152" y="46"/>
              </a:cxn>
              <a:cxn ang="0">
                <a:pos x="164" y="56"/>
              </a:cxn>
              <a:cxn ang="0">
                <a:pos x="180" y="72"/>
              </a:cxn>
              <a:cxn ang="0">
                <a:pos x="188" y="80"/>
              </a:cxn>
              <a:cxn ang="0">
                <a:pos x="204" y="88"/>
              </a:cxn>
              <a:cxn ang="0">
                <a:pos x="212" y="100"/>
              </a:cxn>
              <a:cxn ang="0">
                <a:pos x="230" y="112"/>
              </a:cxn>
              <a:cxn ang="0">
                <a:pos x="238" y="134"/>
              </a:cxn>
              <a:cxn ang="0">
                <a:pos x="250" y="146"/>
              </a:cxn>
              <a:cxn ang="0">
                <a:pos x="258" y="158"/>
              </a:cxn>
              <a:cxn ang="0">
                <a:pos x="240" y="172"/>
              </a:cxn>
              <a:cxn ang="0">
                <a:pos x="238" y="182"/>
              </a:cxn>
              <a:cxn ang="0">
                <a:pos x="236" y="194"/>
              </a:cxn>
              <a:cxn ang="0">
                <a:pos x="234" y="204"/>
              </a:cxn>
              <a:cxn ang="0">
                <a:pos x="238" y="210"/>
              </a:cxn>
              <a:cxn ang="0">
                <a:pos x="232" y="222"/>
              </a:cxn>
              <a:cxn ang="0">
                <a:pos x="220" y="238"/>
              </a:cxn>
              <a:cxn ang="0">
                <a:pos x="200" y="254"/>
              </a:cxn>
              <a:cxn ang="0">
                <a:pos x="194" y="256"/>
              </a:cxn>
              <a:cxn ang="0">
                <a:pos x="188" y="260"/>
              </a:cxn>
              <a:cxn ang="0">
                <a:pos x="164" y="270"/>
              </a:cxn>
              <a:cxn ang="0">
                <a:pos x="150" y="266"/>
              </a:cxn>
              <a:cxn ang="0">
                <a:pos x="140" y="264"/>
              </a:cxn>
              <a:cxn ang="0">
                <a:pos x="120" y="260"/>
              </a:cxn>
              <a:cxn ang="0">
                <a:pos x="108" y="264"/>
              </a:cxn>
              <a:cxn ang="0">
                <a:pos x="90" y="260"/>
              </a:cxn>
              <a:cxn ang="0">
                <a:pos x="68" y="250"/>
              </a:cxn>
              <a:cxn ang="0">
                <a:pos x="32" y="236"/>
              </a:cxn>
              <a:cxn ang="0">
                <a:pos x="20" y="228"/>
              </a:cxn>
              <a:cxn ang="0">
                <a:pos x="4" y="208"/>
              </a:cxn>
              <a:cxn ang="0">
                <a:pos x="0" y="200"/>
              </a:cxn>
              <a:cxn ang="0">
                <a:pos x="4" y="180"/>
              </a:cxn>
            </a:cxnLst>
            <a:rect l="0" t="0" r="r" b="b"/>
            <a:pathLst>
              <a:path w="262" h="270">
                <a:moveTo>
                  <a:pt x="4" y="178"/>
                </a:moveTo>
                <a:lnTo>
                  <a:pt x="4" y="174"/>
                </a:lnTo>
                <a:lnTo>
                  <a:pt x="6" y="174"/>
                </a:lnTo>
                <a:lnTo>
                  <a:pt x="6" y="172"/>
                </a:lnTo>
                <a:lnTo>
                  <a:pt x="8" y="170"/>
                </a:lnTo>
                <a:lnTo>
                  <a:pt x="8" y="168"/>
                </a:lnTo>
                <a:lnTo>
                  <a:pt x="8" y="166"/>
                </a:lnTo>
                <a:lnTo>
                  <a:pt x="8" y="164"/>
                </a:lnTo>
                <a:lnTo>
                  <a:pt x="8" y="162"/>
                </a:lnTo>
                <a:lnTo>
                  <a:pt x="10" y="162"/>
                </a:lnTo>
                <a:lnTo>
                  <a:pt x="12" y="162"/>
                </a:lnTo>
                <a:lnTo>
                  <a:pt x="14" y="162"/>
                </a:lnTo>
                <a:lnTo>
                  <a:pt x="16" y="162"/>
                </a:lnTo>
                <a:lnTo>
                  <a:pt x="18" y="162"/>
                </a:lnTo>
                <a:lnTo>
                  <a:pt x="20" y="158"/>
                </a:lnTo>
                <a:lnTo>
                  <a:pt x="24" y="152"/>
                </a:lnTo>
                <a:lnTo>
                  <a:pt x="24" y="150"/>
                </a:lnTo>
                <a:lnTo>
                  <a:pt x="22" y="148"/>
                </a:lnTo>
                <a:lnTo>
                  <a:pt x="20" y="146"/>
                </a:lnTo>
                <a:lnTo>
                  <a:pt x="20" y="144"/>
                </a:lnTo>
                <a:lnTo>
                  <a:pt x="20" y="142"/>
                </a:lnTo>
                <a:lnTo>
                  <a:pt x="20" y="140"/>
                </a:lnTo>
                <a:lnTo>
                  <a:pt x="20" y="138"/>
                </a:lnTo>
                <a:lnTo>
                  <a:pt x="20" y="134"/>
                </a:lnTo>
                <a:lnTo>
                  <a:pt x="18" y="128"/>
                </a:lnTo>
                <a:lnTo>
                  <a:pt x="18" y="126"/>
                </a:lnTo>
                <a:lnTo>
                  <a:pt x="20" y="122"/>
                </a:lnTo>
                <a:lnTo>
                  <a:pt x="22" y="122"/>
                </a:lnTo>
                <a:lnTo>
                  <a:pt x="22" y="120"/>
                </a:lnTo>
                <a:lnTo>
                  <a:pt x="24" y="118"/>
                </a:lnTo>
                <a:lnTo>
                  <a:pt x="24" y="116"/>
                </a:lnTo>
                <a:lnTo>
                  <a:pt x="24" y="114"/>
                </a:lnTo>
                <a:lnTo>
                  <a:pt x="22" y="112"/>
                </a:lnTo>
                <a:lnTo>
                  <a:pt x="22" y="110"/>
                </a:lnTo>
                <a:lnTo>
                  <a:pt x="22" y="108"/>
                </a:lnTo>
                <a:lnTo>
                  <a:pt x="22" y="106"/>
                </a:lnTo>
                <a:lnTo>
                  <a:pt x="24" y="104"/>
                </a:lnTo>
                <a:lnTo>
                  <a:pt x="24" y="100"/>
                </a:lnTo>
                <a:lnTo>
                  <a:pt x="24" y="98"/>
                </a:lnTo>
                <a:lnTo>
                  <a:pt x="22" y="96"/>
                </a:lnTo>
                <a:lnTo>
                  <a:pt x="22" y="94"/>
                </a:lnTo>
                <a:lnTo>
                  <a:pt x="24" y="92"/>
                </a:lnTo>
                <a:lnTo>
                  <a:pt x="26" y="92"/>
                </a:lnTo>
                <a:lnTo>
                  <a:pt x="28" y="92"/>
                </a:lnTo>
                <a:lnTo>
                  <a:pt x="30" y="90"/>
                </a:lnTo>
                <a:lnTo>
                  <a:pt x="34" y="80"/>
                </a:lnTo>
                <a:lnTo>
                  <a:pt x="34" y="78"/>
                </a:lnTo>
                <a:lnTo>
                  <a:pt x="32" y="76"/>
                </a:lnTo>
                <a:lnTo>
                  <a:pt x="32" y="74"/>
                </a:lnTo>
                <a:lnTo>
                  <a:pt x="30" y="74"/>
                </a:lnTo>
                <a:lnTo>
                  <a:pt x="30" y="72"/>
                </a:lnTo>
                <a:lnTo>
                  <a:pt x="32" y="70"/>
                </a:lnTo>
                <a:lnTo>
                  <a:pt x="34" y="70"/>
                </a:lnTo>
                <a:lnTo>
                  <a:pt x="38" y="62"/>
                </a:lnTo>
                <a:lnTo>
                  <a:pt x="44" y="50"/>
                </a:lnTo>
                <a:lnTo>
                  <a:pt x="48" y="42"/>
                </a:lnTo>
                <a:lnTo>
                  <a:pt x="48" y="36"/>
                </a:lnTo>
                <a:lnTo>
                  <a:pt x="48" y="34"/>
                </a:lnTo>
                <a:lnTo>
                  <a:pt x="48" y="32"/>
                </a:lnTo>
                <a:lnTo>
                  <a:pt x="46" y="28"/>
                </a:lnTo>
                <a:lnTo>
                  <a:pt x="44" y="26"/>
                </a:lnTo>
                <a:lnTo>
                  <a:pt x="44" y="24"/>
                </a:lnTo>
                <a:lnTo>
                  <a:pt x="44" y="22"/>
                </a:lnTo>
                <a:lnTo>
                  <a:pt x="46" y="20"/>
                </a:lnTo>
                <a:lnTo>
                  <a:pt x="48" y="18"/>
                </a:lnTo>
                <a:lnTo>
                  <a:pt x="52" y="16"/>
                </a:lnTo>
                <a:lnTo>
                  <a:pt x="56" y="12"/>
                </a:lnTo>
                <a:lnTo>
                  <a:pt x="58" y="10"/>
                </a:lnTo>
                <a:lnTo>
                  <a:pt x="58" y="8"/>
                </a:lnTo>
                <a:lnTo>
                  <a:pt x="58" y="6"/>
                </a:lnTo>
                <a:lnTo>
                  <a:pt x="60" y="4"/>
                </a:lnTo>
                <a:lnTo>
                  <a:pt x="62" y="4"/>
                </a:lnTo>
                <a:lnTo>
                  <a:pt x="62" y="6"/>
                </a:lnTo>
                <a:lnTo>
                  <a:pt x="62" y="8"/>
                </a:lnTo>
                <a:lnTo>
                  <a:pt x="64" y="8"/>
                </a:lnTo>
                <a:lnTo>
                  <a:pt x="72" y="8"/>
                </a:lnTo>
                <a:lnTo>
                  <a:pt x="74" y="8"/>
                </a:lnTo>
                <a:lnTo>
                  <a:pt x="74" y="10"/>
                </a:lnTo>
                <a:lnTo>
                  <a:pt x="78" y="10"/>
                </a:lnTo>
                <a:lnTo>
                  <a:pt x="80" y="10"/>
                </a:lnTo>
                <a:lnTo>
                  <a:pt x="82" y="6"/>
                </a:lnTo>
                <a:lnTo>
                  <a:pt x="82" y="4"/>
                </a:lnTo>
                <a:lnTo>
                  <a:pt x="84" y="2"/>
                </a:lnTo>
                <a:lnTo>
                  <a:pt x="86" y="0"/>
                </a:lnTo>
                <a:lnTo>
                  <a:pt x="92" y="0"/>
                </a:lnTo>
                <a:lnTo>
                  <a:pt x="96" y="0"/>
                </a:lnTo>
                <a:lnTo>
                  <a:pt x="100" y="2"/>
                </a:lnTo>
                <a:lnTo>
                  <a:pt x="106" y="8"/>
                </a:lnTo>
                <a:lnTo>
                  <a:pt x="110" y="12"/>
                </a:lnTo>
                <a:lnTo>
                  <a:pt x="110" y="14"/>
                </a:lnTo>
                <a:lnTo>
                  <a:pt x="112" y="14"/>
                </a:lnTo>
                <a:lnTo>
                  <a:pt x="112" y="16"/>
                </a:lnTo>
                <a:lnTo>
                  <a:pt x="118" y="22"/>
                </a:lnTo>
                <a:lnTo>
                  <a:pt x="120" y="24"/>
                </a:lnTo>
                <a:lnTo>
                  <a:pt x="122" y="26"/>
                </a:lnTo>
                <a:lnTo>
                  <a:pt x="124" y="26"/>
                </a:lnTo>
                <a:lnTo>
                  <a:pt x="130" y="34"/>
                </a:lnTo>
                <a:lnTo>
                  <a:pt x="134" y="42"/>
                </a:lnTo>
                <a:lnTo>
                  <a:pt x="136" y="42"/>
                </a:lnTo>
                <a:lnTo>
                  <a:pt x="136" y="44"/>
                </a:lnTo>
                <a:lnTo>
                  <a:pt x="134" y="46"/>
                </a:lnTo>
                <a:lnTo>
                  <a:pt x="134" y="48"/>
                </a:lnTo>
                <a:lnTo>
                  <a:pt x="134" y="50"/>
                </a:lnTo>
                <a:lnTo>
                  <a:pt x="132" y="56"/>
                </a:lnTo>
                <a:lnTo>
                  <a:pt x="134" y="56"/>
                </a:lnTo>
                <a:lnTo>
                  <a:pt x="138" y="56"/>
                </a:lnTo>
                <a:lnTo>
                  <a:pt x="140" y="56"/>
                </a:lnTo>
                <a:lnTo>
                  <a:pt x="144" y="54"/>
                </a:lnTo>
                <a:lnTo>
                  <a:pt x="150" y="50"/>
                </a:lnTo>
                <a:lnTo>
                  <a:pt x="152" y="46"/>
                </a:lnTo>
                <a:lnTo>
                  <a:pt x="152" y="44"/>
                </a:lnTo>
                <a:lnTo>
                  <a:pt x="154" y="44"/>
                </a:lnTo>
                <a:lnTo>
                  <a:pt x="158" y="46"/>
                </a:lnTo>
                <a:lnTo>
                  <a:pt x="162" y="52"/>
                </a:lnTo>
                <a:lnTo>
                  <a:pt x="164" y="56"/>
                </a:lnTo>
                <a:lnTo>
                  <a:pt x="166" y="58"/>
                </a:lnTo>
                <a:lnTo>
                  <a:pt x="168" y="66"/>
                </a:lnTo>
                <a:lnTo>
                  <a:pt x="170" y="68"/>
                </a:lnTo>
                <a:lnTo>
                  <a:pt x="176" y="72"/>
                </a:lnTo>
                <a:lnTo>
                  <a:pt x="180" y="72"/>
                </a:lnTo>
                <a:lnTo>
                  <a:pt x="182" y="74"/>
                </a:lnTo>
                <a:lnTo>
                  <a:pt x="184" y="76"/>
                </a:lnTo>
                <a:lnTo>
                  <a:pt x="186" y="78"/>
                </a:lnTo>
                <a:lnTo>
                  <a:pt x="188" y="78"/>
                </a:lnTo>
                <a:lnTo>
                  <a:pt x="188" y="80"/>
                </a:lnTo>
                <a:lnTo>
                  <a:pt x="190" y="80"/>
                </a:lnTo>
                <a:lnTo>
                  <a:pt x="192" y="80"/>
                </a:lnTo>
                <a:lnTo>
                  <a:pt x="194" y="80"/>
                </a:lnTo>
                <a:lnTo>
                  <a:pt x="198" y="80"/>
                </a:lnTo>
                <a:lnTo>
                  <a:pt x="204" y="88"/>
                </a:lnTo>
                <a:lnTo>
                  <a:pt x="204" y="94"/>
                </a:lnTo>
                <a:lnTo>
                  <a:pt x="206" y="94"/>
                </a:lnTo>
                <a:lnTo>
                  <a:pt x="208" y="96"/>
                </a:lnTo>
                <a:lnTo>
                  <a:pt x="208" y="98"/>
                </a:lnTo>
                <a:lnTo>
                  <a:pt x="212" y="100"/>
                </a:lnTo>
                <a:lnTo>
                  <a:pt x="216" y="106"/>
                </a:lnTo>
                <a:lnTo>
                  <a:pt x="220" y="106"/>
                </a:lnTo>
                <a:lnTo>
                  <a:pt x="222" y="106"/>
                </a:lnTo>
                <a:lnTo>
                  <a:pt x="228" y="110"/>
                </a:lnTo>
                <a:lnTo>
                  <a:pt x="230" y="112"/>
                </a:lnTo>
                <a:lnTo>
                  <a:pt x="236" y="118"/>
                </a:lnTo>
                <a:lnTo>
                  <a:pt x="238" y="124"/>
                </a:lnTo>
                <a:lnTo>
                  <a:pt x="240" y="128"/>
                </a:lnTo>
                <a:lnTo>
                  <a:pt x="238" y="130"/>
                </a:lnTo>
                <a:lnTo>
                  <a:pt x="238" y="134"/>
                </a:lnTo>
                <a:lnTo>
                  <a:pt x="242" y="136"/>
                </a:lnTo>
                <a:lnTo>
                  <a:pt x="242" y="138"/>
                </a:lnTo>
                <a:lnTo>
                  <a:pt x="244" y="140"/>
                </a:lnTo>
                <a:lnTo>
                  <a:pt x="248" y="146"/>
                </a:lnTo>
                <a:lnTo>
                  <a:pt x="250" y="146"/>
                </a:lnTo>
                <a:lnTo>
                  <a:pt x="254" y="148"/>
                </a:lnTo>
                <a:lnTo>
                  <a:pt x="258" y="150"/>
                </a:lnTo>
                <a:lnTo>
                  <a:pt x="260" y="152"/>
                </a:lnTo>
                <a:lnTo>
                  <a:pt x="262" y="154"/>
                </a:lnTo>
                <a:lnTo>
                  <a:pt x="258" y="158"/>
                </a:lnTo>
                <a:lnTo>
                  <a:pt x="254" y="162"/>
                </a:lnTo>
                <a:lnTo>
                  <a:pt x="250" y="166"/>
                </a:lnTo>
                <a:lnTo>
                  <a:pt x="244" y="172"/>
                </a:lnTo>
                <a:lnTo>
                  <a:pt x="242" y="172"/>
                </a:lnTo>
                <a:lnTo>
                  <a:pt x="240" y="172"/>
                </a:lnTo>
                <a:lnTo>
                  <a:pt x="240" y="174"/>
                </a:lnTo>
                <a:lnTo>
                  <a:pt x="238" y="176"/>
                </a:lnTo>
                <a:lnTo>
                  <a:pt x="238" y="178"/>
                </a:lnTo>
                <a:lnTo>
                  <a:pt x="238" y="180"/>
                </a:lnTo>
                <a:lnTo>
                  <a:pt x="238" y="182"/>
                </a:lnTo>
                <a:lnTo>
                  <a:pt x="238" y="184"/>
                </a:lnTo>
                <a:lnTo>
                  <a:pt x="238" y="186"/>
                </a:lnTo>
                <a:lnTo>
                  <a:pt x="238" y="190"/>
                </a:lnTo>
                <a:lnTo>
                  <a:pt x="238" y="192"/>
                </a:lnTo>
                <a:lnTo>
                  <a:pt x="236" y="194"/>
                </a:lnTo>
                <a:lnTo>
                  <a:pt x="236" y="196"/>
                </a:lnTo>
                <a:lnTo>
                  <a:pt x="236" y="198"/>
                </a:lnTo>
                <a:lnTo>
                  <a:pt x="234" y="200"/>
                </a:lnTo>
                <a:lnTo>
                  <a:pt x="234" y="202"/>
                </a:lnTo>
                <a:lnTo>
                  <a:pt x="234" y="204"/>
                </a:lnTo>
                <a:lnTo>
                  <a:pt x="234" y="206"/>
                </a:lnTo>
                <a:lnTo>
                  <a:pt x="240" y="210"/>
                </a:lnTo>
                <a:lnTo>
                  <a:pt x="242" y="210"/>
                </a:lnTo>
                <a:lnTo>
                  <a:pt x="240" y="210"/>
                </a:lnTo>
                <a:lnTo>
                  <a:pt x="238" y="210"/>
                </a:lnTo>
                <a:lnTo>
                  <a:pt x="238" y="212"/>
                </a:lnTo>
                <a:lnTo>
                  <a:pt x="236" y="214"/>
                </a:lnTo>
                <a:lnTo>
                  <a:pt x="234" y="216"/>
                </a:lnTo>
                <a:lnTo>
                  <a:pt x="234" y="218"/>
                </a:lnTo>
                <a:lnTo>
                  <a:pt x="232" y="222"/>
                </a:lnTo>
                <a:lnTo>
                  <a:pt x="232" y="228"/>
                </a:lnTo>
                <a:lnTo>
                  <a:pt x="230" y="228"/>
                </a:lnTo>
                <a:lnTo>
                  <a:pt x="228" y="228"/>
                </a:lnTo>
                <a:lnTo>
                  <a:pt x="222" y="234"/>
                </a:lnTo>
                <a:lnTo>
                  <a:pt x="220" y="238"/>
                </a:lnTo>
                <a:lnTo>
                  <a:pt x="218" y="242"/>
                </a:lnTo>
                <a:lnTo>
                  <a:pt x="214" y="246"/>
                </a:lnTo>
                <a:lnTo>
                  <a:pt x="210" y="246"/>
                </a:lnTo>
                <a:lnTo>
                  <a:pt x="206" y="250"/>
                </a:lnTo>
                <a:lnTo>
                  <a:pt x="200" y="254"/>
                </a:lnTo>
                <a:lnTo>
                  <a:pt x="198" y="256"/>
                </a:lnTo>
                <a:lnTo>
                  <a:pt x="198" y="258"/>
                </a:lnTo>
                <a:lnTo>
                  <a:pt x="196" y="258"/>
                </a:lnTo>
                <a:lnTo>
                  <a:pt x="194" y="258"/>
                </a:lnTo>
                <a:lnTo>
                  <a:pt x="194" y="256"/>
                </a:lnTo>
                <a:lnTo>
                  <a:pt x="194" y="254"/>
                </a:lnTo>
                <a:lnTo>
                  <a:pt x="190" y="252"/>
                </a:lnTo>
                <a:lnTo>
                  <a:pt x="192" y="258"/>
                </a:lnTo>
                <a:lnTo>
                  <a:pt x="192" y="260"/>
                </a:lnTo>
                <a:lnTo>
                  <a:pt x="188" y="260"/>
                </a:lnTo>
                <a:lnTo>
                  <a:pt x="178" y="264"/>
                </a:lnTo>
                <a:lnTo>
                  <a:pt x="176" y="264"/>
                </a:lnTo>
                <a:lnTo>
                  <a:pt x="170" y="266"/>
                </a:lnTo>
                <a:lnTo>
                  <a:pt x="168" y="268"/>
                </a:lnTo>
                <a:lnTo>
                  <a:pt x="164" y="270"/>
                </a:lnTo>
                <a:lnTo>
                  <a:pt x="160" y="270"/>
                </a:lnTo>
                <a:lnTo>
                  <a:pt x="158" y="270"/>
                </a:lnTo>
                <a:lnTo>
                  <a:pt x="154" y="268"/>
                </a:lnTo>
                <a:lnTo>
                  <a:pt x="152" y="266"/>
                </a:lnTo>
                <a:lnTo>
                  <a:pt x="150" y="266"/>
                </a:lnTo>
                <a:lnTo>
                  <a:pt x="148" y="266"/>
                </a:lnTo>
                <a:lnTo>
                  <a:pt x="144" y="268"/>
                </a:lnTo>
                <a:lnTo>
                  <a:pt x="142" y="266"/>
                </a:lnTo>
                <a:lnTo>
                  <a:pt x="142" y="264"/>
                </a:lnTo>
                <a:lnTo>
                  <a:pt x="140" y="264"/>
                </a:lnTo>
                <a:lnTo>
                  <a:pt x="140" y="262"/>
                </a:lnTo>
                <a:lnTo>
                  <a:pt x="136" y="262"/>
                </a:lnTo>
                <a:lnTo>
                  <a:pt x="128" y="260"/>
                </a:lnTo>
                <a:lnTo>
                  <a:pt x="124" y="260"/>
                </a:lnTo>
                <a:lnTo>
                  <a:pt x="120" y="260"/>
                </a:lnTo>
                <a:lnTo>
                  <a:pt x="118" y="260"/>
                </a:lnTo>
                <a:lnTo>
                  <a:pt x="114" y="262"/>
                </a:lnTo>
                <a:lnTo>
                  <a:pt x="112" y="262"/>
                </a:lnTo>
                <a:lnTo>
                  <a:pt x="110" y="264"/>
                </a:lnTo>
                <a:lnTo>
                  <a:pt x="108" y="264"/>
                </a:lnTo>
                <a:lnTo>
                  <a:pt x="106" y="264"/>
                </a:lnTo>
                <a:lnTo>
                  <a:pt x="102" y="266"/>
                </a:lnTo>
                <a:lnTo>
                  <a:pt x="94" y="264"/>
                </a:lnTo>
                <a:lnTo>
                  <a:pt x="88" y="260"/>
                </a:lnTo>
                <a:lnTo>
                  <a:pt x="90" y="260"/>
                </a:lnTo>
                <a:lnTo>
                  <a:pt x="92" y="258"/>
                </a:lnTo>
                <a:lnTo>
                  <a:pt x="90" y="258"/>
                </a:lnTo>
                <a:lnTo>
                  <a:pt x="82" y="256"/>
                </a:lnTo>
                <a:lnTo>
                  <a:pt x="70" y="252"/>
                </a:lnTo>
                <a:lnTo>
                  <a:pt x="68" y="250"/>
                </a:lnTo>
                <a:lnTo>
                  <a:pt x="60" y="238"/>
                </a:lnTo>
                <a:lnTo>
                  <a:pt x="56" y="238"/>
                </a:lnTo>
                <a:lnTo>
                  <a:pt x="44" y="236"/>
                </a:lnTo>
                <a:lnTo>
                  <a:pt x="38" y="236"/>
                </a:lnTo>
                <a:lnTo>
                  <a:pt x="32" y="236"/>
                </a:lnTo>
                <a:lnTo>
                  <a:pt x="24" y="238"/>
                </a:lnTo>
                <a:lnTo>
                  <a:pt x="24" y="236"/>
                </a:lnTo>
                <a:lnTo>
                  <a:pt x="22" y="232"/>
                </a:lnTo>
                <a:lnTo>
                  <a:pt x="22" y="230"/>
                </a:lnTo>
                <a:lnTo>
                  <a:pt x="20" y="228"/>
                </a:lnTo>
                <a:lnTo>
                  <a:pt x="14" y="220"/>
                </a:lnTo>
                <a:lnTo>
                  <a:pt x="10" y="216"/>
                </a:lnTo>
                <a:lnTo>
                  <a:pt x="8" y="214"/>
                </a:lnTo>
                <a:lnTo>
                  <a:pt x="6" y="210"/>
                </a:lnTo>
                <a:lnTo>
                  <a:pt x="4" y="208"/>
                </a:lnTo>
                <a:lnTo>
                  <a:pt x="2" y="208"/>
                </a:lnTo>
                <a:lnTo>
                  <a:pt x="0" y="206"/>
                </a:lnTo>
                <a:lnTo>
                  <a:pt x="0" y="204"/>
                </a:lnTo>
                <a:lnTo>
                  <a:pt x="0" y="202"/>
                </a:lnTo>
                <a:lnTo>
                  <a:pt x="0" y="200"/>
                </a:lnTo>
                <a:lnTo>
                  <a:pt x="0" y="194"/>
                </a:lnTo>
                <a:lnTo>
                  <a:pt x="2" y="186"/>
                </a:lnTo>
                <a:lnTo>
                  <a:pt x="2" y="184"/>
                </a:lnTo>
                <a:lnTo>
                  <a:pt x="2" y="182"/>
                </a:lnTo>
                <a:lnTo>
                  <a:pt x="4" y="180"/>
                </a:lnTo>
                <a:lnTo>
                  <a:pt x="4" y="178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7" name="Group 137"/>
          <p:cNvGrpSpPr>
            <a:grpSpLocks/>
          </p:cNvGrpSpPr>
          <p:nvPr/>
        </p:nvGrpSpPr>
        <p:grpSpPr bwMode="auto">
          <a:xfrm>
            <a:off x="4224965" y="5682016"/>
            <a:ext cx="158750" cy="76200"/>
            <a:chOff x="2820" y="3778"/>
            <a:chExt cx="132" cy="60"/>
          </a:xfrm>
        </p:grpSpPr>
        <p:sp>
          <p:nvSpPr>
            <p:cNvPr id="29" name="Freeform 138"/>
            <p:cNvSpPr>
              <a:spLocks/>
            </p:cNvSpPr>
            <p:nvPr/>
          </p:nvSpPr>
          <p:spPr bwMode="auto">
            <a:xfrm>
              <a:off x="2876" y="3778"/>
              <a:ext cx="14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2" y="2"/>
                </a:cxn>
                <a:cxn ang="0">
                  <a:pos x="14" y="4"/>
                </a:cxn>
                <a:cxn ang="0">
                  <a:pos x="12" y="6"/>
                </a:cxn>
                <a:cxn ang="0">
                  <a:pos x="10" y="6"/>
                </a:cxn>
                <a:cxn ang="0">
                  <a:pos x="8" y="6"/>
                </a:cxn>
                <a:cxn ang="0">
                  <a:pos x="8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4" h="6">
                  <a:moveTo>
                    <a:pt x="0" y="0"/>
                  </a:moveTo>
                  <a:lnTo>
                    <a:pt x="4" y="0"/>
                  </a:lnTo>
                  <a:lnTo>
                    <a:pt x="8" y="2"/>
                  </a:lnTo>
                  <a:lnTo>
                    <a:pt x="12" y="2"/>
                  </a:lnTo>
                  <a:lnTo>
                    <a:pt x="14" y="4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C5CE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0" name="Freeform 139"/>
            <p:cNvSpPr>
              <a:spLocks/>
            </p:cNvSpPr>
            <p:nvPr/>
          </p:nvSpPr>
          <p:spPr bwMode="auto">
            <a:xfrm>
              <a:off x="2856" y="3778"/>
              <a:ext cx="10" cy="8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6" y="8"/>
                </a:cxn>
                <a:cxn ang="0">
                  <a:pos x="2" y="6"/>
                </a:cxn>
                <a:cxn ang="0">
                  <a:pos x="0" y="6"/>
                </a:cxn>
              </a:cxnLst>
              <a:rect l="0" t="0" r="r" b="b"/>
              <a:pathLst>
                <a:path w="10" h="8">
                  <a:moveTo>
                    <a:pt x="0" y="6"/>
                  </a:moveTo>
                  <a:lnTo>
                    <a:pt x="0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8C5CE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1" name="Freeform 140"/>
            <p:cNvSpPr>
              <a:spLocks/>
            </p:cNvSpPr>
            <p:nvPr/>
          </p:nvSpPr>
          <p:spPr bwMode="auto">
            <a:xfrm>
              <a:off x="2872" y="3782"/>
              <a:ext cx="80" cy="56"/>
            </a:xfrm>
            <a:custGeom>
              <a:avLst/>
              <a:gdLst/>
              <a:ahLst/>
              <a:cxnLst>
                <a:cxn ang="0">
                  <a:pos x="6" y="50"/>
                </a:cxn>
                <a:cxn ang="0">
                  <a:pos x="10" y="30"/>
                </a:cxn>
                <a:cxn ang="0">
                  <a:pos x="26" y="22"/>
                </a:cxn>
                <a:cxn ang="0">
                  <a:pos x="28" y="28"/>
                </a:cxn>
                <a:cxn ang="0">
                  <a:pos x="28" y="18"/>
                </a:cxn>
                <a:cxn ang="0">
                  <a:pos x="28" y="14"/>
                </a:cxn>
                <a:cxn ang="0">
                  <a:pos x="34" y="12"/>
                </a:cxn>
                <a:cxn ang="0">
                  <a:pos x="30" y="6"/>
                </a:cxn>
                <a:cxn ang="0">
                  <a:pos x="38" y="2"/>
                </a:cxn>
                <a:cxn ang="0">
                  <a:pos x="46" y="4"/>
                </a:cxn>
                <a:cxn ang="0">
                  <a:pos x="52" y="2"/>
                </a:cxn>
                <a:cxn ang="0">
                  <a:pos x="60" y="6"/>
                </a:cxn>
                <a:cxn ang="0">
                  <a:pos x="54" y="12"/>
                </a:cxn>
                <a:cxn ang="0">
                  <a:pos x="50" y="10"/>
                </a:cxn>
                <a:cxn ang="0">
                  <a:pos x="54" y="18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0" y="14"/>
                </a:cxn>
                <a:cxn ang="0">
                  <a:pos x="64" y="8"/>
                </a:cxn>
                <a:cxn ang="0">
                  <a:pos x="78" y="10"/>
                </a:cxn>
                <a:cxn ang="0">
                  <a:pos x="78" y="18"/>
                </a:cxn>
                <a:cxn ang="0">
                  <a:pos x="72" y="18"/>
                </a:cxn>
                <a:cxn ang="0">
                  <a:pos x="66" y="18"/>
                </a:cxn>
                <a:cxn ang="0">
                  <a:pos x="72" y="20"/>
                </a:cxn>
                <a:cxn ang="0">
                  <a:pos x="80" y="22"/>
                </a:cxn>
                <a:cxn ang="0">
                  <a:pos x="70" y="28"/>
                </a:cxn>
                <a:cxn ang="0">
                  <a:pos x="62" y="28"/>
                </a:cxn>
                <a:cxn ang="0">
                  <a:pos x="62" y="30"/>
                </a:cxn>
                <a:cxn ang="0">
                  <a:pos x="56" y="32"/>
                </a:cxn>
                <a:cxn ang="0">
                  <a:pos x="52" y="36"/>
                </a:cxn>
                <a:cxn ang="0">
                  <a:pos x="34" y="32"/>
                </a:cxn>
                <a:cxn ang="0">
                  <a:pos x="32" y="28"/>
                </a:cxn>
                <a:cxn ang="0">
                  <a:pos x="32" y="32"/>
                </a:cxn>
                <a:cxn ang="0">
                  <a:pos x="44" y="38"/>
                </a:cxn>
                <a:cxn ang="0">
                  <a:pos x="40" y="44"/>
                </a:cxn>
                <a:cxn ang="0">
                  <a:pos x="34" y="42"/>
                </a:cxn>
                <a:cxn ang="0">
                  <a:pos x="28" y="42"/>
                </a:cxn>
                <a:cxn ang="0">
                  <a:pos x="20" y="38"/>
                </a:cxn>
                <a:cxn ang="0">
                  <a:pos x="20" y="38"/>
                </a:cxn>
                <a:cxn ang="0">
                  <a:pos x="24" y="42"/>
                </a:cxn>
                <a:cxn ang="0">
                  <a:pos x="24" y="52"/>
                </a:cxn>
                <a:cxn ang="0">
                  <a:pos x="16" y="46"/>
                </a:cxn>
                <a:cxn ang="0">
                  <a:pos x="10" y="50"/>
                </a:cxn>
                <a:cxn ang="0">
                  <a:pos x="12" y="56"/>
                </a:cxn>
              </a:cxnLst>
              <a:rect l="0" t="0" r="r" b="b"/>
              <a:pathLst>
                <a:path w="80" h="56">
                  <a:moveTo>
                    <a:pt x="12" y="56"/>
                  </a:moveTo>
                  <a:lnTo>
                    <a:pt x="10" y="56"/>
                  </a:lnTo>
                  <a:lnTo>
                    <a:pt x="6" y="50"/>
                  </a:lnTo>
                  <a:lnTo>
                    <a:pt x="0" y="44"/>
                  </a:lnTo>
                  <a:lnTo>
                    <a:pt x="8" y="34"/>
                  </a:lnTo>
                  <a:lnTo>
                    <a:pt x="10" y="30"/>
                  </a:lnTo>
                  <a:lnTo>
                    <a:pt x="20" y="24"/>
                  </a:lnTo>
                  <a:lnTo>
                    <a:pt x="22" y="22"/>
                  </a:lnTo>
                  <a:lnTo>
                    <a:pt x="26" y="22"/>
                  </a:lnTo>
                  <a:lnTo>
                    <a:pt x="28" y="22"/>
                  </a:lnTo>
                  <a:lnTo>
                    <a:pt x="30" y="26"/>
                  </a:lnTo>
                  <a:lnTo>
                    <a:pt x="28" y="28"/>
                  </a:lnTo>
                  <a:lnTo>
                    <a:pt x="30" y="28"/>
                  </a:lnTo>
                  <a:lnTo>
                    <a:pt x="30" y="22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30" y="16"/>
                  </a:lnTo>
                  <a:lnTo>
                    <a:pt x="32" y="16"/>
                  </a:lnTo>
                  <a:lnTo>
                    <a:pt x="34" y="12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30" y="6"/>
                  </a:lnTo>
                  <a:lnTo>
                    <a:pt x="34" y="6"/>
                  </a:lnTo>
                  <a:lnTo>
                    <a:pt x="40" y="6"/>
                  </a:lnTo>
                  <a:lnTo>
                    <a:pt x="38" y="2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6" y="2"/>
                  </a:lnTo>
                  <a:lnTo>
                    <a:pt x="58" y="4"/>
                  </a:lnTo>
                  <a:lnTo>
                    <a:pt x="60" y="6"/>
                  </a:lnTo>
                  <a:lnTo>
                    <a:pt x="60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0" y="10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4" y="18"/>
                  </a:lnTo>
                  <a:lnTo>
                    <a:pt x="56" y="18"/>
                  </a:lnTo>
                  <a:lnTo>
                    <a:pt x="58" y="18"/>
                  </a:lnTo>
                  <a:lnTo>
                    <a:pt x="60" y="20"/>
                  </a:lnTo>
                  <a:lnTo>
                    <a:pt x="60" y="22"/>
                  </a:lnTo>
                  <a:lnTo>
                    <a:pt x="62" y="22"/>
                  </a:lnTo>
                  <a:lnTo>
                    <a:pt x="64" y="20"/>
                  </a:lnTo>
                  <a:lnTo>
                    <a:pt x="64" y="18"/>
                  </a:lnTo>
                  <a:lnTo>
                    <a:pt x="62" y="16"/>
                  </a:lnTo>
                  <a:lnTo>
                    <a:pt x="60" y="14"/>
                  </a:lnTo>
                  <a:lnTo>
                    <a:pt x="58" y="14"/>
                  </a:lnTo>
                  <a:lnTo>
                    <a:pt x="62" y="10"/>
                  </a:lnTo>
                  <a:lnTo>
                    <a:pt x="64" y="8"/>
                  </a:lnTo>
                  <a:lnTo>
                    <a:pt x="74" y="8"/>
                  </a:lnTo>
                  <a:lnTo>
                    <a:pt x="76" y="8"/>
                  </a:lnTo>
                  <a:lnTo>
                    <a:pt x="78" y="10"/>
                  </a:lnTo>
                  <a:lnTo>
                    <a:pt x="80" y="16"/>
                  </a:lnTo>
                  <a:lnTo>
                    <a:pt x="80" y="18"/>
                  </a:lnTo>
                  <a:lnTo>
                    <a:pt x="78" y="18"/>
                  </a:lnTo>
                  <a:lnTo>
                    <a:pt x="76" y="18"/>
                  </a:lnTo>
                  <a:lnTo>
                    <a:pt x="74" y="18"/>
                  </a:lnTo>
                  <a:lnTo>
                    <a:pt x="72" y="18"/>
                  </a:lnTo>
                  <a:lnTo>
                    <a:pt x="72" y="16"/>
                  </a:lnTo>
                  <a:lnTo>
                    <a:pt x="70" y="16"/>
                  </a:lnTo>
                  <a:lnTo>
                    <a:pt x="66" y="18"/>
                  </a:lnTo>
                  <a:lnTo>
                    <a:pt x="68" y="20"/>
                  </a:lnTo>
                  <a:lnTo>
                    <a:pt x="70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8" y="22"/>
                  </a:lnTo>
                  <a:lnTo>
                    <a:pt x="80" y="22"/>
                  </a:lnTo>
                  <a:lnTo>
                    <a:pt x="80" y="26"/>
                  </a:lnTo>
                  <a:lnTo>
                    <a:pt x="76" y="28"/>
                  </a:lnTo>
                  <a:lnTo>
                    <a:pt x="70" y="28"/>
                  </a:lnTo>
                  <a:lnTo>
                    <a:pt x="68" y="28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0" y="28"/>
                  </a:lnTo>
                  <a:lnTo>
                    <a:pt x="60" y="30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54" y="32"/>
                  </a:lnTo>
                  <a:lnTo>
                    <a:pt x="56" y="32"/>
                  </a:lnTo>
                  <a:lnTo>
                    <a:pt x="58" y="32"/>
                  </a:lnTo>
                  <a:lnTo>
                    <a:pt x="60" y="32"/>
                  </a:lnTo>
                  <a:lnTo>
                    <a:pt x="52" y="36"/>
                  </a:lnTo>
                  <a:lnTo>
                    <a:pt x="44" y="36"/>
                  </a:lnTo>
                  <a:lnTo>
                    <a:pt x="38" y="34"/>
                  </a:lnTo>
                  <a:lnTo>
                    <a:pt x="34" y="32"/>
                  </a:lnTo>
                  <a:lnTo>
                    <a:pt x="34" y="30"/>
                  </a:lnTo>
                  <a:lnTo>
                    <a:pt x="32" y="30"/>
                  </a:lnTo>
                  <a:lnTo>
                    <a:pt x="32" y="28"/>
                  </a:lnTo>
                  <a:lnTo>
                    <a:pt x="32" y="30"/>
                  </a:lnTo>
                  <a:lnTo>
                    <a:pt x="30" y="32"/>
                  </a:lnTo>
                  <a:lnTo>
                    <a:pt x="32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4" y="38"/>
                  </a:lnTo>
                  <a:lnTo>
                    <a:pt x="44" y="40"/>
                  </a:lnTo>
                  <a:lnTo>
                    <a:pt x="42" y="44"/>
                  </a:lnTo>
                  <a:lnTo>
                    <a:pt x="40" y="44"/>
                  </a:lnTo>
                  <a:lnTo>
                    <a:pt x="38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4"/>
                  </a:lnTo>
                  <a:lnTo>
                    <a:pt x="30" y="44"/>
                  </a:lnTo>
                  <a:lnTo>
                    <a:pt x="28" y="42"/>
                  </a:lnTo>
                  <a:lnTo>
                    <a:pt x="26" y="40"/>
                  </a:lnTo>
                  <a:lnTo>
                    <a:pt x="24" y="38"/>
                  </a:lnTo>
                  <a:lnTo>
                    <a:pt x="20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20" y="38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4" y="42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24" y="52"/>
                  </a:lnTo>
                  <a:lnTo>
                    <a:pt x="20" y="50"/>
                  </a:lnTo>
                  <a:lnTo>
                    <a:pt x="18" y="48"/>
                  </a:lnTo>
                  <a:lnTo>
                    <a:pt x="16" y="46"/>
                  </a:lnTo>
                  <a:lnTo>
                    <a:pt x="12" y="44"/>
                  </a:lnTo>
                  <a:lnTo>
                    <a:pt x="10" y="46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4" y="52"/>
                  </a:lnTo>
                  <a:lnTo>
                    <a:pt x="12" y="56"/>
                  </a:lnTo>
                  <a:close/>
                </a:path>
              </a:pathLst>
            </a:custGeom>
            <a:solidFill>
              <a:srgbClr val="E8C5CE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2" name="Freeform 141"/>
            <p:cNvSpPr>
              <a:spLocks/>
            </p:cNvSpPr>
            <p:nvPr/>
          </p:nvSpPr>
          <p:spPr bwMode="auto">
            <a:xfrm>
              <a:off x="2824" y="3782"/>
              <a:ext cx="74" cy="48"/>
            </a:xfrm>
            <a:custGeom>
              <a:avLst/>
              <a:gdLst/>
              <a:ahLst/>
              <a:cxnLst>
                <a:cxn ang="0">
                  <a:pos x="28" y="24"/>
                </a:cxn>
                <a:cxn ang="0">
                  <a:pos x="32" y="24"/>
                </a:cxn>
                <a:cxn ang="0">
                  <a:pos x="34" y="20"/>
                </a:cxn>
                <a:cxn ang="0">
                  <a:pos x="26" y="20"/>
                </a:cxn>
                <a:cxn ang="0">
                  <a:pos x="20" y="22"/>
                </a:cxn>
                <a:cxn ang="0">
                  <a:pos x="16" y="18"/>
                </a:cxn>
                <a:cxn ang="0">
                  <a:pos x="20" y="18"/>
                </a:cxn>
                <a:cxn ang="0">
                  <a:pos x="24" y="18"/>
                </a:cxn>
                <a:cxn ang="0">
                  <a:pos x="28" y="18"/>
                </a:cxn>
                <a:cxn ang="0">
                  <a:pos x="36" y="18"/>
                </a:cxn>
                <a:cxn ang="0">
                  <a:pos x="26" y="10"/>
                </a:cxn>
                <a:cxn ang="0">
                  <a:pos x="28" y="6"/>
                </a:cxn>
                <a:cxn ang="0">
                  <a:pos x="24" y="4"/>
                </a:cxn>
                <a:cxn ang="0">
                  <a:pos x="20" y="2"/>
                </a:cxn>
                <a:cxn ang="0">
                  <a:pos x="24" y="2"/>
                </a:cxn>
                <a:cxn ang="0">
                  <a:pos x="30" y="6"/>
                </a:cxn>
                <a:cxn ang="0">
                  <a:pos x="34" y="8"/>
                </a:cxn>
                <a:cxn ang="0">
                  <a:pos x="42" y="8"/>
                </a:cxn>
                <a:cxn ang="0">
                  <a:pos x="40" y="4"/>
                </a:cxn>
                <a:cxn ang="0">
                  <a:pos x="48" y="2"/>
                </a:cxn>
                <a:cxn ang="0">
                  <a:pos x="50" y="6"/>
                </a:cxn>
                <a:cxn ang="0">
                  <a:pos x="62" y="8"/>
                </a:cxn>
                <a:cxn ang="0">
                  <a:pos x="66" y="6"/>
                </a:cxn>
                <a:cxn ang="0">
                  <a:pos x="64" y="2"/>
                </a:cxn>
                <a:cxn ang="0">
                  <a:pos x="74" y="6"/>
                </a:cxn>
                <a:cxn ang="0">
                  <a:pos x="64" y="18"/>
                </a:cxn>
                <a:cxn ang="0">
                  <a:pos x="56" y="20"/>
                </a:cxn>
                <a:cxn ang="0">
                  <a:pos x="46" y="32"/>
                </a:cxn>
                <a:cxn ang="0">
                  <a:pos x="36" y="34"/>
                </a:cxn>
                <a:cxn ang="0">
                  <a:pos x="28" y="38"/>
                </a:cxn>
                <a:cxn ang="0">
                  <a:pos x="26" y="42"/>
                </a:cxn>
                <a:cxn ang="0">
                  <a:pos x="14" y="48"/>
                </a:cxn>
                <a:cxn ang="0">
                  <a:pos x="12" y="46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10" y="34"/>
                </a:cxn>
                <a:cxn ang="0">
                  <a:pos x="6" y="32"/>
                </a:cxn>
                <a:cxn ang="0">
                  <a:pos x="12" y="32"/>
                </a:cxn>
                <a:cxn ang="0">
                  <a:pos x="18" y="34"/>
                </a:cxn>
                <a:cxn ang="0">
                  <a:pos x="22" y="34"/>
                </a:cxn>
                <a:cxn ang="0">
                  <a:pos x="22" y="30"/>
                </a:cxn>
                <a:cxn ang="0">
                  <a:pos x="22" y="24"/>
                </a:cxn>
                <a:cxn ang="0">
                  <a:pos x="26" y="22"/>
                </a:cxn>
                <a:cxn ang="0">
                  <a:pos x="26" y="26"/>
                </a:cxn>
              </a:cxnLst>
              <a:rect l="0" t="0" r="r" b="b"/>
              <a:pathLst>
                <a:path w="74" h="48">
                  <a:moveTo>
                    <a:pt x="26" y="28"/>
                  </a:moveTo>
                  <a:lnTo>
                    <a:pt x="28" y="24"/>
                  </a:lnTo>
                  <a:lnTo>
                    <a:pt x="30" y="24"/>
                  </a:lnTo>
                  <a:lnTo>
                    <a:pt x="32" y="24"/>
                  </a:lnTo>
                  <a:lnTo>
                    <a:pt x="34" y="22"/>
                  </a:lnTo>
                  <a:lnTo>
                    <a:pt x="34" y="20"/>
                  </a:lnTo>
                  <a:lnTo>
                    <a:pt x="32" y="18"/>
                  </a:lnTo>
                  <a:lnTo>
                    <a:pt x="26" y="20"/>
                  </a:lnTo>
                  <a:lnTo>
                    <a:pt x="22" y="22"/>
                  </a:lnTo>
                  <a:lnTo>
                    <a:pt x="20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2" y="18"/>
                  </a:lnTo>
                  <a:lnTo>
                    <a:pt x="24" y="18"/>
                  </a:lnTo>
                  <a:lnTo>
                    <a:pt x="26" y="18"/>
                  </a:lnTo>
                  <a:lnTo>
                    <a:pt x="28" y="18"/>
                  </a:lnTo>
                  <a:lnTo>
                    <a:pt x="32" y="18"/>
                  </a:lnTo>
                  <a:lnTo>
                    <a:pt x="36" y="18"/>
                  </a:lnTo>
                  <a:lnTo>
                    <a:pt x="30" y="14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24" y="2"/>
                  </a:lnTo>
                  <a:lnTo>
                    <a:pt x="28" y="4"/>
                  </a:lnTo>
                  <a:lnTo>
                    <a:pt x="30" y="6"/>
                  </a:lnTo>
                  <a:lnTo>
                    <a:pt x="32" y="8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2" y="2"/>
                  </a:lnTo>
                  <a:lnTo>
                    <a:pt x="48" y="2"/>
                  </a:lnTo>
                  <a:lnTo>
                    <a:pt x="50" y="4"/>
                  </a:lnTo>
                  <a:lnTo>
                    <a:pt x="50" y="6"/>
                  </a:lnTo>
                  <a:lnTo>
                    <a:pt x="52" y="6"/>
                  </a:lnTo>
                  <a:lnTo>
                    <a:pt x="62" y="8"/>
                  </a:lnTo>
                  <a:lnTo>
                    <a:pt x="64" y="8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74" y="6"/>
                  </a:lnTo>
                  <a:lnTo>
                    <a:pt x="64" y="16"/>
                  </a:lnTo>
                  <a:lnTo>
                    <a:pt x="64" y="18"/>
                  </a:lnTo>
                  <a:lnTo>
                    <a:pt x="62" y="18"/>
                  </a:lnTo>
                  <a:lnTo>
                    <a:pt x="56" y="20"/>
                  </a:lnTo>
                  <a:lnTo>
                    <a:pt x="54" y="24"/>
                  </a:lnTo>
                  <a:lnTo>
                    <a:pt x="46" y="32"/>
                  </a:lnTo>
                  <a:lnTo>
                    <a:pt x="40" y="36"/>
                  </a:lnTo>
                  <a:lnTo>
                    <a:pt x="36" y="34"/>
                  </a:lnTo>
                  <a:lnTo>
                    <a:pt x="32" y="34"/>
                  </a:lnTo>
                  <a:lnTo>
                    <a:pt x="28" y="38"/>
                  </a:lnTo>
                  <a:lnTo>
                    <a:pt x="26" y="40"/>
                  </a:lnTo>
                  <a:lnTo>
                    <a:pt x="26" y="42"/>
                  </a:lnTo>
                  <a:lnTo>
                    <a:pt x="22" y="44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6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4" y="34"/>
                  </a:lnTo>
                  <a:lnTo>
                    <a:pt x="18" y="34"/>
                  </a:lnTo>
                  <a:lnTo>
                    <a:pt x="20" y="34"/>
                  </a:lnTo>
                  <a:lnTo>
                    <a:pt x="22" y="34"/>
                  </a:lnTo>
                  <a:lnTo>
                    <a:pt x="24" y="32"/>
                  </a:lnTo>
                  <a:lnTo>
                    <a:pt x="22" y="30"/>
                  </a:lnTo>
                  <a:lnTo>
                    <a:pt x="22" y="28"/>
                  </a:lnTo>
                  <a:lnTo>
                    <a:pt x="22" y="24"/>
                  </a:lnTo>
                  <a:lnTo>
                    <a:pt x="22" y="22"/>
                  </a:lnTo>
                  <a:lnTo>
                    <a:pt x="26" y="22"/>
                  </a:lnTo>
                  <a:lnTo>
                    <a:pt x="26" y="24"/>
                  </a:lnTo>
                  <a:lnTo>
                    <a:pt x="26" y="26"/>
                  </a:lnTo>
                  <a:lnTo>
                    <a:pt x="26" y="28"/>
                  </a:lnTo>
                  <a:close/>
                </a:path>
              </a:pathLst>
            </a:custGeom>
            <a:solidFill>
              <a:srgbClr val="E8C5CE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3" name="Freeform 142"/>
            <p:cNvSpPr>
              <a:spLocks/>
            </p:cNvSpPr>
            <p:nvPr/>
          </p:nvSpPr>
          <p:spPr bwMode="auto">
            <a:xfrm>
              <a:off x="2820" y="3804"/>
              <a:ext cx="10" cy="10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8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6" y="10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lnTo>
                    <a:pt x="4" y="8"/>
                  </a:lnTo>
                  <a:lnTo>
                    <a:pt x="0" y="6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8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rgbClr val="E8C5CE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8" name="Group 144"/>
          <p:cNvGrpSpPr>
            <a:grpSpLocks/>
          </p:cNvGrpSpPr>
          <p:nvPr/>
        </p:nvGrpSpPr>
        <p:grpSpPr bwMode="auto">
          <a:xfrm>
            <a:off x="3645534" y="3626203"/>
            <a:ext cx="1193800" cy="2319338"/>
            <a:chOff x="2340" y="2168"/>
            <a:chExt cx="990" cy="1816"/>
          </a:xfrm>
          <a:solidFill>
            <a:srgbClr val="92D050"/>
          </a:solidFill>
        </p:grpSpPr>
        <p:sp>
          <p:nvSpPr>
            <p:cNvPr id="35" name="Freeform 145"/>
            <p:cNvSpPr>
              <a:spLocks/>
            </p:cNvSpPr>
            <p:nvPr/>
          </p:nvSpPr>
          <p:spPr bwMode="auto">
            <a:xfrm>
              <a:off x="2340" y="2168"/>
              <a:ext cx="990" cy="1656"/>
            </a:xfrm>
            <a:custGeom>
              <a:avLst/>
              <a:gdLst/>
              <a:ahLst/>
              <a:cxnLst>
                <a:cxn ang="0">
                  <a:pos x="136" y="726"/>
                </a:cxn>
                <a:cxn ang="0">
                  <a:pos x="174" y="628"/>
                </a:cxn>
                <a:cxn ang="0">
                  <a:pos x="148" y="556"/>
                </a:cxn>
                <a:cxn ang="0">
                  <a:pos x="156" y="472"/>
                </a:cxn>
                <a:cxn ang="0">
                  <a:pos x="178" y="392"/>
                </a:cxn>
                <a:cxn ang="0">
                  <a:pos x="224" y="300"/>
                </a:cxn>
                <a:cxn ang="0">
                  <a:pos x="242" y="248"/>
                </a:cxn>
                <a:cxn ang="0">
                  <a:pos x="244" y="160"/>
                </a:cxn>
                <a:cxn ang="0">
                  <a:pos x="324" y="40"/>
                </a:cxn>
                <a:cxn ang="0">
                  <a:pos x="430" y="18"/>
                </a:cxn>
                <a:cxn ang="0">
                  <a:pos x="478" y="28"/>
                </a:cxn>
                <a:cxn ang="0">
                  <a:pos x="582" y="68"/>
                </a:cxn>
                <a:cxn ang="0">
                  <a:pos x="672" y="130"/>
                </a:cxn>
                <a:cxn ang="0">
                  <a:pos x="764" y="184"/>
                </a:cxn>
                <a:cxn ang="0">
                  <a:pos x="766" y="254"/>
                </a:cxn>
                <a:cxn ang="0">
                  <a:pos x="784" y="314"/>
                </a:cxn>
                <a:cxn ang="0">
                  <a:pos x="840" y="324"/>
                </a:cxn>
                <a:cxn ang="0">
                  <a:pos x="906" y="298"/>
                </a:cxn>
                <a:cxn ang="0">
                  <a:pos x="964" y="224"/>
                </a:cxn>
                <a:cxn ang="0">
                  <a:pos x="978" y="312"/>
                </a:cxn>
                <a:cxn ang="0">
                  <a:pos x="898" y="352"/>
                </a:cxn>
                <a:cxn ang="0">
                  <a:pos x="838" y="410"/>
                </a:cxn>
                <a:cxn ang="0">
                  <a:pos x="774" y="470"/>
                </a:cxn>
                <a:cxn ang="0">
                  <a:pos x="744" y="556"/>
                </a:cxn>
                <a:cxn ang="0">
                  <a:pos x="732" y="624"/>
                </a:cxn>
                <a:cxn ang="0">
                  <a:pos x="712" y="688"/>
                </a:cxn>
                <a:cxn ang="0">
                  <a:pos x="760" y="766"/>
                </a:cxn>
                <a:cxn ang="0">
                  <a:pos x="758" y="862"/>
                </a:cxn>
                <a:cxn ang="0">
                  <a:pos x="658" y="930"/>
                </a:cxn>
                <a:cxn ang="0">
                  <a:pos x="522" y="938"/>
                </a:cxn>
                <a:cxn ang="0">
                  <a:pos x="508" y="956"/>
                </a:cxn>
                <a:cxn ang="0">
                  <a:pos x="498" y="1026"/>
                </a:cxn>
                <a:cxn ang="0">
                  <a:pos x="420" y="1046"/>
                </a:cxn>
                <a:cxn ang="0">
                  <a:pos x="374" y="1082"/>
                </a:cxn>
                <a:cxn ang="0">
                  <a:pos x="414" y="1116"/>
                </a:cxn>
                <a:cxn ang="0">
                  <a:pos x="422" y="1146"/>
                </a:cxn>
                <a:cxn ang="0">
                  <a:pos x="386" y="1148"/>
                </a:cxn>
                <a:cxn ang="0">
                  <a:pos x="356" y="1204"/>
                </a:cxn>
                <a:cxn ang="0">
                  <a:pos x="312" y="1256"/>
                </a:cxn>
                <a:cxn ang="0">
                  <a:pos x="250" y="1328"/>
                </a:cxn>
                <a:cxn ang="0">
                  <a:pos x="322" y="1392"/>
                </a:cxn>
                <a:cxn ang="0">
                  <a:pos x="310" y="1424"/>
                </a:cxn>
                <a:cxn ang="0">
                  <a:pos x="242" y="1476"/>
                </a:cxn>
                <a:cxn ang="0">
                  <a:pos x="224" y="1528"/>
                </a:cxn>
                <a:cxn ang="0">
                  <a:pos x="202" y="1530"/>
                </a:cxn>
                <a:cxn ang="0">
                  <a:pos x="166" y="1582"/>
                </a:cxn>
                <a:cxn ang="0">
                  <a:pos x="158" y="1614"/>
                </a:cxn>
                <a:cxn ang="0">
                  <a:pos x="184" y="1650"/>
                </a:cxn>
                <a:cxn ang="0">
                  <a:pos x="48" y="1608"/>
                </a:cxn>
                <a:cxn ang="0">
                  <a:pos x="36" y="1560"/>
                </a:cxn>
                <a:cxn ang="0">
                  <a:pos x="2" y="1518"/>
                </a:cxn>
                <a:cxn ang="0">
                  <a:pos x="42" y="1452"/>
                </a:cxn>
                <a:cxn ang="0">
                  <a:pos x="50" y="1386"/>
                </a:cxn>
                <a:cxn ang="0">
                  <a:pos x="70" y="1316"/>
                </a:cxn>
                <a:cxn ang="0">
                  <a:pos x="62" y="1248"/>
                </a:cxn>
                <a:cxn ang="0">
                  <a:pos x="100" y="1226"/>
                </a:cxn>
                <a:cxn ang="0">
                  <a:pos x="68" y="1170"/>
                </a:cxn>
                <a:cxn ang="0">
                  <a:pos x="64" y="1100"/>
                </a:cxn>
                <a:cxn ang="0">
                  <a:pos x="72" y="1038"/>
                </a:cxn>
                <a:cxn ang="0">
                  <a:pos x="80" y="970"/>
                </a:cxn>
                <a:cxn ang="0">
                  <a:pos x="120" y="908"/>
                </a:cxn>
                <a:cxn ang="0">
                  <a:pos x="106" y="834"/>
                </a:cxn>
              </a:cxnLst>
              <a:rect l="0" t="0" r="r" b="b"/>
              <a:pathLst>
                <a:path w="990" h="1656">
                  <a:moveTo>
                    <a:pt x="114" y="792"/>
                  </a:moveTo>
                  <a:lnTo>
                    <a:pt x="114" y="794"/>
                  </a:lnTo>
                  <a:lnTo>
                    <a:pt x="116" y="794"/>
                  </a:lnTo>
                  <a:lnTo>
                    <a:pt x="128" y="790"/>
                  </a:lnTo>
                  <a:lnTo>
                    <a:pt x="128" y="788"/>
                  </a:lnTo>
                  <a:lnTo>
                    <a:pt x="126" y="786"/>
                  </a:lnTo>
                  <a:lnTo>
                    <a:pt x="128" y="782"/>
                  </a:lnTo>
                  <a:lnTo>
                    <a:pt x="134" y="776"/>
                  </a:lnTo>
                  <a:lnTo>
                    <a:pt x="136" y="776"/>
                  </a:lnTo>
                  <a:lnTo>
                    <a:pt x="138" y="776"/>
                  </a:lnTo>
                  <a:lnTo>
                    <a:pt x="140" y="776"/>
                  </a:lnTo>
                  <a:lnTo>
                    <a:pt x="140" y="774"/>
                  </a:lnTo>
                  <a:lnTo>
                    <a:pt x="142" y="772"/>
                  </a:lnTo>
                  <a:lnTo>
                    <a:pt x="142" y="766"/>
                  </a:lnTo>
                  <a:lnTo>
                    <a:pt x="142" y="762"/>
                  </a:lnTo>
                  <a:lnTo>
                    <a:pt x="142" y="760"/>
                  </a:lnTo>
                  <a:lnTo>
                    <a:pt x="144" y="758"/>
                  </a:lnTo>
                  <a:lnTo>
                    <a:pt x="144" y="752"/>
                  </a:lnTo>
                  <a:lnTo>
                    <a:pt x="142" y="750"/>
                  </a:lnTo>
                  <a:lnTo>
                    <a:pt x="142" y="748"/>
                  </a:lnTo>
                  <a:lnTo>
                    <a:pt x="142" y="746"/>
                  </a:lnTo>
                  <a:lnTo>
                    <a:pt x="142" y="742"/>
                  </a:lnTo>
                  <a:lnTo>
                    <a:pt x="142" y="732"/>
                  </a:lnTo>
                  <a:lnTo>
                    <a:pt x="136" y="730"/>
                  </a:lnTo>
                  <a:lnTo>
                    <a:pt x="136" y="728"/>
                  </a:lnTo>
                  <a:lnTo>
                    <a:pt x="136" y="726"/>
                  </a:lnTo>
                  <a:lnTo>
                    <a:pt x="136" y="724"/>
                  </a:lnTo>
                  <a:lnTo>
                    <a:pt x="138" y="724"/>
                  </a:lnTo>
                  <a:lnTo>
                    <a:pt x="140" y="724"/>
                  </a:lnTo>
                  <a:lnTo>
                    <a:pt x="144" y="722"/>
                  </a:lnTo>
                  <a:lnTo>
                    <a:pt x="144" y="718"/>
                  </a:lnTo>
                  <a:lnTo>
                    <a:pt x="144" y="716"/>
                  </a:lnTo>
                  <a:lnTo>
                    <a:pt x="144" y="714"/>
                  </a:lnTo>
                  <a:lnTo>
                    <a:pt x="144" y="712"/>
                  </a:lnTo>
                  <a:lnTo>
                    <a:pt x="148" y="706"/>
                  </a:lnTo>
                  <a:lnTo>
                    <a:pt x="152" y="694"/>
                  </a:lnTo>
                  <a:lnTo>
                    <a:pt x="154" y="688"/>
                  </a:lnTo>
                  <a:lnTo>
                    <a:pt x="160" y="680"/>
                  </a:lnTo>
                  <a:lnTo>
                    <a:pt x="160" y="678"/>
                  </a:lnTo>
                  <a:lnTo>
                    <a:pt x="160" y="674"/>
                  </a:lnTo>
                  <a:lnTo>
                    <a:pt x="162" y="674"/>
                  </a:lnTo>
                  <a:lnTo>
                    <a:pt x="164" y="674"/>
                  </a:lnTo>
                  <a:lnTo>
                    <a:pt x="166" y="674"/>
                  </a:lnTo>
                  <a:lnTo>
                    <a:pt x="168" y="674"/>
                  </a:lnTo>
                  <a:lnTo>
                    <a:pt x="172" y="672"/>
                  </a:lnTo>
                  <a:lnTo>
                    <a:pt x="170" y="664"/>
                  </a:lnTo>
                  <a:lnTo>
                    <a:pt x="168" y="654"/>
                  </a:lnTo>
                  <a:lnTo>
                    <a:pt x="168" y="650"/>
                  </a:lnTo>
                  <a:lnTo>
                    <a:pt x="168" y="648"/>
                  </a:lnTo>
                  <a:lnTo>
                    <a:pt x="170" y="636"/>
                  </a:lnTo>
                  <a:lnTo>
                    <a:pt x="172" y="628"/>
                  </a:lnTo>
                  <a:lnTo>
                    <a:pt x="174" y="628"/>
                  </a:lnTo>
                  <a:lnTo>
                    <a:pt x="174" y="626"/>
                  </a:lnTo>
                  <a:lnTo>
                    <a:pt x="172" y="620"/>
                  </a:lnTo>
                  <a:lnTo>
                    <a:pt x="170" y="618"/>
                  </a:lnTo>
                  <a:lnTo>
                    <a:pt x="168" y="618"/>
                  </a:lnTo>
                  <a:lnTo>
                    <a:pt x="166" y="620"/>
                  </a:lnTo>
                  <a:lnTo>
                    <a:pt x="164" y="620"/>
                  </a:lnTo>
                  <a:lnTo>
                    <a:pt x="158" y="616"/>
                  </a:lnTo>
                  <a:lnTo>
                    <a:pt x="158" y="614"/>
                  </a:lnTo>
                  <a:lnTo>
                    <a:pt x="160" y="612"/>
                  </a:lnTo>
                  <a:lnTo>
                    <a:pt x="160" y="610"/>
                  </a:lnTo>
                  <a:lnTo>
                    <a:pt x="158" y="608"/>
                  </a:lnTo>
                  <a:lnTo>
                    <a:pt x="160" y="606"/>
                  </a:lnTo>
                  <a:lnTo>
                    <a:pt x="162" y="602"/>
                  </a:lnTo>
                  <a:lnTo>
                    <a:pt x="164" y="598"/>
                  </a:lnTo>
                  <a:lnTo>
                    <a:pt x="162" y="598"/>
                  </a:lnTo>
                  <a:lnTo>
                    <a:pt x="156" y="592"/>
                  </a:lnTo>
                  <a:lnTo>
                    <a:pt x="156" y="584"/>
                  </a:lnTo>
                  <a:lnTo>
                    <a:pt x="156" y="582"/>
                  </a:lnTo>
                  <a:lnTo>
                    <a:pt x="156" y="580"/>
                  </a:lnTo>
                  <a:lnTo>
                    <a:pt x="156" y="578"/>
                  </a:lnTo>
                  <a:lnTo>
                    <a:pt x="156" y="576"/>
                  </a:lnTo>
                  <a:lnTo>
                    <a:pt x="154" y="570"/>
                  </a:lnTo>
                  <a:lnTo>
                    <a:pt x="154" y="568"/>
                  </a:lnTo>
                  <a:lnTo>
                    <a:pt x="150" y="566"/>
                  </a:lnTo>
                  <a:lnTo>
                    <a:pt x="150" y="564"/>
                  </a:lnTo>
                  <a:lnTo>
                    <a:pt x="148" y="556"/>
                  </a:lnTo>
                  <a:lnTo>
                    <a:pt x="150" y="554"/>
                  </a:lnTo>
                  <a:lnTo>
                    <a:pt x="152" y="554"/>
                  </a:lnTo>
                  <a:lnTo>
                    <a:pt x="154" y="548"/>
                  </a:lnTo>
                  <a:lnTo>
                    <a:pt x="152" y="546"/>
                  </a:lnTo>
                  <a:lnTo>
                    <a:pt x="150" y="544"/>
                  </a:lnTo>
                  <a:lnTo>
                    <a:pt x="148" y="546"/>
                  </a:lnTo>
                  <a:lnTo>
                    <a:pt x="146" y="546"/>
                  </a:lnTo>
                  <a:lnTo>
                    <a:pt x="144" y="544"/>
                  </a:lnTo>
                  <a:lnTo>
                    <a:pt x="144" y="542"/>
                  </a:lnTo>
                  <a:lnTo>
                    <a:pt x="142" y="542"/>
                  </a:lnTo>
                  <a:lnTo>
                    <a:pt x="136" y="528"/>
                  </a:lnTo>
                  <a:lnTo>
                    <a:pt x="136" y="526"/>
                  </a:lnTo>
                  <a:lnTo>
                    <a:pt x="138" y="522"/>
                  </a:lnTo>
                  <a:lnTo>
                    <a:pt x="138" y="514"/>
                  </a:lnTo>
                  <a:lnTo>
                    <a:pt x="140" y="506"/>
                  </a:lnTo>
                  <a:lnTo>
                    <a:pt x="144" y="502"/>
                  </a:lnTo>
                  <a:lnTo>
                    <a:pt x="148" y="502"/>
                  </a:lnTo>
                  <a:lnTo>
                    <a:pt x="152" y="498"/>
                  </a:lnTo>
                  <a:lnTo>
                    <a:pt x="152" y="496"/>
                  </a:lnTo>
                  <a:lnTo>
                    <a:pt x="150" y="494"/>
                  </a:lnTo>
                  <a:lnTo>
                    <a:pt x="150" y="492"/>
                  </a:lnTo>
                  <a:lnTo>
                    <a:pt x="150" y="490"/>
                  </a:lnTo>
                  <a:lnTo>
                    <a:pt x="150" y="488"/>
                  </a:lnTo>
                  <a:lnTo>
                    <a:pt x="154" y="480"/>
                  </a:lnTo>
                  <a:lnTo>
                    <a:pt x="154" y="476"/>
                  </a:lnTo>
                  <a:lnTo>
                    <a:pt x="156" y="472"/>
                  </a:lnTo>
                  <a:lnTo>
                    <a:pt x="160" y="466"/>
                  </a:lnTo>
                  <a:lnTo>
                    <a:pt x="164" y="464"/>
                  </a:lnTo>
                  <a:lnTo>
                    <a:pt x="166" y="464"/>
                  </a:lnTo>
                  <a:lnTo>
                    <a:pt x="170" y="462"/>
                  </a:lnTo>
                  <a:lnTo>
                    <a:pt x="172" y="460"/>
                  </a:lnTo>
                  <a:lnTo>
                    <a:pt x="174" y="454"/>
                  </a:lnTo>
                  <a:lnTo>
                    <a:pt x="174" y="450"/>
                  </a:lnTo>
                  <a:lnTo>
                    <a:pt x="172" y="448"/>
                  </a:lnTo>
                  <a:lnTo>
                    <a:pt x="170" y="442"/>
                  </a:lnTo>
                  <a:lnTo>
                    <a:pt x="172" y="442"/>
                  </a:lnTo>
                  <a:lnTo>
                    <a:pt x="172" y="438"/>
                  </a:lnTo>
                  <a:lnTo>
                    <a:pt x="172" y="432"/>
                  </a:lnTo>
                  <a:lnTo>
                    <a:pt x="172" y="428"/>
                  </a:lnTo>
                  <a:lnTo>
                    <a:pt x="170" y="426"/>
                  </a:lnTo>
                  <a:lnTo>
                    <a:pt x="168" y="424"/>
                  </a:lnTo>
                  <a:lnTo>
                    <a:pt x="170" y="422"/>
                  </a:lnTo>
                  <a:lnTo>
                    <a:pt x="170" y="420"/>
                  </a:lnTo>
                  <a:lnTo>
                    <a:pt x="170" y="418"/>
                  </a:lnTo>
                  <a:lnTo>
                    <a:pt x="168" y="412"/>
                  </a:lnTo>
                  <a:lnTo>
                    <a:pt x="166" y="408"/>
                  </a:lnTo>
                  <a:lnTo>
                    <a:pt x="166" y="404"/>
                  </a:lnTo>
                  <a:lnTo>
                    <a:pt x="170" y="398"/>
                  </a:lnTo>
                  <a:lnTo>
                    <a:pt x="172" y="396"/>
                  </a:lnTo>
                  <a:lnTo>
                    <a:pt x="176" y="396"/>
                  </a:lnTo>
                  <a:lnTo>
                    <a:pt x="178" y="394"/>
                  </a:lnTo>
                  <a:lnTo>
                    <a:pt x="178" y="392"/>
                  </a:lnTo>
                  <a:lnTo>
                    <a:pt x="178" y="390"/>
                  </a:lnTo>
                  <a:lnTo>
                    <a:pt x="180" y="382"/>
                  </a:lnTo>
                  <a:lnTo>
                    <a:pt x="182" y="378"/>
                  </a:lnTo>
                  <a:lnTo>
                    <a:pt x="182" y="376"/>
                  </a:lnTo>
                  <a:lnTo>
                    <a:pt x="180" y="374"/>
                  </a:lnTo>
                  <a:lnTo>
                    <a:pt x="180" y="370"/>
                  </a:lnTo>
                  <a:lnTo>
                    <a:pt x="182" y="366"/>
                  </a:lnTo>
                  <a:lnTo>
                    <a:pt x="184" y="366"/>
                  </a:lnTo>
                  <a:lnTo>
                    <a:pt x="184" y="364"/>
                  </a:lnTo>
                  <a:lnTo>
                    <a:pt x="186" y="356"/>
                  </a:lnTo>
                  <a:lnTo>
                    <a:pt x="188" y="354"/>
                  </a:lnTo>
                  <a:lnTo>
                    <a:pt x="190" y="352"/>
                  </a:lnTo>
                  <a:lnTo>
                    <a:pt x="198" y="344"/>
                  </a:lnTo>
                  <a:lnTo>
                    <a:pt x="200" y="342"/>
                  </a:lnTo>
                  <a:lnTo>
                    <a:pt x="202" y="340"/>
                  </a:lnTo>
                  <a:lnTo>
                    <a:pt x="202" y="338"/>
                  </a:lnTo>
                  <a:lnTo>
                    <a:pt x="204" y="334"/>
                  </a:lnTo>
                  <a:lnTo>
                    <a:pt x="206" y="334"/>
                  </a:lnTo>
                  <a:lnTo>
                    <a:pt x="208" y="334"/>
                  </a:lnTo>
                  <a:lnTo>
                    <a:pt x="210" y="332"/>
                  </a:lnTo>
                  <a:lnTo>
                    <a:pt x="210" y="330"/>
                  </a:lnTo>
                  <a:lnTo>
                    <a:pt x="212" y="322"/>
                  </a:lnTo>
                  <a:lnTo>
                    <a:pt x="212" y="320"/>
                  </a:lnTo>
                  <a:lnTo>
                    <a:pt x="214" y="314"/>
                  </a:lnTo>
                  <a:lnTo>
                    <a:pt x="216" y="314"/>
                  </a:lnTo>
                  <a:lnTo>
                    <a:pt x="224" y="300"/>
                  </a:lnTo>
                  <a:lnTo>
                    <a:pt x="226" y="296"/>
                  </a:lnTo>
                  <a:lnTo>
                    <a:pt x="226" y="294"/>
                  </a:lnTo>
                  <a:lnTo>
                    <a:pt x="226" y="292"/>
                  </a:lnTo>
                  <a:lnTo>
                    <a:pt x="228" y="290"/>
                  </a:lnTo>
                  <a:lnTo>
                    <a:pt x="228" y="288"/>
                  </a:lnTo>
                  <a:lnTo>
                    <a:pt x="230" y="286"/>
                  </a:lnTo>
                  <a:lnTo>
                    <a:pt x="232" y="286"/>
                  </a:lnTo>
                  <a:lnTo>
                    <a:pt x="234" y="288"/>
                  </a:lnTo>
                  <a:lnTo>
                    <a:pt x="236" y="288"/>
                  </a:lnTo>
                  <a:lnTo>
                    <a:pt x="248" y="284"/>
                  </a:lnTo>
                  <a:lnTo>
                    <a:pt x="250" y="284"/>
                  </a:lnTo>
                  <a:lnTo>
                    <a:pt x="252" y="284"/>
                  </a:lnTo>
                  <a:lnTo>
                    <a:pt x="252" y="282"/>
                  </a:lnTo>
                  <a:lnTo>
                    <a:pt x="254" y="276"/>
                  </a:lnTo>
                  <a:lnTo>
                    <a:pt x="254" y="274"/>
                  </a:lnTo>
                  <a:lnTo>
                    <a:pt x="248" y="266"/>
                  </a:lnTo>
                  <a:lnTo>
                    <a:pt x="248" y="264"/>
                  </a:lnTo>
                  <a:lnTo>
                    <a:pt x="246" y="264"/>
                  </a:lnTo>
                  <a:lnTo>
                    <a:pt x="246" y="262"/>
                  </a:lnTo>
                  <a:lnTo>
                    <a:pt x="242" y="258"/>
                  </a:lnTo>
                  <a:lnTo>
                    <a:pt x="242" y="256"/>
                  </a:lnTo>
                  <a:lnTo>
                    <a:pt x="242" y="254"/>
                  </a:lnTo>
                  <a:lnTo>
                    <a:pt x="240" y="254"/>
                  </a:lnTo>
                  <a:lnTo>
                    <a:pt x="240" y="252"/>
                  </a:lnTo>
                  <a:lnTo>
                    <a:pt x="240" y="250"/>
                  </a:lnTo>
                  <a:lnTo>
                    <a:pt x="242" y="248"/>
                  </a:lnTo>
                  <a:lnTo>
                    <a:pt x="242" y="246"/>
                  </a:lnTo>
                  <a:lnTo>
                    <a:pt x="242" y="244"/>
                  </a:lnTo>
                  <a:lnTo>
                    <a:pt x="244" y="242"/>
                  </a:lnTo>
                  <a:lnTo>
                    <a:pt x="244" y="240"/>
                  </a:lnTo>
                  <a:lnTo>
                    <a:pt x="246" y="240"/>
                  </a:lnTo>
                  <a:lnTo>
                    <a:pt x="248" y="236"/>
                  </a:lnTo>
                  <a:lnTo>
                    <a:pt x="250" y="236"/>
                  </a:lnTo>
                  <a:lnTo>
                    <a:pt x="248" y="222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4" y="206"/>
                  </a:lnTo>
                  <a:lnTo>
                    <a:pt x="242" y="200"/>
                  </a:lnTo>
                  <a:lnTo>
                    <a:pt x="242" y="198"/>
                  </a:lnTo>
                  <a:lnTo>
                    <a:pt x="242" y="196"/>
                  </a:lnTo>
                  <a:lnTo>
                    <a:pt x="242" y="192"/>
                  </a:lnTo>
                  <a:lnTo>
                    <a:pt x="244" y="190"/>
                  </a:lnTo>
                  <a:lnTo>
                    <a:pt x="244" y="188"/>
                  </a:lnTo>
                  <a:lnTo>
                    <a:pt x="246" y="186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50" y="180"/>
                  </a:lnTo>
                  <a:lnTo>
                    <a:pt x="254" y="178"/>
                  </a:lnTo>
                  <a:lnTo>
                    <a:pt x="246" y="166"/>
                  </a:lnTo>
                  <a:lnTo>
                    <a:pt x="244" y="166"/>
                  </a:lnTo>
                  <a:lnTo>
                    <a:pt x="244" y="162"/>
                  </a:lnTo>
                  <a:lnTo>
                    <a:pt x="244" y="160"/>
                  </a:lnTo>
                  <a:lnTo>
                    <a:pt x="246" y="158"/>
                  </a:lnTo>
                  <a:lnTo>
                    <a:pt x="246" y="154"/>
                  </a:lnTo>
                  <a:lnTo>
                    <a:pt x="248" y="152"/>
                  </a:lnTo>
                  <a:lnTo>
                    <a:pt x="252" y="146"/>
                  </a:lnTo>
                  <a:lnTo>
                    <a:pt x="254" y="144"/>
                  </a:lnTo>
                  <a:lnTo>
                    <a:pt x="256" y="146"/>
                  </a:lnTo>
                  <a:lnTo>
                    <a:pt x="258" y="142"/>
                  </a:lnTo>
                  <a:lnTo>
                    <a:pt x="260" y="140"/>
                  </a:lnTo>
                  <a:lnTo>
                    <a:pt x="264" y="140"/>
                  </a:lnTo>
                  <a:lnTo>
                    <a:pt x="278" y="132"/>
                  </a:lnTo>
                  <a:lnTo>
                    <a:pt x="292" y="126"/>
                  </a:lnTo>
                  <a:lnTo>
                    <a:pt x="294" y="126"/>
                  </a:lnTo>
                  <a:lnTo>
                    <a:pt x="306" y="120"/>
                  </a:lnTo>
                  <a:lnTo>
                    <a:pt x="312" y="104"/>
                  </a:lnTo>
                  <a:lnTo>
                    <a:pt x="316" y="94"/>
                  </a:lnTo>
                  <a:lnTo>
                    <a:pt x="318" y="86"/>
                  </a:lnTo>
                  <a:lnTo>
                    <a:pt x="318" y="84"/>
                  </a:lnTo>
                  <a:lnTo>
                    <a:pt x="320" y="78"/>
                  </a:lnTo>
                  <a:lnTo>
                    <a:pt x="322" y="72"/>
                  </a:lnTo>
                  <a:lnTo>
                    <a:pt x="326" y="66"/>
                  </a:lnTo>
                  <a:lnTo>
                    <a:pt x="320" y="60"/>
                  </a:lnTo>
                  <a:lnTo>
                    <a:pt x="316" y="56"/>
                  </a:lnTo>
                  <a:lnTo>
                    <a:pt x="320" y="50"/>
                  </a:lnTo>
                  <a:lnTo>
                    <a:pt x="326" y="46"/>
                  </a:lnTo>
                  <a:lnTo>
                    <a:pt x="324" y="42"/>
                  </a:lnTo>
                  <a:lnTo>
                    <a:pt x="324" y="40"/>
                  </a:lnTo>
                  <a:lnTo>
                    <a:pt x="330" y="36"/>
                  </a:lnTo>
                  <a:lnTo>
                    <a:pt x="334" y="36"/>
                  </a:lnTo>
                  <a:lnTo>
                    <a:pt x="338" y="34"/>
                  </a:lnTo>
                  <a:lnTo>
                    <a:pt x="338" y="30"/>
                  </a:lnTo>
                  <a:lnTo>
                    <a:pt x="340" y="24"/>
                  </a:lnTo>
                  <a:lnTo>
                    <a:pt x="342" y="22"/>
                  </a:lnTo>
                  <a:lnTo>
                    <a:pt x="346" y="22"/>
                  </a:lnTo>
                  <a:lnTo>
                    <a:pt x="350" y="20"/>
                  </a:lnTo>
                  <a:lnTo>
                    <a:pt x="352" y="20"/>
                  </a:lnTo>
                  <a:lnTo>
                    <a:pt x="358" y="18"/>
                  </a:lnTo>
                  <a:lnTo>
                    <a:pt x="360" y="18"/>
                  </a:lnTo>
                  <a:lnTo>
                    <a:pt x="362" y="16"/>
                  </a:lnTo>
                  <a:lnTo>
                    <a:pt x="364" y="12"/>
                  </a:lnTo>
                  <a:lnTo>
                    <a:pt x="364" y="10"/>
                  </a:lnTo>
                  <a:lnTo>
                    <a:pt x="364" y="6"/>
                  </a:lnTo>
                  <a:lnTo>
                    <a:pt x="366" y="0"/>
                  </a:lnTo>
                  <a:lnTo>
                    <a:pt x="368" y="0"/>
                  </a:lnTo>
                  <a:lnTo>
                    <a:pt x="374" y="2"/>
                  </a:lnTo>
                  <a:lnTo>
                    <a:pt x="382" y="8"/>
                  </a:lnTo>
                  <a:lnTo>
                    <a:pt x="386" y="12"/>
                  </a:lnTo>
                  <a:lnTo>
                    <a:pt x="388" y="16"/>
                  </a:lnTo>
                  <a:lnTo>
                    <a:pt x="392" y="18"/>
                  </a:lnTo>
                  <a:lnTo>
                    <a:pt x="396" y="18"/>
                  </a:lnTo>
                  <a:lnTo>
                    <a:pt x="398" y="18"/>
                  </a:lnTo>
                  <a:lnTo>
                    <a:pt x="420" y="18"/>
                  </a:lnTo>
                  <a:lnTo>
                    <a:pt x="430" y="18"/>
                  </a:lnTo>
                  <a:lnTo>
                    <a:pt x="444" y="22"/>
                  </a:lnTo>
                  <a:lnTo>
                    <a:pt x="446" y="22"/>
                  </a:lnTo>
                  <a:lnTo>
                    <a:pt x="450" y="24"/>
                  </a:lnTo>
                  <a:lnTo>
                    <a:pt x="452" y="28"/>
                  </a:lnTo>
                  <a:lnTo>
                    <a:pt x="454" y="34"/>
                  </a:lnTo>
                  <a:lnTo>
                    <a:pt x="456" y="40"/>
                  </a:lnTo>
                  <a:lnTo>
                    <a:pt x="458" y="44"/>
                  </a:lnTo>
                  <a:lnTo>
                    <a:pt x="456" y="46"/>
                  </a:lnTo>
                  <a:lnTo>
                    <a:pt x="456" y="48"/>
                  </a:lnTo>
                  <a:lnTo>
                    <a:pt x="458" y="50"/>
                  </a:lnTo>
                  <a:lnTo>
                    <a:pt x="462" y="52"/>
                  </a:lnTo>
                  <a:lnTo>
                    <a:pt x="462" y="54"/>
                  </a:lnTo>
                  <a:lnTo>
                    <a:pt x="462" y="58"/>
                  </a:lnTo>
                  <a:lnTo>
                    <a:pt x="462" y="60"/>
                  </a:lnTo>
                  <a:lnTo>
                    <a:pt x="464" y="60"/>
                  </a:lnTo>
                  <a:lnTo>
                    <a:pt x="464" y="58"/>
                  </a:lnTo>
                  <a:lnTo>
                    <a:pt x="466" y="54"/>
                  </a:lnTo>
                  <a:lnTo>
                    <a:pt x="466" y="52"/>
                  </a:lnTo>
                  <a:lnTo>
                    <a:pt x="466" y="48"/>
                  </a:lnTo>
                  <a:lnTo>
                    <a:pt x="466" y="44"/>
                  </a:lnTo>
                  <a:lnTo>
                    <a:pt x="468" y="44"/>
                  </a:lnTo>
                  <a:lnTo>
                    <a:pt x="468" y="40"/>
                  </a:lnTo>
                  <a:lnTo>
                    <a:pt x="470" y="40"/>
                  </a:lnTo>
                  <a:lnTo>
                    <a:pt x="472" y="38"/>
                  </a:lnTo>
                  <a:lnTo>
                    <a:pt x="474" y="36"/>
                  </a:lnTo>
                  <a:lnTo>
                    <a:pt x="478" y="28"/>
                  </a:lnTo>
                  <a:lnTo>
                    <a:pt x="482" y="18"/>
                  </a:lnTo>
                  <a:lnTo>
                    <a:pt x="484" y="12"/>
                  </a:lnTo>
                  <a:lnTo>
                    <a:pt x="494" y="14"/>
                  </a:lnTo>
                  <a:lnTo>
                    <a:pt x="498" y="14"/>
                  </a:lnTo>
                  <a:lnTo>
                    <a:pt x="502" y="14"/>
                  </a:lnTo>
                  <a:lnTo>
                    <a:pt x="526" y="14"/>
                  </a:lnTo>
                  <a:lnTo>
                    <a:pt x="538" y="14"/>
                  </a:lnTo>
                  <a:lnTo>
                    <a:pt x="542" y="14"/>
                  </a:lnTo>
                  <a:lnTo>
                    <a:pt x="542" y="16"/>
                  </a:lnTo>
                  <a:lnTo>
                    <a:pt x="542" y="18"/>
                  </a:lnTo>
                  <a:lnTo>
                    <a:pt x="542" y="20"/>
                  </a:lnTo>
                  <a:lnTo>
                    <a:pt x="544" y="24"/>
                  </a:lnTo>
                  <a:lnTo>
                    <a:pt x="550" y="28"/>
                  </a:lnTo>
                  <a:lnTo>
                    <a:pt x="552" y="30"/>
                  </a:lnTo>
                  <a:lnTo>
                    <a:pt x="556" y="34"/>
                  </a:lnTo>
                  <a:lnTo>
                    <a:pt x="562" y="40"/>
                  </a:lnTo>
                  <a:lnTo>
                    <a:pt x="564" y="40"/>
                  </a:lnTo>
                  <a:lnTo>
                    <a:pt x="566" y="40"/>
                  </a:lnTo>
                  <a:lnTo>
                    <a:pt x="566" y="42"/>
                  </a:lnTo>
                  <a:lnTo>
                    <a:pt x="568" y="42"/>
                  </a:lnTo>
                  <a:lnTo>
                    <a:pt x="570" y="44"/>
                  </a:lnTo>
                  <a:lnTo>
                    <a:pt x="570" y="46"/>
                  </a:lnTo>
                  <a:lnTo>
                    <a:pt x="574" y="56"/>
                  </a:lnTo>
                  <a:lnTo>
                    <a:pt x="578" y="60"/>
                  </a:lnTo>
                  <a:lnTo>
                    <a:pt x="580" y="64"/>
                  </a:lnTo>
                  <a:lnTo>
                    <a:pt x="582" y="68"/>
                  </a:lnTo>
                  <a:lnTo>
                    <a:pt x="580" y="68"/>
                  </a:lnTo>
                  <a:lnTo>
                    <a:pt x="582" y="70"/>
                  </a:lnTo>
                  <a:lnTo>
                    <a:pt x="586" y="74"/>
                  </a:lnTo>
                  <a:lnTo>
                    <a:pt x="588" y="74"/>
                  </a:lnTo>
                  <a:lnTo>
                    <a:pt x="594" y="80"/>
                  </a:lnTo>
                  <a:lnTo>
                    <a:pt x="594" y="84"/>
                  </a:lnTo>
                  <a:lnTo>
                    <a:pt x="596" y="86"/>
                  </a:lnTo>
                  <a:lnTo>
                    <a:pt x="600" y="86"/>
                  </a:lnTo>
                  <a:lnTo>
                    <a:pt x="602" y="86"/>
                  </a:lnTo>
                  <a:lnTo>
                    <a:pt x="608" y="94"/>
                  </a:lnTo>
                  <a:lnTo>
                    <a:pt x="614" y="96"/>
                  </a:lnTo>
                  <a:lnTo>
                    <a:pt x="616" y="98"/>
                  </a:lnTo>
                  <a:lnTo>
                    <a:pt x="622" y="102"/>
                  </a:lnTo>
                  <a:lnTo>
                    <a:pt x="626" y="104"/>
                  </a:lnTo>
                  <a:lnTo>
                    <a:pt x="628" y="112"/>
                  </a:lnTo>
                  <a:lnTo>
                    <a:pt x="630" y="114"/>
                  </a:lnTo>
                  <a:lnTo>
                    <a:pt x="630" y="116"/>
                  </a:lnTo>
                  <a:lnTo>
                    <a:pt x="632" y="116"/>
                  </a:lnTo>
                  <a:lnTo>
                    <a:pt x="636" y="118"/>
                  </a:lnTo>
                  <a:lnTo>
                    <a:pt x="642" y="120"/>
                  </a:lnTo>
                  <a:lnTo>
                    <a:pt x="644" y="120"/>
                  </a:lnTo>
                  <a:lnTo>
                    <a:pt x="650" y="120"/>
                  </a:lnTo>
                  <a:lnTo>
                    <a:pt x="650" y="122"/>
                  </a:lnTo>
                  <a:lnTo>
                    <a:pt x="658" y="126"/>
                  </a:lnTo>
                  <a:lnTo>
                    <a:pt x="666" y="128"/>
                  </a:lnTo>
                  <a:lnTo>
                    <a:pt x="672" y="130"/>
                  </a:lnTo>
                  <a:lnTo>
                    <a:pt x="672" y="128"/>
                  </a:lnTo>
                  <a:lnTo>
                    <a:pt x="674" y="128"/>
                  </a:lnTo>
                  <a:lnTo>
                    <a:pt x="676" y="128"/>
                  </a:lnTo>
                  <a:lnTo>
                    <a:pt x="678" y="128"/>
                  </a:lnTo>
                  <a:lnTo>
                    <a:pt x="682" y="130"/>
                  </a:lnTo>
                  <a:lnTo>
                    <a:pt x="696" y="140"/>
                  </a:lnTo>
                  <a:lnTo>
                    <a:pt x="704" y="144"/>
                  </a:lnTo>
                  <a:lnTo>
                    <a:pt x="706" y="148"/>
                  </a:lnTo>
                  <a:lnTo>
                    <a:pt x="710" y="152"/>
                  </a:lnTo>
                  <a:lnTo>
                    <a:pt x="712" y="154"/>
                  </a:lnTo>
                  <a:lnTo>
                    <a:pt x="712" y="156"/>
                  </a:lnTo>
                  <a:lnTo>
                    <a:pt x="714" y="156"/>
                  </a:lnTo>
                  <a:lnTo>
                    <a:pt x="724" y="162"/>
                  </a:lnTo>
                  <a:lnTo>
                    <a:pt x="726" y="162"/>
                  </a:lnTo>
                  <a:lnTo>
                    <a:pt x="730" y="164"/>
                  </a:lnTo>
                  <a:lnTo>
                    <a:pt x="732" y="166"/>
                  </a:lnTo>
                  <a:lnTo>
                    <a:pt x="732" y="168"/>
                  </a:lnTo>
                  <a:lnTo>
                    <a:pt x="734" y="168"/>
                  </a:lnTo>
                  <a:lnTo>
                    <a:pt x="738" y="172"/>
                  </a:lnTo>
                  <a:lnTo>
                    <a:pt x="744" y="174"/>
                  </a:lnTo>
                  <a:lnTo>
                    <a:pt x="748" y="176"/>
                  </a:lnTo>
                  <a:lnTo>
                    <a:pt x="750" y="176"/>
                  </a:lnTo>
                  <a:lnTo>
                    <a:pt x="752" y="176"/>
                  </a:lnTo>
                  <a:lnTo>
                    <a:pt x="756" y="178"/>
                  </a:lnTo>
                  <a:lnTo>
                    <a:pt x="760" y="182"/>
                  </a:lnTo>
                  <a:lnTo>
                    <a:pt x="764" y="184"/>
                  </a:lnTo>
                  <a:lnTo>
                    <a:pt x="768" y="184"/>
                  </a:lnTo>
                  <a:lnTo>
                    <a:pt x="772" y="186"/>
                  </a:lnTo>
                  <a:lnTo>
                    <a:pt x="776" y="188"/>
                  </a:lnTo>
                  <a:lnTo>
                    <a:pt x="780" y="190"/>
                  </a:lnTo>
                  <a:lnTo>
                    <a:pt x="782" y="190"/>
                  </a:lnTo>
                  <a:lnTo>
                    <a:pt x="784" y="190"/>
                  </a:lnTo>
                  <a:lnTo>
                    <a:pt x="784" y="192"/>
                  </a:lnTo>
                  <a:lnTo>
                    <a:pt x="790" y="196"/>
                  </a:lnTo>
                  <a:lnTo>
                    <a:pt x="790" y="198"/>
                  </a:lnTo>
                  <a:lnTo>
                    <a:pt x="792" y="200"/>
                  </a:lnTo>
                  <a:lnTo>
                    <a:pt x="794" y="202"/>
                  </a:lnTo>
                  <a:lnTo>
                    <a:pt x="796" y="208"/>
                  </a:lnTo>
                  <a:lnTo>
                    <a:pt x="798" y="210"/>
                  </a:lnTo>
                  <a:lnTo>
                    <a:pt x="798" y="212"/>
                  </a:lnTo>
                  <a:lnTo>
                    <a:pt x="798" y="216"/>
                  </a:lnTo>
                  <a:lnTo>
                    <a:pt x="788" y="226"/>
                  </a:lnTo>
                  <a:lnTo>
                    <a:pt x="786" y="228"/>
                  </a:lnTo>
                  <a:lnTo>
                    <a:pt x="784" y="228"/>
                  </a:lnTo>
                  <a:lnTo>
                    <a:pt x="784" y="232"/>
                  </a:lnTo>
                  <a:lnTo>
                    <a:pt x="782" y="234"/>
                  </a:lnTo>
                  <a:lnTo>
                    <a:pt x="780" y="238"/>
                  </a:lnTo>
                  <a:lnTo>
                    <a:pt x="780" y="240"/>
                  </a:lnTo>
                  <a:lnTo>
                    <a:pt x="774" y="246"/>
                  </a:lnTo>
                  <a:lnTo>
                    <a:pt x="770" y="246"/>
                  </a:lnTo>
                  <a:lnTo>
                    <a:pt x="766" y="252"/>
                  </a:lnTo>
                  <a:lnTo>
                    <a:pt x="766" y="254"/>
                  </a:lnTo>
                  <a:lnTo>
                    <a:pt x="764" y="256"/>
                  </a:lnTo>
                  <a:lnTo>
                    <a:pt x="762" y="262"/>
                  </a:lnTo>
                  <a:lnTo>
                    <a:pt x="762" y="270"/>
                  </a:lnTo>
                  <a:lnTo>
                    <a:pt x="762" y="272"/>
                  </a:lnTo>
                  <a:lnTo>
                    <a:pt x="762" y="276"/>
                  </a:lnTo>
                  <a:lnTo>
                    <a:pt x="754" y="288"/>
                  </a:lnTo>
                  <a:lnTo>
                    <a:pt x="752" y="288"/>
                  </a:lnTo>
                  <a:lnTo>
                    <a:pt x="750" y="288"/>
                  </a:lnTo>
                  <a:lnTo>
                    <a:pt x="746" y="292"/>
                  </a:lnTo>
                  <a:lnTo>
                    <a:pt x="740" y="300"/>
                  </a:lnTo>
                  <a:lnTo>
                    <a:pt x="738" y="300"/>
                  </a:lnTo>
                  <a:lnTo>
                    <a:pt x="736" y="302"/>
                  </a:lnTo>
                  <a:lnTo>
                    <a:pt x="736" y="304"/>
                  </a:lnTo>
                  <a:lnTo>
                    <a:pt x="738" y="306"/>
                  </a:lnTo>
                  <a:lnTo>
                    <a:pt x="738" y="310"/>
                  </a:lnTo>
                  <a:lnTo>
                    <a:pt x="740" y="310"/>
                  </a:lnTo>
                  <a:lnTo>
                    <a:pt x="742" y="310"/>
                  </a:lnTo>
                  <a:lnTo>
                    <a:pt x="742" y="308"/>
                  </a:lnTo>
                  <a:lnTo>
                    <a:pt x="744" y="308"/>
                  </a:lnTo>
                  <a:lnTo>
                    <a:pt x="754" y="308"/>
                  </a:lnTo>
                  <a:lnTo>
                    <a:pt x="760" y="308"/>
                  </a:lnTo>
                  <a:lnTo>
                    <a:pt x="768" y="308"/>
                  </a:lnTo>
                  <a:lnTo>
                    <a:pt x="772" y="310"/>
                  </a:lnTo>
                  <a:lnTo>
                    <a:pt x="778" y="310"/>
                  </a:lnTo>
                  <a:lnTo>
                    <a:pt x="782" y="312"/>
                  </a:lnTo>
                  <a:lnTo>
                    <a:pt x="784" y="314"/>
                  </a:lnTo>
                  <a:lnTo>
                    <a:pt x="786" y="314"/>
                  </a:lnTo>
                  <a:lnTo>
                    <a:pt x="786" y="316"/>
                  </a:lnTo>
                  <a:lnTo>
                    <a:pt x="798" y="318"/>
                  </a:lnTo>
                  <a:lnTo>
                    <a:pt x="800" y="320"/>
                  </a:lnTo>
                  <a:lnTo>
                    <a:pt x="802" y="320"/>
                  </a:lnTo>
                  <a:lnTo>
                    <a:pt x="804" y="320"/>
                  </a:lnTo>
                  <a:lnTo>
                    <a:pt x="806" y="322"/>
                  </a:lnTo>
                  <a:lnTo>
                    <a:pt x="808" y="324"/>
                  </a:lnTo>
                  <a:lnTo>
                    <a:pt x="812" y="324"/>
                  </a:lnTo>
                  <a:lnTo>
                    <a:pt x="814" y="324"/>
                  </a:lnTo>
                  <a:lnTo>
                    <a:pt x="816" y="324"/>
                  </a:lnTo>
                  <a:lnTo>
                    <a:pt x="816" y="322"/>
                  </a:lnTo>
                  <a:lnTo>
                    <a:pt x="818" y="320"/>
                  </a:lnTo>
                  <a:lnTo>
                    <a:pt x="822" y="320"/>
                  </a:lnTo>
                  <a:lnTo>
                    <a:pt x="824" y="320"/>
                  </a:lnTo>
                  <a:lnTo>
                    <a:pt x="826" y="322"/>
                  </a:lnTo>
                  <a:lnTo>
                    <a:pt x="826" y="324"/>
                  </a:lnTo>
                  <a:lnTo>
                    <a:pt x="828" y="324"/>
                  </a:lnTo>
                  <a:lnTo>
                    <a:pt x="830" y="324"/>
                  </a:lnTo>
                  <a:lnTo>
                    <a:pt x="832" y="324"/>
                  </a:lnTo>
                  <a:lnTo>
                    <a:pt x="834" y="324"/>
                  </a:lnTo>
                  <a:lnTo>
                    <a:pt x="834" y="322"/>
                  </a:lnTo>
                  <a:lnTo>
                    <a:pt x="836" y="322"/>
                  </a:lnTo>
                  <a:lnTo>
                    <a:pt x="838" y="322"/>
                  </a:lnTo>
                  <a:lnTo>
                    <a:pt x="840" y="322"/>
                  </a:lnTo>
                  <a:lnTo>
                    <a:pt x="840" y="324"/>
                  </a:lnTo>
                  <a:lnTo>
                    <a:pt x="842" y="324"/>
                  </a:lnTo>
                  <a:lnTo>
                    <a:pt x="844" y="328"/>
                  </a:lnTo>
                  <a:lnTo>
                    <a:pt x="846" y="330"/>
                  </a:lnTo>
                  <a:lnTo>
                    <a:pt x="848" y="330"/>
                  </a:lnTo>
                  <a:lnTo>
                    <a:pt x="850" y="330"/>
                  </a:lnTo>
                  <a:lnTo>
                    <a:pt x="854" y="324"/>
                  </a:lnTo>
                  <a:lnTo>
                    <a:pt x="854" y="322"/>
                  </a:lnTo>
                  <a:lnTo>
                    <a:pt x="854" y="320"/>
                  </a:lnTo>
                  <a:lnTo>
                    <a:pt x="860" y="316"/>
                  </a:lnTo>
                  <a:lnTo>
                    <a:pt x="862" y="316"/>
                  </a:lnTo>
                  <a:lnTo>
                    <a:pt x="864" y="316"/>
                  </a:lnTo>
                  <a:lnTo>
                    <a:pt x="866" y="316"/>
                  </a:lnTo>
                  <a:lnTo>
                    <a:pt x="870" y="318"/>
                  </a:lnTo>
                  <a:lnTo>
                    <a:pt x="872" y="318"/>
                  </a:lnTo>
                  <a:lnTo>
                    <a:pt x="874" y="320"/>
                  </a:lnTo>
                  <a:lnTo>
                    <a:pt x="874" y="322"/>
                  </a:lnTo>
                  <a:lnTo>
                    <a:pt x="880" y="324"/>
                  </a:lnTo>
                  <a:lnTo>
                    <a:pt x="888" y="318"/>
                  </a:lnTo>
                  <a:lnTo>
                    <a:pt x="890" y="314"/>
                  </a:lnTo>
                  <a:lnTo>
                    <a:pt x="890" y="312"/>
                  </a:lnTo>
                  <a:lnTo>
                    <a:pt x="890" y="308"/>
                  </a:lnTo>
                  <a:lnTo>
                    <a:pt x="890" y="306"/>
                  </a:lnTo>
                  <a:lnTo>
                    <a:pt x="898" y="300"/>
                  </a:lnTo>
                  <a:lnTo>
                    <a:pt x="900" y="300"/>
                  </a:lnTo>
                  <a:lnTo>
                    <a:pt x="900" y="298"/>
                  </a:lnTo>
                  <a:lnTo>
                    <a:pt x="906" y="298"/>
                  </a:lnTo>
                  <a:lnTo>
                    <a:pt x="908" y="298"/>
                  </a:lnTo>
                  <a:lnTo>
                    <a:pt x="914" y="294"/>
                  </a:lnTo>
                  <a:lnTo>
                    <a:pt x="918" y="290"/>
                  </a:lnTo>
                  <a:lnTo>
                    <a:pt x="920" y="290"/>
                  </a:lnTo>
                  <a:lnTo>
                    <a:pt x="922" y="290"/>
                  </a:lnTo>
                  <a:lnTo>
                    <a:pt x="924" y="288"/>
                  </a:lnTo>
                  <a:lnTo>
                    <a:pt x="924" y="284"/>
                  </a:lnTo>
                  <a:lnTo>
                    <a:pt x="926" y="284"/>
                  </a:lnTo>
                  <a:lnTo>
                    <a:pt x="928" y="282"/>
                  </a:lnTo>
                  <a:lnTo>
                    <a:pt x="928" y="284"/>
                  </a:lnTo>
                  <a:lnTo>
                    <a:pt x="938" y="270"/>
                  </a:lnTo>
                  <a:lnTo>
                    <a:pt x="940" y="264"/>
                  </a:lnTo>
                  <a:lnTo>
                    <a:pt x="940" y="260"/>
                  </a:lnTo>
                  <a:lnTo>
                    <a:pt x="942" y="260"/>
                  </a:lnTo>
                  <a:lnTo>
                    <a:pt x="942" y="258"/>
                  </a:lnTo>
                  <a:lnTo>
                    <a:pt x="942" y="256"/>
                  </a:lnTo>
                  <a:lnTo>
                    <a:pt x="942" y="246"/>
                  </a:lnTo>
                  <a:lnTo>
                    <a:pt x="946" y="244"/>
                  </a:lnTo>
                  <a:lnTo>
                    <a:pt x="946" y="236"/>
                  </a:lnTo>
                  <a:lnTo>
                    <a:pt x="946" y="228"/>
                  </a:lnTo>
                  <a:lnTo>
                    <a:pt x="946" y="224"/>
                  </a:lnTo>
                  <a:lnTo>
                    <a:pt x="950" y="224"/>
                  </a:lnTo>
                  <a:lnTo>
                    <a:pt x="954" y="228"/>
                  </a:lnTo>
                  <a:lnTo>
                    <a:pt x="958" y="226"/>
                  </a:lnTo>
                  <a:lnTo>
                    <a:pt x="962" y="224"/>
                  </a:lnTo>
                  <a:lnTo>
                    <a:pt x="964" y="224"/>
                  </a:lnTo>
                  <a:lnTo>
                    <a:pt x="968" y="224"/>
                  </a:lnTo>
                  <a:lnTo>
                    <a:pt x="970" y="224"/>
                  </a:lnTo>
                  <a:lnTo>
                    <a:pt x="972" y="220"/>
                  </a:lnTo>
                  <a:lnTo>
                    <a:pt x="982" y="230"/>
                  </a:lnTo>
                  <a:lnTo>
                    <a:pt x="984" y="232"/>
                  </a:lnTo>
                  <a:lnTo>
                    <a:pt x="984" y="238"/>
                  </a:lnTo>
                  <a:lnTo>
                    <a:pt x="984" y="240"/>
                  </a:lnTo>
                  <a:lnTo>
                    <a:pt x="984" y="242"/>
                  </a:lnTo>
                  <a:lnTo>
                    <a:pt x="984" y="248"/>
                  </a:lnTo>
                  <a:lnTo>
                    <a:pt x="988" y="254"/>
                  </a:lnTo>
                  <a:lnTo>
                    <a:pt x="990" y="260"/>
                  </a:lnTo>
                  <a:lnTo>
                    <a:pt x="990" y="262"/>
                  </a:lnTo>
                  <a:lnTo>
                    <a:pt x="990" y="264"/>
                  </a:lnTo>
                  <a:lnTo>
                    <a:pt x="990" y="266"/>
                  </a:lnTo>
                  <a:lnTo>
                    <a:pt x="990" y="268"/>
                  </a:lnTo>
                  <a:lnTo>
                    <a:pt x="988" y="268"/>
                  </a:lnTo>
                  <a:lnTo>
                    <a:pt x="988" y="270"/>
                  </a:lnTo>
                  <a:lnTo>
                    <a:pt x="986" y="278"/>
                  </a:lnTo>
                  <a:lnTo>
                    <a:pt x="984" y="286"/>
                  </a:lnTo>
                  <a:lnTo>
                    <a:pt x="984" y="288"/>
                  </a:lnTo>
                  <a:lnTo>
                    <a:pt x="984" y="292"/>
                  </a:lnTo>
                  <a:lnTo>
                    <a:pt x="984" y="298"/>
                  </a:lnTo>
                  <a:lnTo>
                    <a:pt x="984" y="300"/>
                  </a:lnTo>
                  <a:lnTo>
                    <a:pt x="982" y="304"/>
                  </a:lnTo>
                  <a:lnTo>
                    <a:pt x="982" y="306"/>
                  </a:lnTo>
                  <a:lnTo>
                    <a:pt x="978" y="312"/>
                  </a:lnTo>
                  <a:lnTo>
                    <a:pt x="976" y="314"/>
                  </a:lnTo>
                  <a:lnTo>
                    <a:pt x="976" y="312"/>
                  </a:lnTo>
                  <a:lnTo>
                    <a:pt x="974" y="312"/>
                  </a:lnTo>
                  <a:lnTo>
                    <a:pt x="968" y="314"/>
                  </a:lnTo>
                  <a:lnTo>
                    <a:pt x="966" y="316"/>
                  </a:lnTo>
                  <a:lnTo>
                    <a:pt x="964" y="318"/>
                  </a:lnTo>
                  <a:lnTo>
                    <a:pt x="964" y="320"/>
                  </a:lnTo>
                  <a:lnTo>
                    <a:pt x="962" y="320"/>
                  </a:lnTo>
                  <a:lnTo>
                    <a:pt x="960" y="320"/>
                  </a:lnTo>
                  <a:lnTo>
                    <a:pt x="956" y="324"/>
                  </a:lnTo>
                  <a:lnTo>
                    <a:pt x="952" y="326"/>
                  </a:lnTo>
                  <a:lnTo>
                    <a:pt x="948" y="328"/>
                  </a:lnTo>
                  <a:lnTo>
                    <a:pt x="944" y="328"/>
                  </a:lnTo>
                  <a:lnTo>
                    <a:pt x="940" y="330"/>
                  </a:lnTo>
                  <a:lnTo>
                    <a:pt x="934" y="332"/>
                  </a:lnTo>
                  <a:lnTo>
                    <a:pt x="932" y="332"/>
                  </a:lnTo>
                  <a:lnTo>
                    <a:pt x="928" y="332"/>
                  </a:lnTo>
                  <a:lnTo>
                    <a:pt x="928" y="330"/>
                  </a:lnTo>
                  <a:lnTo>
                    <a:pt x="926" y="332"/>
                  </a:lnTo>
                  <a:lnTo>
                    <a:pt x="920" y="338"/>
                  </a:lnTo>
                  <a:lnTo>
                    <a:pt x="920" y="340"/>
                  </a:lnTo>
                  <a:lnTo>
                    <a:pt x="920" y="342"/>
                  </a:lnTo>
                  <a:lnTo>
                    <a:pt x="914" y="346"/>
                  </a:lnTo>
                  <a:lnTo>
                    <a:pt x="912" y="348"/>
                  </a:lnTo>
                  <a:lnTo>
                    <a:pt x="906" y="348"/>
                  </a:lnTo>
                  <a:lnTo>
                    <a:pt x="898" y="352"/>
                  </a:lnTo>
                  <a:lnTo>
                    <a:pt x="896" y="354"/>
                  </a:lnTo>
                  <a:lnTo>
                    <a:pt x="894" y="356"/>
                  </a:lnTo>
                  <a:lnTo>
                    <a:pt x="890" y="360"/>
                  </a:lnTo>
                  <a:lnTo>
                    <a:pt x="884" y="362"/>
                  </a:lnTo>
                  <a:lnTo>
                    <a:pt x="882" y="362"/>
                  </a:lnTo>
                  <a:lnTo>
                    <a:pt x="878" y="364"/>
                  </a:lnTo>
                  <a:lnTo>
                    <a:pt x="878" y="366"/>
                  </a:lnTo>
                  <a:lnTo>
                    <a:pt x="876" y="366"/>
                  </a:lnTo>
                  <a:lnTo>
                    <a:pt x="874" y="366"/>
                  </a:lnTo>
                  <a:lnTo>
                    <a:pt x="874" y="368"/>
                  </a:lnTo>
                  <a:lnTo>
                    <a:pt x="876" y="370"/>
                  </a:lnTo>
                  <a:lnTo>
                    <a:pt x="878" y="372"/>
                  </a:lnTo>
                  <a:lnTo>
                    <a:pt x="878" y="374"/>
                  </a:lnTo>
                  <a:lnTo>
                    <a:pt x="876" y="378"/>
                  </a:lnTo>
                  <a:lnTo>
                    <a:pt x="876" y="376"/>
                  </a:lnTo>
                  <a:lnTo>
                    <a:pt x="876" y="374"/>
                  </a:lnTo>
                  <a:lnTo>
                    <a:pt x="870" y="374"/>
                  </a:lnTo>
                  <a:lnTo>
                    <a:pt x="868" y="374"/>
                  </a:lnTo>
                  <a:lnTo>
                    <a:pt x="862" y="380"/>
                  </a:lnTo>
                  <a:lnTo>
                    <a:pt x="860" y="384"/>
                  </a:lnTo>
                  <a:lnTo>
                    <a:pt x="858" y="388"/>
                  </a:lnTo>
                  <a:lnTo>
                    <a:pt x="852" y="394"/>
                  </a:lnTo>
                  <a:lnTo>
                    <a:pt x="846" y="396"/>
                  </a:lnTo>
                  <a:lnTo>
                    <a:pt x="846" y="398"/>
                  </a:lnTo>
                  <a:lnTo>
                    <a:pt x="844" y="398"/>
                  </a:lnTo>
                  <a:lnTo>
                    <a:pt x="838" y="410"/>
                  </a:lnTo>
                  <a:lnTo>
                    <a:pt x="836" y="412"/>
                  </a:lnTo>
                  <a:lnTo>
                    <a:pt x="834" y="412"/>
                  </a:lnTo>
                  <a:lnTo>
                    <a:pt x="832" y="414"/>
                  </a:lnTo>
                  <a:lnTo>
                    <a:pt x="830" y="414"/>
                  </a:lnTo>
                  <a:lnTo>
                    <a:pt x="828" y="416"/>
                  </a:lnTo>
                  <a:lnTo>
                    <a:pt x="826" y="418"/>
                  </a:lnTo>
                  <a:lnTo>
                    <a:pt x="826" y="420"/>
                  </a:lnTo>
                  <a:lnTo>
                    <a:pt x="822" y="426"/>
                  </a:lnTo>
                  <a:lnTo>
                    <a:pt x="816" y="432"/>
                  </a:lnTo>
                  <a:lnTo>
                    <a:pt x="810" y="436"/>
                  </a:lnTo>
                  <a:lnTo>
                    <a:pt x="804" y="444"/>
                  </a:lnTo>
                  <a:lnTo>
                    <a:pt x="802" y="446"/>
                  </a:lnTo>
                  <a:lnTo>
                    <a:pt x="800" y="448"/>
                  </a:lnTo>
                  <a:lnTo>
                    <a:pt x="798" y="448"/>
                  </a:lnTo>
                  <a:lnTo>
                    <a:pt x="796" y="448"/>
                  </a:lnTo>
                  <a:lnTo>
                    <a:pt x="794" y="448"/>
                  </a:lnTo>
                  <a:lnTo>
                    <a:pt x="792" y="448"/>
                  </a:lnTo>
                  <a:lnTo>
                    <a:pt x="792" y="450"/>
                  </a:lnTo>
                  <a:lnTo>
                    <a:pt x="790" y="450"/>
                  </a:lnTo>
                  <a:lnTo>
                    <a:pt x="790" y="454"/>
                  </a:lnTo>
                  <a:lnTo>
                    <a:pt x="788" y="458"/>
                  </a:lnTo>
                  <a:lnTo>
                    <a:pt x="788" y="460"/>
                  </a:lnTo>
                  <a:lnTo>
                    <a:pt x="780" y="466"/>
                  </a:lnTo>
                  <a:lnTo>
                    <a:pt x="778" y="468"/>
                  </a:lnTo>
                  <a:lnTo>
                    <a:pt x="776" y="470"/>
                  </a:lnTo>
                  <a:lnTo>
                    <a:pt x="774" y="470"/>
                  </a:lnTo>
                  <a:lnTo>
                    <a:pt x="772" y="472"/>
                  </a:lnTo>
                  <a:lnTo>
                    <a:pt x="772" y="474"/>
                  </a:lnTo>
                  <a:lnTo>
                    <a:pt x="772" y="476"/>
                  </a:lnTo>
                  <a:lnTo>
                    <a:pt x="770" y="478"/>
                  </a:lnTo>
                  <a:lnTo>
                    <a:pt x="766" y="482"/>
                  </a:lnTo>
                  <a:lnTo>
                    <a:pt x="762" y="484"/>
                  </a:lnTo>
                  <a:lnTo>
                    <a:pt x="760" y="486"/>
                  </a:lnTo>
                  <a:lnTo>
                    <a:pt x="758" y="488"/>
                  </a:lnTo>
                  <a:lnTo>
                    <a:pt x="758" y="490"/>
                  </a:lnTo>
                  <a:lnTo>
                    <a:pt x="758" y="492"/>
                  </a:lnTo>
                  <a:lnTo>
                    <a:pt x="760" y="494"/>
                  </a:lnTo>
                  <a:lnTo>
                    <a:pt x="762" y="498"/>
                  </a:lnTo>
                  <a:lnTo>
                    <a:pt x="762" y="500"/>
                  </a:lnTo>
                  <a:lnTo>
                    <a:pt x="762" y="502"/>
                  </a:lnTo>
                  <a:lnTo>
                    <a:pt x="762" y="508"/>
                  </a:lnTo>
                  <a:lnTo>
                    <a:pt x="758" y="516"/>
                  </a:lnTo>
                  <a:lnTo>
                    <a:pt x="752" y="528"/>
                  </a:lnTo>
                  <a:lnTo>
                    <a:pt x="748" y="536"/>
                  </a:lnTo>
                  <a:lnTo>
                    <a:pt x="746" y="536"/>
                  </a:lnTo>
                  <a:lnTo>
                    <a:pt x="744" y="538"/>
                  </a:lnTo>
                  <a:lnTo>
                    <a:pt x="744" y="540"/>
                  </a:lnTo>
                  <a:lnTo>
                    <a:pt x="746" y="540"/>
                  </a:lnTo>
                  <a:lnTo>
                    <a:pt x="746" y="542"/>
                  </a:lnTo>
                  <a:lnTo>
                    <a:pt x="748" y="544"/>
                  </a:lnTo>
                  <a:lnTo>
                    <a:pt x="748" y="546"/>
                  </a:lnTo>
                  <a:lnTo>
                    <a:pt x="744" y="556"/>
                  </a:lnTo>
                  <a:lnTo>
                    <a:pt x="742" y="558"/>
                  </a:lnTo>
                  <a:lnTo>
                    <a:pt x="740" y="558"/>
                  </a:lnTo>
                  <a:lnTo>
                    <a:pt x="738" y="558"/>
                  </a:lnTo>
                  <a:lnTo>
                    <a:pt x="736" y="560"/>
                  </a:lnTo>
                  <a:lnTo>
                    <a:pt x="736" y="562"/>
                  </a:lnTo>
                  <a:lnTo>
                    <a:pt x="738" y="564"/>
                  </a:lnTo>
                  <a:lnTo>
                    <a:pt x="738" y="566"/>
                  </a:lnTo>
                  <a:lnTo>
                    <a:pt x="738" y="570"/>
                  </a:lnTo>
                  <a:lnTo>
                    <a:pt x="736" y="572"/>
                  </a:lnTo>
                  <a:lnTo>
                    <a:pt x="736" y="574"/>
                  </a:lnTo>
                  <a:lnTo>
                    <a:pt x="736" y="576"/>
                  </a:lnTo>
                  <a:lnTo>
                    <a:pt x="736" y="578"/>
                  </a:lnTo>
                  <a:lnTo>
                    <a:pt x="738" y="580"/>
                  </a:lnTo>
                  <a:lnTo>
                    <a:pt x="738" y="582"/>
                  </a:lnTo>
                  <a:lnTo>
                    <a:pt x="738" y="584"/>
                  </a:lnTo>
                  <a:lnTo>
                    <a:pt x="736" y="586"/>
                  </a:lnTo>
                  <a:lnTo>
                    <a:pt x="736" y="588"/>
                  </a:lnTo>
                  <a:lnTo>
                    <a:pt x="734" y="588"/>
                  </a:lnTo>
                  <a:lnTo>
                    <a:pt x="732" y="592"/>
                  </a:lnTo>
                  <a:lnTo>
                    <a:pt x="732" y="594"/>
                  </a:lnTo>
                  <a:lnTo>
                    <a:pt x="732" y="596"/>
                  </a:lnTo>
                  <a:lnTo>
                    <a:pt x="730" y="598"/>
                  </a:lnTo>
                  <a:lnTo>
                    <a:pt x="732" y="606"/>
                  </a:lnTo>
                  <a:lnTo>
                    <a:pt x="732" y="614"/>
                  </a:lnTo>
                  <a:lnTo>
                    <a:pt x="732" y="620"/>
                  </a:lnTo>
                  <a:lnTo>
                    <a:pt x="732" y="624"/>
                  </a:lnTo>
                  <a:lnTo>
                    <a:pt x="732" y="626"/>
                  </a:lnTo>
                  <a:lnTo>
                    <a:pt x="730" y="626"/>
                  </a:lnTo>
                  <a:lnTo>
                    <a:pt x="728" y="626"/>
                  </a:lnTo>
                  <a:lnTo>
                    <a:pt x="726" y="626"/>
                  </a:lnTo>
                  <a:lnTo>
                    <a:pt x="722" y="626"/>
                  </a:lnTo>
                  <a:lnTo>
                    <a:pt x="720" y="626"/>
                  </a:lnTo>
                  <a:lnTo>
                    <a:pt x="718" y="626"/>
                  </a:lnTo>
                  <a:lnTo>
                    <a:pt x="718" y="636"/>
                  </a:lnTo>
                  <a:lnTo>
                    <a:pt x="716" y="638"/>
                  </a:lnTo>
                  <a:lnTo>
                    <a:pt x="714" y="640"/>
                  </a:lnTo>
                  <a:lnTo>
                    <a:pt x="712" y="642"/>
                  </a:lnTo>
                  <a:lnTo>
                    <a:pt x="712" y="648"/>
                  </a:lnTo>
                  <a:lnTo>
                    <a:pt x="710" y="650"/>
                  </a:lnTo>
                  <a:lnTo>
                    <a:pt x="710" y="656"/>
                  </a:lnTo>
                  <a:lnTo>
                    <a:pt x="710" y="658"/>
                  </a:lnTo>
                  <a:lnTo>
                    <a:pt x="708" y="660"/>
                  </a:lnTo>
                  <a:lnTo>
                    <a:pt x="710" y="662"/>
                  </a:lnTo>
                  <a:lnTo>
                    <a:pt x="712" y="666"/>
                  </a:lnTo>
                  <a:lnTo>
                    <a:pt x="712" y="668"/>
                  </a:lnTo>
                  <a:lnTo>
                    <a:pt x="712" y="674"/>
                  </a:lnTo>
                  <a:lnTo>
                    <a:pt x="712" y="676"/>
                  </a:lnTo>
                  <a:lnTo>
                    <a:pt x="714" y="676"/>
                  </a:lnTo>
                  <a:lnTo>
                    <a:pt x="714" y="678"/>
                  </a:lnTo>
                  <a:lnTo>
                    <a:pt x="716" y="678"/>
                  </a:lnTo>
                  <a:lnTo>
                    <a:pt x="714" y="686"/>
                  </a:lnTo>
                  <a:lnTo>
                    <a:pt x="712" y="688"/>
                  </a:lnTo>
                  <a:lnTo>
                    <a:pt x="712" y="690"/>
                  </a:lnTo>
                  <a:lnTo>
                    <a:pt x="710" y="692"/>
                  </a:lnTo>
                  <a:lnTo>
                    <a:pt x="708" y="694"/>
                  </a:lnTo>
                  <a:lnTo>
                    <a:pt x="708" y="696"/>
                  </a:lnTo>
                  <a:lnTo>
                    <a:pt x="708" y="702"/>
                  </a:lnTo>
                  <a:lnTo>
                    <a:pt x="708" y="706"/>
                  </a:lnTo>
                  <a:lnTo>
                    <a:pt x="710" y="708"/>
                  </a:lnTo>
                  <a:lnTo>
                    <a:pt x="712" y="708"/>
                  </a:lnTo>
                  <a:lnTo>
                    <a:pt x="714" y="710"/>
                  </a:lnTo>
                  <a:lnTo>
                    <a:pt x="714" y="712"/>
                  </a:lnTo>
                  <a:lnTo>
                    <a:pt x="718" y="714"/>
                  </a:lnTo>
                  <a:lnTo>
                    <a:pt x="722" y="716"/>
                  </a:lnTo>
                  <a:lnTo>
                    <a:pt x="724" y="718"/>
                  </a:lnTo>
                  <a:lnTo>
                    <a:pt x="726" y="718"/>
                  </a:lnTo>
                  <a:lnTo>
                    <a:pt x="728" y="720"/>
                  </a:lnTo>
                  <a:lnTo>
                    <a:pt x="736" y="724"/>
                  </a:lnTo>
                  <a:lnTo>
                    <a:pt x="738" y="726"/>
                  </a:lnTo>
                  <a:lnTo>
                    <a:pt x="752" y="734"/>
                  </a:lnTo>
                  <a:lnTo>
                    <a:pt x="758" y="742"/>
                  </a:lnTo>
                  <a:lnTo>
                    <a:pt x="760" y="742"/>
                  </a:lnTo>
                  <a:lnTo>
                    <a:pt x="764" y="750"/>
                  </a:lnTo>
                  <a:lnTo>
                    <a:pt x="766" y="756"/>
                  </a:lnTo>
                  <a:lnTo>
                    <a:pt x="766" y="760"/>
                  </a:lnTo>
                  <a:lnTo>
                    <a:pt x="764" y="760"/>
                  </a:lnTo>
                  <a:lnTo>
                    <a:pt x="762" y="764"/>
                  </a:lnTo>
                  <a:lnTo>
                    <a:pt x="760" y="766"/>
                  </a:lnTo>
                  <a:lnTo>
                    <a:pt x="756" y="770"/>
                  </a:lnTo>
                  <a:lnTo>
                    <a:pt x="754" y="774"/>
                  </a:lnTo>
                  <a:lnTo>
                    <a:pt x="752" y="776"/>
                  </a:lnTo>
                  <a:lnTo>
                    <a:pt x="752" y="778"/>
                  </a:lnTo>
                  <a:lnTo>
                    <a:pt x="750" y="782"/>
                  </a:lnTo>
                  <a:lnTo>
                    <a:pt x="750" y="784"/>
                  </a:lnTo>
                  <a:lnTo>
                    <a:pt x="752" y="786"/>
                  </a:lnTo>
                  <a:lnTo>
                    <a:pt x="754" y="792"/>
                  </a:lnTo>
                  <a:lnTo>
                    <a:pt x="756" y="798"/>
                  </a:lnTo>
                  <a:lnTo>
                    <a:pt x="758" y="798"/>
                  </a:lnTo>
                  <a:lnTo>
                    <a:pt x="760" y="802"/>
                  </a:lnTo>
                  <a:lnTo>
                    <a:pt x="762" y="804"/>
                  </a:lnTo>
                  <a:lnTo>
                    <a:pt x="764" y="804"/>
                  </a:lnTo>
                  <a:lnTo>
                    <a:pt x="770" y="808"/>
                  </a:lnTo>
                  <a:lnTo>
                    <a:pt x="772" y="808"/>
                  </a:lnTo>
                  <a:lnTo>
                    <a:pt x="778" y="806"/>
                  </a:lnTo>
                  <a:lnTo>
                    <a:pt x="780" y="812"/>
                  </a:lnTo>
                  <a:lnTo>
                    <a:pt x="780" y="822"/>
                  </a:lnTo>
                  <a:lnTo>
                    <a:pt x="778" y="838"/>
                  </a:lnTo>
                  <a:lnTo>
                    <a:pt x="778" y="840"/>
                  </a:lnTo>
                  <a:lnTo>
                    <a:pt x="776" y="840"/>
                  </a:lnTo>
                  <a:lnTo>
                    <a:pt x="776" y="842"/>
                  </a:lnTo>
                  <a:lnTo>
                    <a:pt x="774" y="842"/>
                  </a:lnTo>
                  <a:lnTo>
                    <a:pt x="770" y="848"/>
                  </a:lnTo>
                  <a:lnTo>
                    <a:pt x="762" y="858"/>
                  </a:lnTo>
                  <a:lnTo>
                    <a:pt x="758" y="862"/>
                  </a:lnTo>
                  <a:lnTo>
                    <a:pt x="758" y="864"/>
                  </a:lnTo>
                  <a:lnTo>
                    <a:pt x="756" y="868"/>
                  </a:lnTo>
                  <a:lnTo>
                    <a:pt x="754" y="870"/>
                  </a:lnTo>
                  <a:lnTo>
                    <a:pt x="750" y="874"/>
                  </a:lnTo>
                  <a:lnTo>
                    <a:pt x="748" y="874"/>
                  </a:lnTo>
                  <a:lnTo>
                    <a:pt x="746" y="876"/>
                  </a:lnTo>
                  <a:lnTo>
                    <a:pt x="744" y="876"/>
                  </a:lnTo>
                  <a:lnTo>
                    <a:pt x="742" y="878"/>
                  </a:lnTo>
                  <a:lnTo>
                    <a:pt x="738" y="882"/>
                  </a:lnTo>
                  <a:lnTo>
                    <a:pt x="734" y="886"/>
                  </a:lnTo>
                  <a:lnTo>
                    <a:pt x="732" y="888"/>
                  </a:lnTo>
                  <a:lnTo>
                    <a:pt x="732" y="890"/>
                  </a:lnTo>
                  <a:lnTo>
                    <a:pt x="732" y="892"/>
                  </a:lnTo>
                  <a:lnTo>
                    <a:pt x="730" y="892"/>
                  </a:lnTo>
                  <a:lnTo>
                    <a:pt x="730" y="896"/>
                  </a:lnTo>
                  <a:lnTo>
                    <a:pt x="730" y="900"/>
                  </a:lnTo>
                  <a:lnTo>
                    <a:pt x="728" y="902"/>
                  </a:lnTo>
                  <a:lnTo>
                    <a:pt x="728" y="904"/>
                  </a:lnTo>
                  <a:lnTo>
                    <a:pt x="724" y="906"/>
                  </a:lnTo>
                  <a:lnTo>
                    <a:pt x="714" y="912"/>
                  </a:lnTo>
                  <a:lnTo>
                    <a:pt x="700" y="918"/>
                  </a:lnTo>
                  <a:lnTo>
                    <a:pt x="698" y="918"/>
                  </a:lnTo>
                  <a:lnTo>
                    <a:pt x="692" y="920"/>
                  </a:lnTo>
                  <a:lnTo>
                    <a:pt x="676" y="924"/>
                  </a:lnTo>
                  <a:lnTo>
                    <a:pt x="670" y="926"/>
                  </a:lnTo>
                  <a:lnTo>
                    <a:pt x="658" y="930"/>
                  </a:lnTo>
                  <a:lnTo>
                    <a:pt x="656" y="930"/>
                  </a:lnTo>
                  <a:lnTo>
                    <a:pt x="654" y="930"/>
                  </a:lnTo>
                  <a:lnTo>
                    <a:pt x="650" y="930"/>
                  </a:lnTo>
                  <a:lnTo>
                    <a:pt x="648" y="932"/>
                  </a:lnTo>
                  <a:lnTo>
                    <a:pt x="636" y="932"/>
                  </a:lnTo>
                  <a:lnTo>
                    <a:pt x="628" y="934"/>
                  </a:lnTo>
                  <a:lnTo>
                    <a:pt x="622" y="936"/>
                  </a:lnTo>
                  <a:lnTo>
                    <a:pt x="618" y="936"/>
                  </a:lnTo>
                  <a:lnTo>
                    <a:pt x="616" y="936"/>
                  </a:lnTo>
                  <a:lnTo>
                    <a:pt x="604" y="938"/>
                  </a:lnTo>
                  <a:lnTo>
                    <a:pt x="592" y="938"/>
                  </a:lnTo>
                  <a:lnTo>
                    <a:pt x="580" y="940"/>
                  </a:lnTo>
                  <a:lnTo>
                    <a:pt x="576" y="940"/>
                  </a:lnTo>
                  <a:lnTo>
                    <a:pt x="574" y="940"/>
                  </a:lnTo>
                  <a:lnTo>
                    <a:pt x="562" y="942"/>
                  </a:lnTo>
                  <a:lnTo>
                    <a:pt x="558" y="942"/>
                  </a:lnTo>
                  <a:lnTo>
                    <a:pt x="552" y="940"/>
                  </a:lnTo>
                  <a:lnTo>
                    <a:pt x="550" y="940"/>
                  </a:lnTo>
                  <a:lnTo>
                    <a:pt x="548" y="940"/>
                  </a:lnTo>
                  <a:lnTo>
                    <a:pt x="546" y="940"/>
                  </a:lnTo>
                  <a:lnTo>
                    <a:pt x="544" y="942"/>
                  </a:lnTo>
                  <a:lnTo>
                    <a:pt x="542" y="942"/>
                  </a:lnTo>
                  <a:lnTo>
                    <a:pt x="538" y="940"/>
                  </a:lnTo>
                  <a:lnTo>
                    <a:pt x="530" y="940"/>
                  </a:lnTo>
                  <a:lnTo>
                    <a:pt x="528" y="938"/>
                  </a:lnTo>
                  <a:lnTo>
                    <a:pt x="522" y="938"/>
                  </a:lnTo>
                  <a:lnTo>
                    <a:pt x="520" y="936"/>
                  </a:lnTo>
                  <a:lnTo>
                    <a:pt x="518" y="934"/>
                  </a:lnTo>
                  <a:lnTo>
                    <a:pt x="518" y="932"/>
                  </a:lnTo>
                  <a:lnTo>
                    <a:pt x="516" y="932"/>
                  </a:lnTo>
                  <a:lnTo>
                    <a:pt x="512" y="930"/>
                  </a:lnTo>
                  <a:lnTo>
                    <a:pt x="506" y="928"/>
                  </a:lnTo>
                  <a:lnTo>
                    <a:pt x="504" y="928"/>
                  </a:lnTo>
                  <a:lnTo>
                    <a:pt x="504" y="930"/>
                  </a:lnTo>
                  <a:lnTo>
                    <a:pt x="504" y="932"/>
                  </a:lnTo>
                  <a:lnTo>
                    <a:pt x="506" y="934"/>
                  </a:lnTo>
                  <a:lnTo>
                    <a:pt x="508" y="936"/>
                  </a:lnTo>
                  <a:lnTo>
                    <a:pt x="506" y="942"/>
                  </a:lnTo>
                  <a:lnTo>
                    <a:pt x="506" y="944"/>
                  </a:lnTo>
                  <a:lnTo>
                    <a:pt x="504" y="948"/>
                  </a:lnTo>
                  <a:lnTo>
                    <a:pt x="504" y="952"/>
                  </a:lnTo>
                  <a:lnTo>
                    <a:pt x="506" y="954"/>
                  </a:lnTo>
                  <a:lnTo>
                    <a:pt x="508" y="954"/>
                  </a:lnTo>
                  <a:lnTo>
                    <a:pt x="510" y="954"/>
                  </a:lnTo>
                  <a:lnTo>
                    <a:pt x="512" y="954"/>
                  </a:lnTo>
                  <a:lnTo>
                    <a:pt x="516" y="958"/>
                  </a:lnTo>
                  <a:lnTo>
                    <a:pt x="518" y="960"/>
                  </a:lnTo>
                  <a:lnTo>
                    <a:pt x="516" y="962"/>
                  </a:lnTo>
                  <a:lnTo>
                    <a:pt x="514" y="960"/>
                  </a:lnTo>
                  <a:lnTo>
                    <a:pt x="512" y="958"/>
                  </a:lnTo>
                  <a:lnTo>
                    <a:pt x="510" y="956"/>
                  </a:lnTo>
                  <a:lnTo>
                    <a:pt x="508" y="956"/>
                  </a:lnTo>
                  <a:lnTo>
                    <a:pt x="506" y="958"/>
                  </a:lnTo>
                  <a:lnTo>
                    <a:pt x="512" y="964"/>
                  </a:lnTo>
                  <a:lnTo>
                    <a:pt x="516" y="968"/>
                  </a:lnTo>
                  <a:lnTo>
                    <a:pt x="514" y="974"/>
                  </a:lnTo>
                  <a:lnTo>
                    <a:pt x="512" y="978"/>
                  </a:lnTo>
                  <a:lnTo>
                    <a:pt x="512" y="980"/>
                  </a:lnTo>
                  <a:lnTo>
                    <a:pt x="512" y="982"/>
                  </a:lnTo>
                  <a:lnTo>
                    <a:pt x="512" y="986"/>
                  </a:lnTo>
                  <a:lnTo>
                    <a:pt x="510" y="986"/>
                  </a:lnTo>
                  <a:lnTo>
                    <a:pt x="504" y="986"/>
                  </a:lnTo>
                  <a:lnTo>
                    <a:pt x="504" y="988"/>
                  </a:lnTo>
                  <a:lnTo>
                    <a:pt x="502" y="994"/>
                  </a:lnTo>
                  <a:lnTo>
                    <a:pt x="500" y="1000"/>
                  </a:lnTo>
                  <a:lnTo>
                    <a:pt x="500" y="1004"/>
                  </a:lnTo>
                  <a:lnTo>
                    <a:pt x="498" y="1006"/>
                  </a:lnTo>
                  <a:lnTo>
                    <a:pt x="496" y="1006"/>
                  </a:lnTo>
                  <a:lnTo>
                    <a:pt x="494" y="1008"/>
                  </a:lnTo>
                  <a:lnTo>
                    <a:pt x="492" y="1010"/>
                  </a:lnTo>
                  <a:lnTo>
                    <a:pt x="494" y="1016"/>
                  </a:lnTo>
                  <a:lnTo>
                    <a:pt x="496" y="1018"/>
                  </a:lnTo>
                  <a:lnTo>
                    <a:pt x="500" y="1024"/>
                  </a:lnTo>
                  <a:lnTo>
                    <a:pt x="502" y="1024"/>
                  </a:lnTo>
                  <a:lnTo>
                    <a:pt x="502" y="1026"/>
                  </a:lnTo>
                  <a:lnTo>
                    <a:pt x="502" y="1028"/>
                  </a:lnTo>
                  <a:lnTo>
                    <a:pt x="500" y="1028"/>
                  </a:lnTo>
                  <a:lnTo>
                    <a:pt x="498" y="1026"/>
                  </a:lnTo>
                  <a:lnTo>
                    <a:pt x="498" y="1030"/>
                  </a:lnTo>
                  <a:lnTo>
                    <a:pt x="502" y="1028"/>
                  </a:lnTo>
                  <a:lnTo>
                    <a:pt x="504" y="1028"/>
                  </a:lnTo>
                  <a:lnTo>
                    <a:pt x="504" y="1030"/>
                  </a:lnTo>
                  <a:lnTo>
                    <a:pt x="500" y="1036"/>
                  </a:lnTo>
                  <a:lnTo>
                    <a:pt x="498" y="1040"/>
                  </a:lnTo>
                  <a:lnTo>
                    <a:pt x="494" y="1042"/>
                  </a:lnTo>
                  <a:lnTo>
                    <a:pt x="486" y="1046"/>
                  </a:lnTo>
                  <a:lnTo>
                    <a:pt x="478" y="1050"/>
                  </a:lnTo>
                  <a:lnTo>
                    <a:pt x="476" y="1050"/>
                  </a:lnTo>
                  <a:lnTo>
                    <a:pt x="468" y="1052"/>
                  </a:lnTo>
                  <a:lnTo>
                    <a:pt x="466" y="1054"/>
                  </a:lnTo>
                  <a:lnTo>
                    <a:pt x="464" y="1054"/>
                  </a:lnTo>
                  <a:lnTo>
                    <a:pt x="460" y="1056"/>
                  </a:lnTo>
                  <a:lnTo>
                    <a:pt x="450" y="1054"/>
                  </a:lnTo>
                  <a:lnTo>
                    <a:pt x="446" y="1054"/>
                  </a:lnTo>
                  <a:lnTo>
                    <a:pt x="442" y="1054"/>
                  </a:lnTo>
                  <a:lnTo>
                    <a:pt x="436" y="1054"/>
                  </a:lnTo>
                  <a:lnTo>
                    <a:pt x="434" y="1054"/>
                  </a:lnTo>
                  <a:lnTo>
                    <a:pt x="432" y="1054"/>
                  </a:lnTo>
                  <a:lnTo>
                    <a:pt x="430" y="1054"/>
                  </a:lnTo>
                  <a:lnTo>
                    <a:pt x="428" y="1052"/>
                  </a:lnTo>
                  <a:lnTo>
                    <a:pt x="426" y="1050"/>
                  </a:lnTo>
                  <a:lnTo>
                    <a:pt x="424" y="1048"/>
                  </a:lnTo>
                  <a:lnTo>
                    <a:pt x="422" y="1048"/>
                  </a:lnTo>
                  <a:lnTo>
                    <a:pt x="420" y="1046"/>
                  </a:lnTo>
                  <a:lnTo>
                    <a:pt x="416" y="1046"/>
                  </a:lnTo>
                  <a:lnTo>
                    <a:pt x="410" y="1042"/>
                  </a:lnTo>
                  <a:lnTo>
                    <a:pt x="402" y="1038"/>
                  </a:lnTo>
                  <a:lnTo>
                    <a:pt x="400" y="1038"/>
                  </a:lnTo>
                  <a:lnTo>
                    <a:pt x="398" y="1038"/>
                  </a:lnTo>
                  <a:lnTo>
                    <a:pt x="392" y="1034"/>
                  </a:lnTo>
                  <a:lnTo>
                    <a:pt x="390" y="1032"/>
                  </a:lnTo>
                  <a:lnTo>
                    <a:pt x="388" y="1028"/>
                  </a:lnTo>
                  <a:lnTo>
                    <a:pt x="384" y="1028"/>
                  </a:lnTo>
                  <a:lnTo>
                    <a:pt x="382" y="1028"/>
                  </a:lnTo>
                  <a:lnTo>
                    <a:pt x="380" y="1028"/>
                  </a:lnTo>
                  <a:lnTo>
                    <a:pt x="372" y="1034"/>
                  </a:lnTo>
                  <a:lnTo>
                    <a:pt x="370" y="1040"/>
                  </a:lnTo>
                  <a:lnTo>
                    <a:pt x="370" y="1042"/>
                  </a:lnTo>
                  <a:lnTo>
                    <a:pt x="370" y="1048"/>
                  </a:lnTo>
                  <a:lnTo>
                    <a:pt x="372" y="1056"/>
                  </a:lnTo>
                  <a:lnTo>
                    <a:pt x="374" y="1066"/>
                  </a:lnTo>
                  <a:lnTo>
                    <a:pt x="374" y="1068"/>
                  </a:lnTo>
                  <a:lnTo>
                    <a:pt x="374" y="1070"/>
                  </a:lnTo>
                  <a:lnTo>
                    <a:pt x="376" y="1070"/>
                  </a:lnTo>
                  <a:lnTo>
                    <a:pt x="376" y="1072"/>
                  </a:lnTo>
                  <a:lnTo>
                    <a:pt x="376" y="1074"/>
                  </a:lnTo>
                  <a:lnTo>
                    <a:pt x="374" y="1076"/>
                  </a:lnTo>
                  <a:lnTo>
                    <a:pt x="374" y="1078"/>
                  </a:lnTo>
                  <a:lnTo>
                    <a:pt x="374" y="1080"/>
                  </a:lnTo>
                  <a:lnTo>
                    <a:pt x="374" y="1082"/>
                  </a:lnTo>
                  <a:lnTo>
                    <a:pt x="374" y="1084"/>
                  </a:lnTo>
                  <a:lnTo>
                    <a:pt x="374" y="1088"/>
                  </a:lnTo>
                  <a:lnTo>
                    <a:pt x="374" y="1090"/>
                  </a:lnTo>
                  <a:lnTo>
                    <a:pt x="372" y="1094"/>
                  </a:lnTo>
                  <a:lnTo>
                    <a:pt x="372" y="1096"/>
                  </a:lnTo>
                  <a:lnTo>
                    <a:pt x="372" y="1098"/>
                  </a:lnTo>
                  <a:lnTo>
                    <a:pt x="374" y="1102"/>
                  </a:lnTo>
                  <a:lnTo>
                    <a:pt x="374" y="1104"/>
                  </a:lnTo>
                  <a:lnTo>
                    <a:pt x="376" y="1106"/>
                  </a:lnTo>
                  <a:lnTo>
                    <a:pt x="378" y="1108"/>
                  </a:lnTo>
                  <a:lnTo>
                    <a:pt x="384" y="1110"/>
                  </a:lnTo>
                  <a:lnTo>
                    <a:pt x="390" y="1112"/>
                  </a:lnTo>
                  <a:lnTo>
                    <a:pt x="392" y="1112"/>
                  </a:lnTo>
                  <a:lnTo>
                    <a:pt x="394" y="1112"/>
                  </a:lnTo>
                  <a:lnTo>
                    <a:pt x="396" y="1112"/>
                  </a:lnTo>
                  <a:lnTo>
                    <a:pt x="396" y="1114"/>
                  </a:lnTo>
                  <a:lnTo>
                    <a:pt x="394" y="1114"/>
                  </a:lnTo>
                  <a:lnTo>
                    <a:pt x="394" y="1116"/>
                  </a:lnTo>
                  <a:lnTo>
                    <a:pt x="392" y="1116"/>
                  </a:lnTo>
                  <a:lnTo>
                    <a:pt x="390" y="1120"/>
                  </a:lnTo>
                  <a:lnTo>
                    <a:pt x="390" y="1122"/>
                  </a:lnTo>
                  <a:lnTo>
                    <a:pt x="396" y="1122"/>
                  </a:lnTo>
                  <a:lnTo>
                    <a:pt x="410" y="1122"/>
                  </a:lnTo>
                  <a:lnTo>
                    <a:pt x="412" y="1122"/>
                  </a:lnTo>
                  <a:lnTo>
                    <a:pt x="414" y="1120"/>
                  </a:lnTo>
                  <a:lnTo>
                    <a:pt x="414" y="1116"/>
                  </a:lnTo>
                  <a:lnTo>
                    <a:pt x="414" y="1114"/>
                  </a:lnTo>
                  <a:lnTo>
                    <a:pt x="412" y="1114"/>
                  </a:lnTo>
                  <a:lnTo>
                    <a:pt x="412" y="1112"/>
                  </a:lnTo>
                  <a:lnTo>
                    <a:pt x="408" y="1112"/>
                  </a:lnTo>
                  <a:lnTo>
                    <a:pt x="406" y="1114"/>
                  </a:lnTo>
                  <a:lnTo>
                    <a:pt x="404" y="1112"/>
                  </a:lnTo>
                  <a:lnTo>
                    <a:pt x="402" y="1112"/>
                  </a:lnTo>
                  <a:lnTo>
                    <a:pt x="404" y="1112"/>
                  </a:lnTo>
                  <a:lnTo>
                    <a:pt x="410" y="1110"/>
                  </a:lnTo>
                  <a:lnTo>
                    <a:pt x="416" y="1108"/>
                  </a:lnTo>
                  <a:lnTo>
                    <a:pt x="422" y="1106"/>
                  </a:lnTo>
                  <a:lnTo>
                    <a:pt x="424" y="1104"/>
                  </a:lnTo>
                  <a:lnTo>
                    <a:pt x="428" y="1104"/>
                  </a:lnTo>
                  <a:lnTo>
                    <a:pt x="430" y="1104"/>
                  </a:lnTo>
                  <a:lnTo>
                    <a:pt x="430" y="1108"/>
                  </a:lnTo>
                  <a:lnTo>
                    <a:pt x="430" y="1110"/>
                  </a:lnTo>
                  <a:lnTo>
                    <a:pt x="432" y="1112"/>
                  </a:lnTo>
                  <a:lnTo>
                    <a:pt x="432" y="1114"/>
                  </a:lnTo>
                  <a:lnTo>
                    <a:pt x="434" y="1114"/>
                  </a:lnTo>
                  <a:lnTo>
                    <a:pt x="434" y="1116"/>
                  </a:lnTo>
                  <a:lnTo>
                    <a:pt x="434" y="1118"/>
                  </a:lnTo>
                  <a:lnTo>
                    <a:pt x="434" y="1134"/>
                  </a:lnTo>
                  <a:lnTo>
                    <a:pt x="430" y="1140"/>
                  </a:lnTo>
                  <a:lnTo>
                    <a:pt x="428" y="1144"/>
                  </a:lnTo>
                  <a:lnTo>
                    <a:pt x="426" y="1144"/>
                  </a:lnTo>
                  <a:lnTo>
                    <a:pt x="422" y="1146"/>
                  </a:lnTo>
                  <a:lnTo>
                    <a:pt x="412" y="1148"/>
                  </a:lnTo>
                  <a:lnTo>
                    <a:pt x="410" y="1148"/>
                  </a:lnTo>
                  <a:lnTo>
                    <a:pt x="408" y="1146"/>
                  </a:lnTo>
                  <a:lnTo>
                    <a:pt x="404" y="1140"/>
                  </a:lnTo>
                  <a:lnTo>
                    <a:pt x="404" y="1138"/>
                  </a:lnTo>
                  <a:lnTo>
                    <a:pt x="406" y="1136"/>
                  </a:lnTo>
                  <a:lnTo>
                    <a:pt x="406" y="1134"/>
                  </a:lnTo>
                  <a:lnTo>
                    <a:pt x="402" y="1128"/>
                  </a:lnTo>
                  <a:lnTo>
                    <a:pt x="398" y="1126"/>
                  </a:lnTo>
                  <a:lnTo>
                    <a:pt x="396" y="1126"/>
                  </a:lnTo>
                  <a:lnTo>
                    <a:pt x="394" y="1126"/>
                  </a:lnTo>
                  <a:lnTo>
                    <a:pt x="390" y="1126"/>
                  </a:lnTo>
                  <a:lnTo>
                    <a:pt x="384" y="1128"/>
                  </a:lnTo>
                  <a:lnTo>
                    <a:pt x="382" y="1130"/>
                  </a:lnTo>
                  <a:lnTo>
                    <a:pt x="380" y="1132"/>
                  </a:lnTo>
                  <a:lnTo>
                    <a:pt x="378" y="1132"/>
                  </a:lnTo>
                  <a:lnTo>
                    <a:pt x="376" y="1132"/>
                  </a:lnTo>
                  <a:lnTo>
                    <a:pt x="374" y="1132"/>
                  </a:lnTo>
                  <a:lnTo>
                    <a:pt x="374" y="1134"/>
                  </a:lnTo>
                  <a:lnTo>
                    <a:pt x="370" y="1138"/>
                  </a:lnTo>
                  <a:lnTo>
                    <a:pt x="372" y="1140"/>
                  </a:lnTo>
                  <a:lnTo>
                    <a:pt x="374" y="1140"/>
                  </a:lnTo>
                  <a:lnTo>
                    <a:pt x="380" y="1144"/>
                  </a:lnTo>
                  <a:lnTo>
                    <a:pt x="382" y="1146"/>
                  </a:lnTo>
                  <a:lnTo>
                    <a:pt x="384" y="1148"/>
                  </a:lnTo>
                  <a:lnTo>
                    <a:pt x="386" y="1148"/>
                  </a:lnTo>
                  <a:lnTo>
                    <a:pt x="388" y="1150"/>
                  </a:lnTo>
                  <a:lnTo>
                    <a:pt x="396" y="1152"/>
                  </a:lnTo>
                  <a:lnTo>
                    <a:pt x="398" y="1150"/>
                  </a:lnTo>
                  <a:lnTo>
                    <a:pt x="400" y="1150"/>
                  </a:lnTo>
                  <a:lnTo>
                    <a:pt x="400" y="1152"/>
                  </a:lnTo>
                  <a:lnTo>
                    <a:pt x="398" y="1154"/>
                  </a:lnTo>
                  <a:lnTo>
                    <a:pt x="396" y="1154"/>
                  </a:lnTo>
                  <a:lnTo>
                    <a:pt x="390" y="1158"/>
                  </a:lnTo>
                  <a:lnTo>
                    <a:pt x="388" y="1158"/>
                  </a:lnTo>
                  <a:lnTo>
                    <a:pt x="382" y="1160"/>
                  </a:lnTo>
                  <a:lnTo>
                    <a:pt x="380" y="1160"/>
                  </a:lnTo>
                  <a:lnTo>
                    <a:pt x="378" y="1160"/>
                  </a:lnTo>
                  <a:lnTo>
                    <a:pt x="376" y="1162"/>
                  </a:lnTo>
                  <a:lnTo>
                    <a:pt x="372" y="1164"/>
                  </a:lnTo>
                  <a:lnTo>
                    <a:pt x="368" y="1168"/>
                  </a:lnTo>
                  <a:lnTo>
                    <a:pt x="368" y="1170"/>
                  </a:lnTo>
                  <a:lnTo>
                    <a:pt x="362" y="1176"/>
                  </a:lnTo>
                  <a:lnTo>
                    <a:pt x="356" y="1182"/>
                  </a:lnTo>
                  <a:lnTo>
                    <a:pt x="356" y="1184"/>
                  </a:lnTo>
                  <a:lnTo>
                    <a:pt x="354" y="1188"/>
                  </a:lnTo>
                  <a:lnTo>
                    <a:pt x="354" y="1190"/>
                  </a:lnTo>
                  <a:lnTo>
                    <a:pt x="354" y="1196"/>
                  </a:lnTo>
                  <a:lnTo>
                    <a:pt x="354" y="1198"/>
                  </a:lnTo>
                  <a:lnTo>
                    <a:pt x="356" y="1198"/>
                  </a:lnTo>
                  <a:lnTo>
                    <a:pt x="356" y="1200"/>
                  </a:lnTo>
                  <a:lnTo>
                    <a:pt x="356" y="1204"/>
                  </a:lnTo>
                  <a:lnTo>
                    <a:pt x="358" y="1204"/>
                  </a:lnTo>
                  <a:lnTo>
                    <a:pt x="356" y="1212"/>
                  </a:lnTo>
                  <a:lnTo>
                    <a:pt x="354" y="1212"/>
                  </a:lnTo>
                  <a:lnTo>
                    <a:pt x="352" y="1216"/>
                  </a:lnTo>
                  <a:lnTo>
                    <a:pt x="354" y="1222"/>
                  </a:lnTo>
                  <a:lnTo>
                    <a:pt x="352" y="1228"/>
                  </a:lnTo>
                  <a:lnTo>
                    <a:pt x="350" y="1228"/>
                  </a:lnTo>
                  <a:lnTo>
                    <a:pt x="348" y="1234"/>
                  </a:lnTo>
                  <a:lnTo>
                    <a:pt x="338" y="1238"/>
                  </a:lnTo>
                  <a:lnTo>
                    <a:pt x="338" y="1240"/>
                  </a:lnTo>
                  <a:lnTo>
                    <a:pt x="336" y="1240"/>
                  </a:lnTo>
                  <a:lnTo>
                    <a:pt x="334" y="1244"/>
                  </a:lnTo>
                  <a:lnTo>
                    <a:pt x="332" y="1246"/>
                  </a:lnTo>
                  <a:lnTo>
                    <a:pt x="332" y="1248"/>
                  </a:lnTo>
                  <a:lnTo>
                    <a:pt x="332" y="1250"/>
                  </a:lnTo>
                  <a:lnTo>
                    <a:pt x="334" y="1250"/>
                  </a:lnTo>
                  <a:lnTo>
                    <a:pt x="336" y="1250"/>
                  </a:lnTo>
                  <a:lnTo>
                    <a:pt x="336" y="1252"/>
                  </a:lnTo>
                  <a:lnTo>
                    <a:pt x="340" y="1254"/>
                  </a:lnTo>
                  <a:lnTo>
                    <a:pt x="336" y="1260"/>
                  </a:lnTo>
                  <a:lnTo>
                    <a:pt x="334" y="1262"/>
                  </a:lnTo>
                  <a:lnTo>
                    <a:pt x="332" y="1260"/>
                  </a:lnTo>
                  <a:lnTo>
                    <a:pt x="330" y="1260"/>
                  </a:lnTo>
                  <a:lnTo>
                    <a:pt x="326" y="1258"/>
                  </a:lnTo>
                  <a:lnTo>
                    <a:pt x="316" y="1256"/>
                  </a:lnTo>
                  <a:lnTo>
                    <a:pt x="312" y="1256"/>
                  </a:lnTo>
                  <a:lnTo>
                    <a:pt x="304" y="1260"/>
                  </a:lnTo>
                  <a:lnTo>
                    <a:pt x="298" y="1262"/>
                  </a:lnTo>
                  <a:lnTo>
                    <a:pt x="298" y="1264"/>
                  </a:lnTo>
                  <a:lnTo>
                    <a:pt x="296" y="1266"/>
                  </a:lnTo>
                  <a:lnTo>
                    <a:pt x="290" y="1268"/>
                  </a:lnTo>
                  <a:lnTo>
                    <a:pt x="284" y="1268"/>
                  </a:lnTo>
                  <a:lnTo>
                    <a:pt x="282" y="1268"/>
                  </a:lnTo>
                  <a:lnTo>
                    <a:pt x="280" y="1272"/>
                  </a:lnTo>
                  <a:lnTo>
                    <a:pt x="278" y="1272"/>
                  </a:lnTo>
                  <a:lnTo>
                    <a:pt x="274" y="1276"/>
                  </a:lnTo>
                  <a:lnTo>
                    <a:pt x="272" y="1280"/>
                  </a:lnTo>
                  <a:lnTo>
                    <a:pt x="268" y="1286"/>
                  </a:lnTo>
                  <a:lnTo>
                    <a:pt x="264" y="1288"/>
                  </a:lnTo>
                  <a:lnTo>
                    <a:pt x="264" y="1290"/>
                  </a:lnTo>
                  <a:lnTo>
                    <a:pt x="262" y="1290"/>
                  </a:lnTo>
                  <a:lnTo>
                    <a:pt x="262" y="1292"/>
                  </a:lnTo>
                  <a:lnTo>
                    <a:pt x="260" y="1300"/>
                  </a:lnTo>
                  <a:lnTo>
                    <a:pt x="258" y="1300"/>
                  </a:lnTo>
                  <a:lnTo>
                    <a:pt x="252" y="1306"/>
                  </a:lnTo>
                  <a:lnTo>
                    <a:pt x="250" y="1310"/>
                  </a:lnTo>
                  <a:lnTo>
                    <a:pt x="248" y="1316"/>
                  </a:lnTo>
                  <a:lnTo>
                    <a:pt x="248" y="1318"/>
                  </a:lnTo>
                  <a:lnTo>
                    <a:pt x="248" y="1320"/>
                  </a:lnTo>
                  <a:lnTo>
                    <a:pt x="248" y="1322"/>
                  </a:lnTo>
                  <a:lnTo>
                    <a:pt x="248" y="1328"/>
                  </a:lnTo>
                  <a:lnTo>
                    <a:pt x="250" y="1328"/>
                  </a:lnTo>
                  <a:lnTo>
                    <a:pt x="250" y="1334"/>
                  </a:lnTo>
                  <a:lnTo>
                    <a:pt x="252" y="1336"/>
                  </a:lnTo>
                  <a:lnTo>
                    <a:pt x="254" y="1340"/>
                  </a:lnTo>
                  <a:lnTo>
                    <a:pt x="256" y="1342"/>
                  </a:lnTo>
                  <a:lnTo>
                    <a:pt x="258" y="1344"/>
                  </a:lnTo>
                  <a:lnTo>
                    <a:pt x="264" y="1350"/>
                  </a:lnTo>
                  <a:lnTo>
                    <a:pt x="268" y="1352"/>
                  </a:lnTo>
                  <a:lnTo>
                    <a:pt x="274" y="1358"/>
                  </a:lnTo>
                  <a:lnTo>
                    <a:pt x="280" y="1366"/>
                  </a:lnTo>
                  <a:lnTo>
                    <a:pt x="282" y="1368"/>
                  </a:lnTo>
                  <a:lnTo>
                    <a:pt x="284" y="1368"/>
                  </a:lnTo>
                  <a:lnTo>
                    <a:pt x="286" y="1370"/>
                  </a:lnTo>
                  <a:lnTo>
                    <a:pt x="288" y="1368"/>
                  </a:lnTo>
                  <a:lnTo>
                    <a:pt x="292" y="1368"/>
                  </a:lnTo>
                  <a:lnTo>
                    <a:pt x="298" y="1370"/>
                  </a:lnTo>
                  <a:lnTo>
                    <a:pt x="298" y="1372"/>
                  </a:lnTo>
                  <a:lnTo>
                    <a:pt x="304" y="1372"/>
                  </a:lnTo>
                  <a:lnTo>
                    <a:pt x="308" y="1372"/>
                  </a:lnTo>
                  <a:lnTo>
                    <a:pt x="310" y="1372"/>
                  </a:lnTo>
                  <a:lnTo>
                    <a:pt x="312" y="1370"/>
                  </a:lnTo>
                  <a:lnTo>
                    <a:pt x="314" y="1370"/>
                  </a:lnTo>
                  <a:lnTo>
                    <a:pt x="318" y="1374"/>
                  </a:lnTo>
                  <a:lnTo>
                    <a:pt x="320" y="1378"/>
                  </a:lnTo>
                  <a:lnTo>
                    <a:pt x="322" y="1386"/>
                  </a:lnTo>
                  <a:lnTo>
                    <a:pt x="322" y="1388"/>
                  </a:lnTo>
                  <a:lnTo>
                    <a:pt x="322" y="1392"/>
                  </a:lnTo>
                  <a:lnTo>
                    <a:pt x="320" y="1396"/>
                  </a:lnTo>
                  <a:lnTo>
                    <a:pt x="320" y="1400"/>
                  </a:lnTo>
                  <a:lnTo>
                    <a:pt x="316" y="1408"/>
                  </a:lnTo>
                  <a:lnTo>
                    <a:pt x="314" y="1408"/>
                  </a:lnTo>
                  <a:lnTo>
                    <a:pt x="312" y="1410"/>
                  </a:lnTo>
                  <a:lnTo>
                    <a:pt x="312" y="1408"/>
                  </a:lnTo>
                  <a:lnTo>
                    <a:pt x="310" y="1408"/>
                  </a:lnTo>
                  <a:lnTo>
                    <a:pt x="308" y="1408"/>
                  </a:lnTo>
                  <a:lnTo>
                    <a:pt x="308" y="1410"/>
                  </a:lnTo>
                  <a:lnTo>
                    <a:pt x="306" y="1410"/>
                  </a:lnTo>
                  <a:lnTo>
                    <a:pt x="304" y="1412"/>
                  </a:lnTo>
                  <a:lnTo>
                    <a:pt x="302" y="1412"/>
                  </a:lnTo>
                  <a:lnTo>
                    <a:pt x="300" y="1412"/>
                  </a:lnTo>
                  <a:lnTo>
                    <a:pt x="302" y="1412"/>
                  </a:lnTo>
                  <a:lnTo>
                    <a:pt x="304" y="1412"/>
                  </a:lnTo>
                  <a:lnTo>
                    <a:pt x="306" y="1412"/>
                  </a:lnTo>
                  <a:lnTo>
                    <a:pt x="310" y="1410"/>
                  </a:lnTo>
                  <a:lnTo>
                    <a:pt x="312" y="1410"/>
                  </a:lnTo>
                  <a:lnTo>
                    <a:pt x="314" y="1412"/>
                  </a:lnTo>
                  <a:lnTo>
                    <a:pt x="318" y="1418"/>
                  </a:lnTo>
                  <a:lnTo>
                    <a:pt x="318" y="1420"/>
                  </a:lnTo>
                  <a:lnTo>
                    <a:pt x="316" y="1420"/>
                  </a:lnTo>
                  <a:lnTo>
                    <a:pt x="314" y="1418"/>
                  </a:lnTo>
                  <a:lnTo>
                    <a:pt x="312" y="1418"/>
                  </a:lnTo>
                  <a:lnTo>
                    <a:pt x="310" y="1420"/>
                  </a:lnTo>
                  <a:lnTo>
                    <a:pt x="310" y="1424"/>
                  </a:lnTo>
                  <a:lnTo>
                    <a:pt x="310" y="1426"/>
                  </a:lnTo>
                  <a:lnTo>
                    <a:pt x="306" y="1426"/>
                  </a:lnTo>
                  <a:lnTo>
                    <a:pt x="296" y="1434"/>
                  </a:lnTo>
                  <a:lnTo>
                    <a:pt x="294" y="1436"/>
                  </a:lnTo>
                  <a:lnTo>
                    <a:pt x="290" y="1440"/>
                  </a:lnTo>
                  <a:lnTo>
                    <a:pt x="288" y="1442"/>
                  </a:lnTo>
                  <a:lnTo>
                    <a:pt x="284" y="1442"/>
                  </a:lnTo>
                  <a:lnTo>
                    <a:pt x="282" y="1444"/>
                  </a:lnTo>
                  <a:lnTo>
                    <a:pt x="280" y="1444"/>
                  </a:lnTo>
                  <a:lnTo>
                    <a:pt x="280" y="1446"/>
                  </a:lnTo>
                  <a:lnTo>
                    <a:pt x="276" y="1448"/>
                  </a:lnTo>
                  <a:lnTo>
                    <a:pt x="274" y="1450"/>
                  </a:lnTo>
                  <a:lnTo>
                    <a:pt x="270" y="1452"/>
                  </a:lnTo>
                  <a:lnTo>
                    <a:pt x="268" y="1452"/>
                  </a:lnTo>
                  <a:lnTo>
                    <a:pt x="264" y="1454"/>
                  </a:lnTo>
                  <a:lnTo>
                    <a:pt x="262" y="1454"/>
                  </a:lnTo>
                  <a:lnTo>
                    <a:pt x="262" y="1456"/>
                  </a:lnTo>
                  <a:lnTo>
                    <a:pt x="258" y="1462"/>
                  </a:lnTo>
                  <a:lnTo>
                    <a:pt x="256" y="1464"/>
                  </a:lnTo>
                  <a:lnTo>
                    <a:pt x="254" y="1466"/>
                  </a:lnTo>
                  <a:lnTo>
                    <a:pt x="252" y="1466"/>
                  </a:lnTo>
                  <a:lnTo>
                    <a:pt x="248" y="1468"/>
                  </a:lnTo>
                  <a:lnTo>
                    <a:pt x="246" y="1472"/>
                  </a:lnTo>
                  <a:lnTo>
                    <a:pt x="244" y="1472"/>
                  </a:lnTo>
                  <a:lnTo>
                    <a:pt x="242" y="1474"/>
                  </a:lnTo>
                  <a:lnTo>
                    <a:pt x="242" y="1476"/>
                  </a:lnTo>
                  <a:lnTo>
                    <a:pt x="238" y="1480"/>
                  </a:lnTo>
                  <a:lnTo>
                    <a:pt x="240" y="1482"/>
                  </a:lnTo>
                  <a:lnTo>
                    <a:pt x="240" y="1484"/>
                  </a:lnTo>
                  <a:lnTo>
                    <a:pt x="236" y="1486"/>
                  </a:lnTo>
                  <a:lnTo>
                    <a:pt x="234" y="1488"/>
                  </a:lnTo>
                  <a:lnTo>
                    <a:pt x="232" y="1490"/>
                  </a:lnTo>
                  <a:lnTo>
                    <a:pt x="230" y="1494"/>
                  </a:lnTo>
                  <a:lnTo>
                    <a:pt x="234" y="1494"/>
                  </a:lnTo>
                  <a:lnTo>
                    <a:pt x="236" y="1492"/>
                  </a:lnTo>
                  <a:lnTo>
                    <a:pt x="236" y="1490"/>
                  </a:lnTo>
                  <a:lnTo>
                    <a:pt x="238" y="1488"/>
                  </a:lnTo>
                  <a:lnTo>
                    <a:pt x="240" y="1486"/>
                  </a:lnTo>
                  <a:lnTo>
                    <a:pt x="240" y="1488"/>
                  </a:lnTo>
                  <a:lnTo>
                    <a:pt x="238" y="1496"/>
                  </a:lnTo>
                  <a:lnTo>
                    <a:pt x="236" y="1502"/>
                  </a:lnTo>
                  <a:lnTo>
                    <a:pt x="234" y="1508"/>
                  </a:lnTo>
                  <a:lnTo>
                    <a:pt x="234" y="1512"/>
                  </a:lnTo>
                  <a:lnTo>
                    <a:pt x="232" y="1514"/>
                  </a:lnTo>
                  <a:lnTo>
                    <a:pt x="232" y="1516"/>
                  </a:lnTo>
                  <a:lnTo>
                    <a:pt x="232" y="1518"/>
                  </a:lnTo>
                  <a:lnTo>
                    <a:pt x="232" y="1520"/>
                  </a:lnTo>
                  <a:lnTo>
                    <a:pt x="230" y="1522"/>
                  </a:lnTo>
                  <a:lnTo>
                    <a:pt x="228" y="1526"/>
                  </a:lnTo>
                  <a:lnTo>
                    <a:pt x="226" y="1526"/>
                  </a:lnTo>
                  <a:lnTo>
                    <a:pt x="226" y="1528"/>
                  </a:lnTo>
                  <a:lnTo>
                    <a:pt x="224" y="1528"/>
                  </a:lnTo>
                  <a:lnTo>
                    <a:pt x="222" y="1530"/>
                  </a:lnTo>
                  <a:lnTo>
                    <a:pt x="220" y="1530"/>
                  </a:lnTo>
                  <a:lnTo>
                    <a:pt x="220" y="1532"/>
                  </a:lnTo>
                  <a:lnTo>
                    <a:pt x="214" y="1532"/>
                  </a:lnTo>
                  <a:lnTo>
                    <a:pt x="214" y="1534"/>
                  </a:lnTo>
                  <a:lnTo>
                    <a:pt x="212" y="1534"/>
                  </a:lnTo>
                  <a:lnTo>
                    <a:pt x="210" y="1534"/>
                  </a:lnTo>
                  <a:lnTo>
                    <a:pt x="208" y="1534"/>
                  </a:lnTo>
                  <a:lnTo>
                    <a:pt x="206" y="1530"/>
                  </a:lnTo>
                  <a:lnTo>
                    <a:pt x="202" y="1526"/>
                  </a:lnTo>
                  <a:lnTo>
                    <a:pt x="198" y="1522"/>
                  </a:lnTo>
                  <a:lnTo>
                    <a:pt x="198" y="1524"/>
                  </a:lnTo>
                  <a:lnTo>
                    <a:pt x="194" y="1524"/>
                  </a:lnTo>
                  <a:lnTo>
                    <a:pt x="192" y="1524"/>
                  </a:lnTo>
                  <a:lnTo>
                    <a:pt x="190" y="1524"/>
                  </a:lnTo>
                  <a:lnTo>
                    <a:pt x="188" y="1524"/>
                  </a:lnTo>
                  <a:lnTo>
                    <a:pt x="184" y="1526"/>
                  </a:lnTo>
                  <a:lnTo>
                    <a:pt x="182" y="1526"/>
                  </a:lnTo>
                  <a:lnTo>
                    <a:pt x="186" y="1526"/>
                  </a:lnTo>
                  <a:lnTo>
                    <a:pt x="188" y="1526"/>
                  </a:lnTo>
                  <a:lnTo>
                    <a:pt x="190" y="1526"/>
                  </a:lnTo>
                  <a:lnTo>
                    <a:pt x="196" y="1526"/>
                  </a:lnTo>
                  <a:lnTo>
                    <a:pt x="198" y="1526"/>
                  </a:lnTo>
                  <a:lnTo>
                    <a:pt x="200" y="1526"/>
                  </a:lnTo>
                  <a:lnTo>
                    <a:pt x="200" y="1528"/>
                  </a:lnTo>
                  <a:lnTo>
                    <a:pt x="202" y="1530"/>
                  </a:lnTo>
                  <a:lnTo>
                    <a:pt x="202" y="1532"/>
                  </a:lnTo>
                  <a:lnTo>
                    <a:pt x="204" y="1532"/>
                  </a:lnTo>
                  <a:lnTo>
                    <a:pt x="206" y="1534"/>
                  </a:lnTo>
                  <a:lnTo>
                    <a:pt x="208" y="1536"/>
                  </a:lnTo>
                  <a:lnTo>
                    <a:pt x="206" y="1536"/>
                  </a:lnTo>
                  <a:lnTo>
                    <a:pt x="204" y="1538"/>
                  </a:lnTo>
                  <a:lnTo>
                    <a:pt x="202" y="1538"/>
                  </a:lnTo>
                  <a:lnTo>
                    <a:pt x="200" y="1540"/>
                  </a:lnTo>
                  <a:lnTo>
                    <a:pt x="196" y="1540"/>
                  </a:lnTo>
                  <a:lnTo>
                    <a:pt x="194" y="1540"/>
                  </a:lnTo>
                  <a:lnTo>
                    <a:pt x="190" y="1542"/>
                  </a:lnTo>
                  <a:lnTo>
                    <a:pt x="188" y="1544"/>
                  </a:lnTo>
                  <a:lnTo>
                    <a:pt x="186" y="1544"/>
                  </a:lnTo>
                  <a:lnTo>
                    <a:pt x="184" y="1548"/>
                  </a:lnTo>
                  <a:lnTo>
                    <a:pt x="178" y="1554"/>
                  </a:lnTo>
                  <a:lnTo>
                    <a:pt x="178" y="1556"/>
                  </a:lnTo>
                  <a:lnTo>
                    <a:pt x="176" y="1558"/>
                  </a:lnTo>
                  <a:lnTo>
                    <a:pt x="174" y="1566"/>
                  </a:lnTo>
                  <a:lnTo>
                    <a:pt x="174" y="1570"/>
                  </a:lnTo>
                  <a:lnTo>
                    <a:pt x="174" y="1574"/>
                  </a:lnTo>
                  <a:lnTo>
                    <a:pt x="174" y="1576"/>
                  </a:lnTo>
                  <a:lnTo>
                    <a:pt x="170" y="1578"/>
                  </a:lnTo>
                  <a:lnTo>
                    <a:pt x="168" y="1580"/>
                  </a:lnTo>
                  <a:lnTo>
                    <a:pt x="166" y="1582"/>
                  </a:lnTo>
                  <a:lnTo>
                    <a:pt x="164" y="1584"/>
                  </a:lnTo>
                  <a:lnTo>
                    <a:pt x="166" y="1582"/>
                  </a:lnTo>
                  <a:lnTo>
                    <a:pt x="168" y="1580"/>
                  </a:lnTo>
                  <a:lnTo>
                    <a:pt x="172" y="1578"/>
                  </a:lnTo>
                  <a:lnTo>
                    <a:pt x="174" y="1580"/>
                  </a:lnTo>
                  <a:lnTo>
                    <a:pt x="174" y="1582"/>
                  </a:lnTo>
                  <a:lnTo>
                    <a:pt x="174" y="1584"/>
                  </a:lnTo>
                  <a:lnTo>
                    <a:pt x="174" y="1586"/>
                  </a:lnTo>
                  <a:lnTo>
                    <a:pt x="174" y="1588"/>
                  </a:lnTo>
                  <a:lnTo>
                    <a:pt x="174" y="1590"/>
                  </a:lnTo>
                  <a:lnTo>
                    <a:pt x="176" y="1598"/>
                  </a:lnTo>
                  <a:lnTo>
                    <a:pt x="178" y="1598"/>
                  </a:lnTo>
                  <a:lnTo>
                    <a:pt x="178" y="1604"/>
                  </a:lnTo>
                  <a:lnTo>
                    <a:pt x="180" y="1604"/>
                  </a:lnTo>
                  <a:lnTo>
                    <a:pt x="180" y="1606"/>
                  </a:lnTo>
                  <a:lnTo>
                    <a:pt x="180" y="1608"/>
                  </a:lnTo>
                  <a:lnTo>
                    <a:pt x="180" y="1610"/>
                  </a:lnTo>
                  <a:lnTo>
                    <a:pt x="180" y="1612"/>
                  </a:lnTo>
                  <a:lnTo>
                    <a:pt x="178" y="1612"/>
                  </a:lnTo>
                  <a:lnTo>
                    <a:pt x="176" y="1612"/>
                  </a:lnTo>
                  <a:lnTo>
                    <a:pt x="174" y="1614"/>
                  </a:lnTo>
                  <a:lnTo>
                    <a:pt x="172" y="1614"/>
                  </a:lnTo>
                  <a:lnTo>
                    <a:pt x="172" y="1612"/>
                  </a:lnTo>
                  <a:lnTo>
                    <a:pt x="168" y="1610"/>
                  </a:lnTo>
                  <a:lnTo>
                    <a:pt x="164" y="1610"/>
                  </a:lnTo>
                  <a:lnTo>
                    <a:pt x="160" y="1612"/>
                  </a:lnTo>
                  <a:lnTo>
                    <a:pt x="154" y="1614"/>
                  </a:lnTo>
                  <a:lnTo>
                    <a:pt x="158" y="1614"/>
                  </a:lnTo>
                  <a:lnTo>
                    <a:pt x="160" y="1614"/>
                  </a:lnTo>
                  <a:lnTo>
                    <a:pt x="164" y="1612"/>
                  </a:lnTo>
                  <a:lnTo>
                    <a:pt x="166" y="1612"/>
                  </a:lnTo>
                  <a:lnTo>
                    <a:pt x="170" y="1614"/>
                  </a:lnTo>
                  <a:lnTo>
                    <a:pt x="172" y="1614"/>
                  </a:lnTo>
                  <a:lnTo>
                    <a:pt x="178" y="1614"/>
                  </a:lnTo>
                  <a:lnTo>
                    <a:pt x="182" y="1618"/>
                  </a:lnTo>
                  <a:lnTo>
                    <a:pt x="184" y="1622"/>
                  </a:lnTo>
                  <a:lnTo>
                    <a:pt x="186" y="1628"/>
                  </a:lnTo>
                  <a:lnTo>
                    <a:pt x="186" y="1630"/>
                  </a:lnTo>
                  <a:lnTo>
                    <a:pt x="188" y="1632"/>
                  </a:lnTo>
                  <a:lnTo>
                    <a:pt x="190" y="1636"/>
                  </a:lnTo>
                  <a:lnTo>
                    <a:pt x="190" y="1638"/>
                  </a:lnTo>
                  <a:lnTo>
                    <a:pt x="192" y="1640"/>
                  </a:lnTo>
                  <a:lnTo>
                    <a:pt x="194" y="1642"/>
                  </a:lnTo>
                  <a:lnTo>
                    <a:pt x="196" y="1644"/>
                  </a:lnTo>
                  <a:lnTo>
                    <a:pt x="198" y="1648"/>
                  </a:lnTo>
                  <a:lnTo>
                    <a:pt x="200" y="1650"/>
                  </a:lnTo>
                  <a:lnTo>
                    <a:pt x="200" y="1652"/>
                  </a:lnTo>
                  <a:lnTo>
                    <a:pt x="200" y="1654"/>
                  </a:lnTo>
                  <a:lnTo>
                    <a:pt x="198" y="1656"/>
                  </a:lnTo>
                  <a:lnTo>
                    <a:pt x="198" y="1652"/>
                  </a:lnTo>
                  <a:lnTo>
                    <a:pt x="192" y="1652"/>
                  </a:lnTo>
                  <a:lnTo>
                    <a:pt x="190" y="1650"/>
                  </a:lnTo>
                  <a:lnTo>
                    <a:pt x="188" y="1650"/>
                  </a:lnTo>
                  <a:lnTo>
                    <a:pt x="184" y="1650"/>
                  </a:lnTo>
                  <a:lnTo>
                    <a:pt x="182" y="1648"/>
                  </a:lnTo>
                  <a:lnTo>
                    <a:pt x="180" y="1648"/>
                  </a:lnTo>
                  <a:lnTo>
                    <a:pt x="178" y="1646"/>
                  </a:lnTo>
                  <a:lnTo>
                    <a:pt x="176" y="1646"/>
                  </a:lnTo>
                  <a:lnTo>
                    <a:pt x="168" y="1642"/>
                  </a:lnTo>
                  <a:lnTo>
                    <a:pt x="166" y="1642"/>
                  </a:lnTo>
                  <a:lnTo>
                    <a:pt x="160" y="1642"/>
                  </a:lnTo>
                  <a:lnTo>
                    <a:pt x="148" y="1638"/>
                  </a:lnTo>
                  <a:lnTo>
                    <a:pt x="144" y="1636"/>
                  </a:lnTo>
                  <a:lnTo>
                    <a:pt x="142" y="1634"/>
                  </a:lnTo>
                  <a:lnTo>
                    <a:pt x="140" y="1634"/>
                  </a:lnTo>
                  <a:lnTo>
                    <a:pt x="136" y="1634"/>
                  </a:lnTo>
                  <a:lnTo>
                    <a:pt x="122" y="1634"/>
                  </a:lnTo>
                  <a:lnTo>
                    <a:pt x="114" y="1634"/>
                  </a:lnTo>
                  <a:lnTo>
                    <a:pt x="92" y="1632"/>
                  </a:lnTo>
                  <a:lnTo>
                    <a:pt x="74" y="1632"/>
                  </a:lnTo>
                  <a:lnTo>
                    <a:pt x="66" y="1632"/>
                  </a:lnTo>
                  <a:lnTo>
                    <a:pt x="64" y="1628"/>
                  </a:lnTo>
                  <a:lnTo>
                    <a:pt x="64" y="1626"/>
                  </a:lnTo>
                  <a:lnTo>
                    <a:pt x="60" y="1620"/>
                  </a:lnTo>
                  <a:lnTo>
                    <a:pt x="58" y="1618"/>
                  </a:lnTo>
                  <a:lnTo>
                    <a:pt x="56" y="1618"/>
                  </a:lnTo>
                  <a:lnTo>
                    <a:pt x="54" y="1618"/>
                  </a:lnTo>
                  <a:lnTo>
                    <a:pt x="52" y="1618"/>
                  </a:lnTo>
                  <a:lnTo>
                    <a:pt x="52" y="1616"/>
                  </a:lnTo>
                  <a:lnTo>
                    <a:pt x="48" y="1608"/>
                  </a:lnTo>
                  <a:lnTo>
                    <a:pt x="48" y="1606"/>
                  </a:lnTo>
                  <a:lnTo>
                    <a:pt x="50" y="1606"/>
                  </a:lnTo>
                  <a:lnTo>
                    <a:pt x="50" y="1600"/>
                  </a:lnTo>
                  <a:lnTo>
                    <a:pt x="50" y="1598"/>
                  </a:lnTo>
                  <a:lnTo>
                    <a:pt x="50" y="1596"/>
                  </a:lnTo>
                  <a:lnTo>
                    <a:pt x="52" y="1594"/>
                  </a:lnTo>
                  <a:lnTo>
                    <a:pt x="54" y="1592"/>
                  </a:lnTo>
                  <a:lnTo>
                    <a:pt x="52" y="1590"/>
                  </a:lnTo>
                  <a:lnTo>
                    <a:pt x="50" y="1590"/>
                  </a:lnTo>
                  <a:lnTo>
                    <a:pt x="48" y="1588"/>
                  </a:lnTo>
                  <a:lnTo>
                    <a:pt x="48" y="1584"/>
                  </a:lnTo>
                  <a:lnTo>
                    <a:pt x="50" y="1580"/>
                  </a:lnTo>
                  <a:lnTo>
                    <a:pt x="52" y="1580"/>
                  </a:lnTo>
                  <a:lnTo>
                    <a:pt x="54" y="1572"/>
                  </a:lnTo>
                  <a:lnTo>
                    <a:pt x="54" y="1570"/>
                  </a:lnTo>
                  <a:lnTo>
                    <a:pt x="52" y="1568"/>
                  </a:lnTo>
                  <a:lnTo>
                    <a:pt x="50" y="1566"/>
                  </a:lnTo>
                  <a:lnTo>
                    <a:pt x="50" y="1564"/>
                  </a:lnTo>
                  <a:lnTo>
                    <a:pt x="52" y="1562"/>
                  </a:lnTo>
                  <a:lnTo>
                    <a:pt x="52" y="1560"/>
                  </a:lnTo>
                  <a:lnTo>
                    <a:pt x="48" y="1558"/>
                  </a:lnTo>
                  <a:lnTo>
                    <a:pt x="44" y="1558"/>
                  </a:lnTo>
                  <a:lnTo>
                    <a:pt x="42" y="1558"/>
                  </a:lnTo>
                  <a:lnTo>
                    <a:pt x="40" y="1560"/>
                  </a:lnTo>
                  <a:lnTo>
                    <a:pt x="38" y="1560"/>
                  </a:lnTo>
                  <a:lnTo>
                    <a:pt x="36" y="1560"/>
                  </a:lnTo>
                  <a:lnTo>
                    <a:pt x="34" y="1558"/>
                  </a:lnTo>
                  <a:lnTo>
                    <a:pt x="28" y="1560"/>
                  </a:lnTo>
                  <a:lnTo>
                    <a:pt x="26" y="1562"/>
                  </a:lnTo>
                  <a:lnTo>
                    <a:pt x="24" y="1564"/>
                  </a:lnTo>
                  <a:lnTo>
                    <a:pt x="24" y="1566"/>
                  </a:lnTo>
                  <a:lnTo>
                    <a:pt x="22" y="1566"/>
                  </a:lnTo>
                  <a:lnTo>
                    <a:pt x="20" y="1566"/>
                  </a:lnTo>
                  <a:lnTo>
                    <a:pt x="18" y="1566"/>
                  </a:lnTo>
                  <a:lnTo>
                    <a:pt x="18" y="1564"/>
                  </a:lnTo>
                  <a:lnTo>
                    <a:pt x="14" y="1558"/>
                  </a:lnTo>
                  <a:lnTo>
                    <a:pt x="14" y="1552"/>
                  </a:lnTo>
                  <a:lnTo>
                    <a:pt x="14" y="1544"/>
                  </a:lnTo>
                  <a:lnTo>
                    <a:pt x="12" y="1542"/>
                  </a:lnTo>
                  <a:lnTo>
                    <a:pt x="12" y="1540"/>
                  </a:lnTo>
                  <a:lnTo>
                    <a:pt x="10" y="1538"/>
                  </a:lnTo>
                  <a:lnTo>
                    <a:pt x="6" y="1536"/>
                  </a:lnTo>
                  <a:lnTo>
                    <a:pt x="4" y="1534"/>
                  </a:lnTo>
                  <a:lnTo>
                    <a:pt x="2" y="1532"/>
                  </a:lnTo>
                  <a:lnTo>
                    <a:pt x="4" y="1530"/>
                  </a:lnTo>
                  <a:lnTo>
                    <a:pt x="4" y="1528"/>
                  </a:lnTo>
                  <a:lnTo>
                    <a:pt x="6" y="1526"/>
                  </a:lnTo>
                  <a:lnTo>
                    <a:pt x="6" y="1524"/>
                  </a:lnTo>
                  <a:lnTo>
                    <a:pt x="4" y="1524"/>
                  </a:lnTo>
                  <a:lnTo>
                    <a:pt x="4" y="1522"/>
                  </a:lnTo>
                  <a:lnTo>
                    <a:pt x="2" y="1522"/>
                  </a:lnTo>
                  <a:lnTo>
                    <a:pt x="2" y="1518"/>
                  </a:lnTo>
                  <a:lnTo>
                    <a:pt x="4" y="1516"/>
                  </a:lnTo>
                  <a:lnTo>
                    <a:pt x="6" y="1514"/>
                  </a:lnTo>
                  <a:lnTo>
                    <a:pt x="4" y="1504"/>
                  </a:lnTo>
                  <a:lnTo>
                    <a:pt x="2" y="1502"/>
                  </a:lnTo>
                  <a:lnTo>
                    <a:pt x="0" y="1500"/>
                  </a:lnTo>
                  <a:lnTo>
                    <a:pt x="2" y="1494"/>
                  </a:lnTo>
                  <a:lnTo>
                    <a:pt x="6" y="1488"/>
                  </a:lnTo>
                  <a:lnTo>
                    <a:pt x="16" y="1488"/>
                  </a:lnTo>
                  <a:lnTo>
                    <a:pt x="18" y="1486"/>
                  </a:lnTo>
                  <a:lnTo>
                    <a:pt x="20" y="1484"/>
                  </a:lnTo>
                  <a:lnTo>
                    <a:pt x="16" y="1484"/>
                  </a:lnTo>
                  <a:lnTo>
                    <a:pt x="20" y="1474"/>
                  </a:lnTo>
                  <a:lnTo>
                    <a:pt x="24" y="1470"/>
                  </a:lnTo>
                  <a:lnTo>
                    <a:pt x="24" y="1468"/>
                  </a:lnTo>
                  <a:lnTo>
                    <a:pt x="26" y="1468"/>
                  </a:lnTo>
                  <a:lnTo>
                    <a:pt x="28" y="1468"/>
                  </a:lnTo>
                  <a:lnTo>
                    <a:pt x="30" y="1468"/>
                  </a:lnTo>
                  <a:lnTo>
                    <a:pt x="32" y="1468"/>
                  </a:lnTo>
                  <a:lnTo>
                    <a:pt x="34" y="1466"/>
                  </a:lnTo>
                  <a:lnTo>
                    <a:pt x="36" y="1466"/>
                  </a:lnTo>
                  <a:lnTo>
                    <a:pt x="40" y="1462"/>
                  </a:lnTo>
                  <a:lnTo>
                    <a:pt x="42" y="1460"/>
                  </a:lnTo>
                  <a:lnTo>
                    <a:pt x="42" y="1458"/>
                  </a:lnTo>
                  <a:lnTo>
                    <a:pt x="42" y="1456"/>
                  </a:lnTo>
                  <a:lnTo>
                    <a:pt x="42" y="1454"/>
                  </a:lnTo>
                  <a:lnTo>
                    <a:pt x="42" y="1452"/>
                  </a:lnTo>
                  <a:lnTo>
                    <a:pt x="40" y="1448"/>
                  </a:lnTo>
                  <a:lnTo>
                    <a:pt x="40" y="1446"/>
                  </a:lnTo>
                  <a:lnTo>
                    <a:pt x="40" y="1444"/>
                  </a:lnTo>
                  <a:lnTo>
                    <a:pt x="40" y="1442"/>
                  </a:lnTo>
                  <a:lnTo>
                    <a:pt x="42" y="1440"/>
                  </a:lnTo>
                  <a:lnTo>
                    <a:pt x="44" y="1440"/>
                  </a:lnTo>
                  <a:lnTo>
                    <a:pt x="46" y="1438"/>
                  </a:lnTo>
                  <a:lnTo>
                    <a:pt x="52" y="1436"/>
                  </a:lnTo>
                  <a:lnTo>
                    <a:pt x="52" y="1428"/>
                  </a:lnTo>
                  <a:lnTo>
                    <a:pt x="50" y="1420"/>
                  </a:lnTo>
                  <a:lnTo>
                    <a:pt x="48" y="1416"/>
                  </a:lnTo>
                  <a:lnTo>
                    <a:pt x="46" y="1416"/>
                  </a:lnTo>
                  <a:lnTo>
                    <a:pt x="44" y="1416"/>
                  </a:lnTo>
                  <a:lnTo>
                    <a:pt x="44" y="1414"/>
                  </a:lnTo>
                  <a:lnTo>
                    <a:pt x="42" y="1414"/>
                  </a:lnTo>
                  <a:lnTo>
                    <a:pt x="42" y="1412"/>
                  </a:lnTo>
                  <a:lnTo>
                    <a:pt x="46" y="1404"/>
                  </a:lnTo>
                  <a:lnTo>
                    <a:pt x="46" y="1402"/>
                  </a:lnTo>
                  <a:lnTo>
                    <a:pt x="48" y="1400"/>
                  </a:lnTo>
                  <a:lnTo>
                    <a:pt x="48" y="1398"/>
                  </a:lnTo>
                  <a:lnTo>
                    <a:pt x="50" y="1396"/>
                  </a:lnTo>
                  <a:lnTo>
                    <a:pt x="50" y="1394"/>
                  </a:lnTo>
                  <a:lnTo>
                    <a:pt x="52" y="1390"/>
                  </a:lnTo>
                  <a:lnTo>
                    <a:pt x="50" y="1390"/>
                  </a:lnTo>
                  <a:lnTo>
                    <a:pt x="50" y="1388"/>
                  </a:lnTo>
                  <a:lnTo>
                    <a:pt x="50" y="1386"/>
                  </a:lnTo>
                  <a:lnTo>
                    <a:pt x="52" y="1386"/>
                  </a:lnTo>
                  <a:lnTo>
                    <a:pt x="54" y="1384"/>
                  </a:lnTo>
                  <a:lnTo>
                    <a:pt x="56" y="1386"/>
                  </a:lnTo>
                  <a:lnTo>
                    <a:pt x="58" y="1384"/>
                  </a:lnTo>
                  <a:lnTo>
                    <a:pt x="62" y="1382"/>
                  </a:lnTo>
                  <a:lnTo>
                    <a:pt x="64" y="1378"/>
                  </a:lnTo>
                  <a:lnTo>
                    <a:pt x="68" y="1374"/>
                  </a:lnTo>
                  <a:lnTo>
                    <a:pt x="70" y="1374"/>
                  </a:lnTo>
                  <a:lnTo>
                    <a:pt x="70" y="1372"/>
                  </a:lnTo>
                  <a:lnTo>
                    <a:pt x="70" y="1370"/>
                  </a:lnTo>
                  <a:lnTo>
                    <a:pt x="68" y="1370"/>
                  </a:lnTo>
                  <a:lnTo>
                    <a:pt x="64" y="1364"/>
                  </a:lnTo>
                  <a:lnTo>
                    <a:pt x="66" y="1352"/>
                  </a:lnTo>
                  <a:lnTo>
                    <a:pt x="68" y="1352"/>
                  </a:lnTo>
                  <a:lnTo>
                    <a:pt x="70" y="1352"/>
                  </a:lnTo>
                  <a:lnTo>
                    <a:pt x="72" y="1352"/>
                  </a:lnTo>
                  <a:lnTo>
                    <a:pt x="78" y="1346"/>
                  </a:lnTo>
                  <a:lnTo>
                    <a:pt x="78" y="1344"/>
                  </a:lnTo>
                  <a:lnTo>
                    <a:pt x="78" y="1338"/>
                  </a:lnTo>
                  <a:lnTo>
                    <a:pt x="78" y="1336"/>
                  </a:lnTo>
                  <a:lnTo>
                    <a:pt x="76" y="1332"/>
                  </a:lnTo>
                  <a:lnTo>
                    <a:pt x="76" y="1322"/>
                  </a:lnTo>
                  <a:lnTo>
                    <a:pt x="74" y="1320"/>
                  </a:lnTo>
                  <a:lnTo>
                    <a:pt x="72" y="1320"/>
                  </a:lnTo>
                  <a:lnTo>
                    <a:pt x="68" y="1316"/>
                  </a:lnTo>
                  <a:lnTo>
                    <a:pt x="70" y="1316"/>
                  </a:lnTo>
                  <a:lnTo>
                    <a:pt x="72" y="1316"/>
                  </a:lnTo>
                  <a:lnTo>
                    <a:pt x="74" y="1316"/>
                  </a:lnTo>
                  <a:lnTo>
                    <a:pt x="76" y="1314"/>
                  </a:lnTo>
                  <a:lnTo>
                    <a:pt x="76" y="1312"/>
                  </a:lnTo>
                  <a:lnTo>
                    <a:pt x="78" y="1310"/>
                  </a:lnTo>
                  <a:lnTo>
                    <a:pt x="80" y="1310"/>
                  </a:lnTo>
                  <a:lnTo>
                    <a:pt x="80" y="1308"/>
                  </a:lnTo>
                  <a:lnTo>
                    <a:pt x="80" y="1302"/>
                  </a:lnTo>
                  <a:lnTo>
                    <a:pt x="78" y="1300"/>
                  </a:lnTo>
                  <a:lnTo>
                    <a:pt x="76" y="1300"/>
                  </a:lnTo>
                  <a:lnTo>
                    <a:pt x="74" y="1294"/>
                  </a:lnTo>
                  <a:lnTo>
                    <a:pt x="74" y="1290"/>
                  </a:lnTo>
                  <a:lnTo>
                    <a:pt x="76" y="1284"/>
                  </a:lnTo>
                  <a:lnTo>
                    <a:pt x="78" y="1284"/>
                  </a:lnTo>
                  <a:lnTo>
                    <a:pt x="78" y="1282"/>
                  </a:lnTo>
                  <a:lnTo>
                    <a:pt x="80" y="1282"/>
                  </a:lnTo>
                  <a:lnTo>
                    <a:pt x="88" y="1280"/>
                  </a:lnTo>
                  <a:lnTo>
                    <a:pt x="94" y="1270"/>
                  </a:lnTo>
                  <a:lnTo>
                    <a:pt x="94" y="1266"/>
                  </a:lnTo>
                  <a:lnTo>
                    <a:pt x="86" y="1258"/>
                  </a:lnTo>
                  <a:lnTo>
                    <a:pt x="84" y="1254"/>
                  </a:lnTo>
                  <a:lnTo>
                    <a:pt x="82" y="1252"/>
                  </a:lnTo>
                  <a:lnTo>
                    <a:pt x="76" y="1250"/>
                  </a:lnTo>
                  <a:lnTo>
                    <a:pt x="74" y="1250"/>
                  </a:lnTo>
                  <a:lnTo>
                    <a:pt x="68" y="1250"/>
                  </a:lnTo>
                  <a:lnTo>
                    <a:pt x="62" y="1248"/>
                  </a:lnTo>
                  <a:lnTo>
                    <a:pt x="62" y="1244"/>
                  </a:lnTo>
                  <a:lnTo>
                    <a:pt x="62" y="1242"/>
                  </a:lnTo>
                  <a:lnTo>
                    <a:pt x="64" y="1242"/>
                  </a:lnTo>
                  <a:lnTo>
                    <a:pt x="66" y="1242"/>
                  </a:lnTo>
                  <a:lnTo>
                    <a:pt x="72" y="1244"/>
                  </a:lnTo>
                  <a:lnTo>
                    <a:pt x="74" y="1244"/>
                  </a:lnTo>
                  <a:lnTo>
                    <a:pt x="74" y="1242"/>
                  </a:lnTo>
                  <a:lnTo>
                    <a:pt x="78" y="1242"/>
                  </a:lnTo>
                  <a:lnTo>
                    <a:pt x="80" y="1242"/>
                  </a:lnTo>
                  <a:lnTo>
                    <a:pt x="82" y="1242"/>
                  </a:lnTo>
                  <a:lnTo>
                    <a:pt x="84" y="1242"/>
                  </a:lnTo>
                  <a:lnTo>
                    <a:pt x="86" y="1240"/>
                  </a:lnTo>
                  <a:lnTo>
                    <a:pt x="88" y="1240"/>
                  </a:lnTo>
                  <a:lnTo>
                    <a:pt x="88" y="1242"/>
                  </a:lnTo>
                  <a:lnTo>
                    <a:pt x="90" y="1244"/>
                  </a:lnTo>
                  <a:lnTo>
                    <a:pt x="92" y="1244"/>
                  </a:lnTo>
                  <a:lnTo>
                    <a:pt x="94" y="1244"/>
                  </a:lnTo>
                  <a:lnTo>
                    <a:pt x="96" y="1244"/>
                  </a:lnTo>
                  <a:lnTo>
                    <a:pt x="98" y="1240"/>
                  </a:lnTo>
                  <a:lnTo>
                    <a:pt x="98" y="1238"/>
                  </a:lnTo>
                  <a:lnTo>
                    <a:pt x="98" y="1236"/>
                  </a:lnTo>
                  <a:lnTo>
                    <a:pt x="100" y="1232"/>
                  </a:lnTo>
                  <a:lnTo>
                    <a:pt x="102" y="1232"/>
                  </a:lnTo>
                  <a:lnTo>
                    <a:pt x="102" y="1230"/>
                  </a:lnTo>
                  <a:lnTo>
                    <a:pt x="102" y="1228"/>
                  </a:lnTo>
                  <a:lnTo>
                    <a:pt x="100" y="1226"/>
                  </a:lnTo>
                  <a:lnTo>
                    <a:pt x="100" y="1224"/>
                  </a:lnTo>
                  <a:lnTo>
                    <a:pt x="90" y="1222"/>
                  </a:lnTo>
                  <a:lnTo>
                    <a:pt x="88" y="1222"/>
                  </a:lnTo>
                  <a:lnTo>
                    <a:pt x="84" y="1222"/>
                  </a:lnTo>
                  <a:lnTo>
                    <a:pt x="80" y="1222"/>
                  </a:lnTo>
                  <a:lnTo>
                    <a:pt x="74" y="1222"/>
                  </a:lnTo>
                  <a:lnTo>
                    <a:pt x="72" y="1222"/>
                  </a:lnTo>
                  <a:lnTo>
                    <a:pt x="72" y="1220"/>
                  </a:lnTo>
                  <a:lnTo>
                    <a:pt x="74" y="1218"/>
                  </a:lnTo>
                  <a:lnTo>
                    <a:pt x="74" y="1212"/>
                  </a:lnTo>
                  <a:lnTo>
                    <a:pt x="74" y="1210"/>
                  </a:lnTo>
                  <a:lnTo>
                    <a:pt x="74" y="1208"/>
                  </a:lnTo>
                  <a:lnTo>
                    <a:pt x="74" y="1206"/>
                  </a:lnTo>
                  <a:lnTo>
                    <a:pt x="76" y="1204"/>
                  </a:lnTo>
                  <a:lnTo>
                    <a:pt x="80" y="1198"/>
                  </a:lnTo>
                  <a:lnTo>
                    <a:pt x="80" y="1196"/>
                  </a:lnTo>
                  <a:lnTo>
                    <a:pt x="78" y="1192"/>
                  </a:lnTo>
                  <a:lnTo>
                    <a:pt x="76" y="1190"/>
                  </a:lnTo>
                  <a:lnTo>
                    <a:pt x="74" y="1188"/>
                  </a:lnTo>
                  <a:lnTo>
                    <a:pt x="74" y="1186"/>
                  </a:lnTo>
                  <a:lnTo>
                    <a:pt x="76" y="1186"/>
                  </a:lnTo>
                  <a:lnTo>
                    <a:pt x="78" y="1184"/>
                  </a:lnTo>
                  <a:lnTo>
                    <a:pt x="80" y="1182"/>
                  </a:lnTo>
                  <a:lnTo>
                    <a:pt x="78" y="1178"/>
                  </a:lnTo>
                  <a:lnTo>
                    <a:pt x="72" y="1172"/>
                  </a:lnTo>
                  <a:lnTo>
                    <a:pt x="68" y="1170"/>
                  </a:lnTo>
                  <a:lnTo>
                    <a:pt x="68" y="1168"/>
                  </a:lnTo>
                  <a:lnTo>
                    <a:pt x="70" y="1164"/>
                  </a:lnTo>
                  <a:lnTo>
                    <a:pt x="74" y="1162"/>
                  </a:lnTo>
                  <a:lnTo>
                    <a:pt x="76" y="1162"/>
                  </a:lnTo>
                  <a:lnTo>
                    <a:pt x="78" y="1162"/>
                  </a:lnTo>
                  <a:lnTo>
                    <a:pt x="78" y="1156"/>
                  </a:lnTo>
                  <a:lnTo>
                    <a:pt x="72" y="1154"/>
                  </a:lnTo>
                  <a:lnTo>
                    <a:pt x="68" y="1154"/>
                  </a:lnTo>
                  <a:lnTo>
                    <a:pt x="66" y="1154"/>
                  </a:lnTo>
                  <a:lnTo>
                    <a:pt x="62" y="1152"/>
                  </a:lnTo>
                  <a:lnTo>
                    <a:pt x="60" y="1148"/>
                  </a:lnTo>
                  <a:lnTo>
                    <a:pt x="60" y="1146"/>
                  </a:lnTo>
                  <a:lnTo>
                    <a:pt x="60" y="1144"/>
                  </a:lnTo>
                  <a:lnTo>
                    <a:pt x="60" y="1142"/>
                  </a:lnTo>
                  <a:lnTo>
                    <a:pt x="62" y="1140"/>
                  </a:lnTo>
                  <a:lnTo>
                    <a:pt x="62" y="1138"/>
                  </a:lnTo>
                  <a:lnTo>
                    <a:pt x="62" y="1134"/>
                  </a:lnTo>
                  <a:lnTo>
                    <a:pt x="62" y="1132"/>
                  </a:lnTo>
                  <a:lnTo>
                    <a:pt x="60" y="1128"/>
                  </a:lnTo>
                  <a:lnTo>
                    <a:pt x="60" y="1124"/>
                  </a:lnTo>
                  <a:lnTo>
                    <a:pt x="60" y="1122"/>
                  </a:lnTo>
                  <a:lnTo>
                    <a:pt x="62" y="1120"/>
                  </a:lnTo>
                  <a:lnTo>
                    <a:pt x="64" y="1112"/>
                  </a:lnTo>
                  <a:lnTo>
                    <a:pt x="62" y="1110"/>
                  </a:lnTo>
                  <a:lnTo>
                    <a:pt x="60" y="1108"/>
                  </a:lnTo>
                  <a:lnTo>
                    <a:pt x="64" y="1100"/>
                  </a:lnTo>
                  <a:lnTo>
                    <a:pt x="64" y="1098"/>
                  </a:lnTo>
                  <a:lnTo>
                    <a:pt x="66" y="1098"/>
                  </a:lnTo>
                  <a:lnTo>
                    <a:pt x="68" y="1098"/>
                  </a:lnTo>
                  <a:lnTo>
                    <a:pt x="68" y="1100"/>
                  </a:lnTo>
                  <a:lnTo>
                    <a:pt x="70" y="1102"/>
                  </a:lnTo>
                  <a:lnTo>
                    <a:pt x="76" y="1098"/>
                  </a:lnTo>
                  <a:lnTo>
                    <a:pt x="78" y="1098"/>
                  </a:lnTo>
                  <a:lnTo>
                    <a:pt x="78" y="1094"/>
                  </a:lnTo>
                  <a:lnTo>
                    <a:pt x="76" y="1092"/>
                  </a:lnTo>
                  <a:lnTo>
                    <a:pt x="76" y="1088"/>
                  </a:lnTo>
                  <a:lnTo>
                    <a:pt x="76" y="1086"/>
                  </a:lnTo>
                  <a:lnTo>
                    <a:pt x="76" y="1084"/>
                  </a:lnTo>
                  <a:lnTo>
                    <a:pt x="72" y="1080"/>
                  </a:lnTo>
                  <a:lnTo>
                    <a:pt x="70" y="1074"/>
                  </a:lnTo>
                  <a:lnTo>
                    <a:pt x="70" y="1072"/>
                  </a:lnTo>
                  <a:lnTo>
                    <a:pt x="70" y="1070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72" y="1060"/>
                  </a:lnTo>
                  <a:lnTo>
                    <a:pt x="70" y="1060"/>
                  </a:lnTo>
                  <a:lnTo>
                    <a:pt x="70" y="1058"/>
                  </a:lnTo>
                  <a:lnTo>
                    <a:pt x="72" y="1054"/>
                  </a:lnTo>
                  <a:lnTo>
                    <a:pt x="72" y="1052"/>
                  </a:lnTo>
                  <a:lnTo>
                    <a:pt x="72" y="1050"/>
                  </a:lnTo>
                  <a:lnTo>
                    <a:pt x="74" y="1042"/>
                  </a:lnTo>
                  <a:lnTo>
                    <a:pt x="72" y="1038"/>
                  </a:lnTo>
                  <a:lnTo>
                    <a:pt x="74" y="1036"/>
                  </a:lnTo>
                  <a:lnTo>
                    <a:pt x="72" y="1032"/>
                  </a:lnTo>
                  <a:lnTo>
                    <a:pt x="70" y="1026"/>
                  </a:lnTo>
                  <a:lnTo>
                    <a:pt x="68" y="1024"/>
                  </a:lnTo>
                  <a:lnTo>
                    <a:pt x="70" y="1022"/>
                  </a:lnTo>
                  <a:lnTo>
                    <a:pt x="70" y="1020"/>
                  </a:lnTo>
                  <a:lnTo>
                    <a:pt x="72" y="1020"/>
                  </a:lnTo>
                  <a:lnTo>
                    <a:pt x="72" y="1018"/>
                  </a:lnTo>
                  <a:lnTo>
                    <a:pt x="74" y="1016"/>
                  </a:lnTo>
                  <a:lnTo>
                    <a:pt x="74" y="1014"/>
                  </a:lnTo>
                  <a:lnTo>
                    <a:pt x="74" y="1012"/>
                  </a:lnTo>
                  <a:lnTo>
                    <a:pt x="76" y="1006"/>
                  </a:lnTo>
                  <a:lnTo>
                    <a:pt x="78" y="1006"/>
                  </a:lnTo>
                  <a:lnTo>
                    <a:pt x="80" y="1006"/>
                  </a:lnTo>
                  <a:lnTo>
                    <a:pt x="80" y="1002"/>
                  </a:lnTo>
                  <a:lnTo>
                    <a:pt x="80" y="1000"/>
                  </a:lnTo>
                  <a:lnTo>
                    <a:pt x="80" y="998"/>
                  </a:lnTo>
                  <a:lnTo>
                    <a:pt x="80" y="1000"/>
                  </a:lnTo>
                  <a:lnTo>
                    <a:pt x="76" y="996"/>
                  </a:lnTo>
                  <a:lnTo>
                    <a:pt x="74" y="994"/>
                  </a:lnTo>
                  <a:lnTo>
                    <a:pt x="76" y="990"/>
                  </a:lnTo>
                  <a:lnTo>
                    <a:pt x="78" y="988"/>
                  </a:lnTo>
                  <a:lnTo>
                    <a:pt x="80" y="986"/>
                  </a:lnTo>
                  <a:lnTo>
                    <a:pt x="82" y="982"/>
                  </a:lnTo>
                  <a:lnTo>
                    <a:pt x="80" y="976"/>
                  </a:lnTo>
                  <a:lnTo>
                    <a:pt x="80" y="970"/>
                  </a:lnTo>
                  <a:lnTo>
                    <a:pt x="80" y="964"/>
                  </a:lnTo>
                  <a:lnTo>
                    <a:pt x="80" y="960"/>
                  </a:lnTo>
                  <a:lnTo>
                    <a:pt x="82" y="962"/>
                  </a:lnTo>
                  <a:lnTo>
                    <a:pt x="84" y="964"/>
                  </a:lnTo>
                  <a:lnTo>
                    <a:pt x="88" y="964"/>
                  </a:lnTo>
                  <a:lnTo>
                    <a:pt x="90" y="962"/>
                  </a:lnTo>
                  <a:lnTo>
                    <a:pt x="90" y="960"/>
                  </a:lnTo>
                  <a:lnTo>
                    <a:pt x="92" y="952"/>
                  </a:lnTo>
                  <a:lnTo>
                    <a:pt x="94" y="948"/>
                  </a:lnTo>
                  <a:lnTo>
                    <a:pt x="94" y="942"/>
                  </a:lnTo>
                  <a:lnTo>
                    <a:pt x="94" y="936"/>
                  </a:lnTo>
                  <a:lnTo>
                    <a:pt x="94" y="932"/>
                  </a:lnTo>
                  <a:lnTo>
                    <a:pt x="92" y="932"/>
                  </a:lnTo>
                  <a:lnTo>
                    <a:pt x="92" y="930"/>
                  </a:lnTo>
                  <a:lnTo>
                    <a:pt x="94" y="928"/>
                  </a:lnTo>
                  <a:lnTo>
                    <a:pt x="94" y="926"/>
                  </a:lnTo>
                  <a:lnTo>
                    <a:pt x="94" y="924"/>
                  </a:lnTo>
                  <a:lnTo>
                    <a:pt x="96" y="924"/>
                  </a:lnTo>
                  <a:lnTo>
                    <a:pt x="98" y="922"/>
                  </a:lnTo>
                  <a:lnTo>
                    <a:pt x="100" y="920"/>
                  </a:lnTo>
                  <a:lnTo>
                    <a:pt x="108" y="916"/>
                  </a:lnTo>
                  <a:lnTo>
                    <a:pt x="110" y="916"/>
                  </a:lnTo>
                  <a:lnTo>
                    <a:pt x="112" y="916"/>
                  </a:lnTo>
                  <a:lnTo>
                    <a:pt x="116" y="916"/>
                  </a:lnTo>
                  <a:lnTo>
                    <a:pt x="118" y="914"/>
                  </a:lnTo>
                  <a:lnTo>
                    <a:pt x="120" y="908"/>
                  </a:lnTo>
                  <a:lnTo>
                    <a:pt x="120" y="906"/>
                  </a:lnTo>
                  <a:lnTo>
                    <a:pt x="120" y="904"/>
                  </a:lnTo>
                  <a:lnTo>
                    <a:pt x="118" y="902"/>
                  </a:lnTo>
                  <a:lnTo>
                    <a:pt x="116" y="902"/>
                  </a:lnTo>
                  <a:lnTo>
                    <a:pt x="116" y="900"/>
                  </a:lnTo>
                  <a:lnTo>
                    <a:pt x="114" y="898"/>
                  </a:lnTo>
                  <a:lnTo>
                    <a:pt x="112" y="892"/>
                  </a:lnTo>
                  <a:lnTo>
                    <a:pt x="112" y="888"/>
                  </a:lnTo>
                  <a:lnTo>
                    <a:pt x="112" y="886"/>
                  </a:lnTo>
                  <a:lnTo>
                    <a:pt x="112" y="884"/>
                  </a:lnTo>
                  <a:lnTo>
                    <a:pt x="112" y="878"/>
                  </a:lnTo>
                  <a:lnTo>
                    <a:pt x="108" y="870"/>
                  </a:lnTo>
                  <a:lnTo>
                    <a:pt x="108" y="866"/>
                  </a:lnTo>
                  <a:lnTo>
                    <a:pt x="106" y="866"/>
                  </a:lnTo>
                  <a:lnTo>
                    <a:pt x="106" y="864"/>
                  </a:lnTo>
                  <a:lnTo>
                    <a:pt x="106" y="862"/>
                  </a:lnTo>
                  <a:lnTo>
                    <a:pt x="104" y="858"/>
                  </a:lnTo>
                  <a:lnTo>
                    <a:pt x="104" y="856"/>
                  </a:lnTo>
                  <a:lnTo>
                    <a:pt x="106" y="854"/>
                  </a:lnTo>
                  <a:lnTo>
                    <a:pt x="108" y="854"/>
                  </a:lnTo>
                  <a:lnTo>
                    <a:pt x="108" y="846"/>
                  </a:lnTo>
                  <a:lnTo>
                    <a:pt x="108" y="844"/>
                  </a:lnTo>
                  <a:lnTo>
                    <a:pt x="106" y="842"/>
                  </a:lnTo>
                  <a:lnTo>
                    <a:pt x="104" y="838"/>
                  </a:lnTo>
                  <a:lnTo>
                    <a:pt x="104" y="836"/>
                  </a:lnTo>
                  <a:lnTo>
                    <a:pt x="106" y="834"/>
                  </a:lnTo>
                  <a:lnTo>
                    <a:pt x="108" y="832"/>
                  </a:lnTo>
                  <a:lnTo>
                    <a:pt x="108" y="828"/>
                  </a:lnTo>
                  <a:lnTo>
                    <a:pt x="106" y="820"/>
                  </a:lnTo>
                  <a:lnTo>
                    <a:pt x="104" y="812"/>
                  </a:lnTo>
                  <a:lnTo>
                    <a:pt x="108" y="808"/>
                  </a:lnTo>
                  <a:lnTo>
                    <a:pt x="112" y="796"/>
                  </a:lnTo>
                  <a:lnTo>
                    <a:pt x="114" y="79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6" name="Freeform 146"/>
            <p:cNvSpPr>
              <a:spLocks/>
            </p:cNvSpPr>
            <p:nvPr/>
          </p:nvSpPr>
          <p:spPr bwMode="auto">
            <a:xfrm>
              <a:off x="2856" y="3112"/>
              <a:ext cx="10" cy="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2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6" y="2"/>
                </a:cxn>
                <a:cxn ang="0">
                  <a:pos x="10" y="4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8" y="8"/>
                </a:cxn>
              </a:cxnLst>
              <a:rect l="0" t="0" r="r" b="b"/>
              <a:pathLst>
                <a:path w="10" h="8">
                  <a:moveTo>
                    <a:pt x="8" y="8"/>
                  </a:moveTo>
                  <a:lnTo>
                    <a:pt x="2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7" name="Freeform 147"/>
            <p:cNvSpPr>
              <a:spLocks/>
            </p:cNvSpPr>
            <p:nvPr/>
          </p:nvSpPr>
          <p:spPr bwMode="auto">
            <a:xfrm>
              <a:off x="2524" y="3838"/>
              <a:ext cx="128" cy="132"/>
            </a:xfrm>
            <a:custGeom>
              <a:avLst/>
              <a:gdLst/>
              <a:ahLst/>
              <a:cxnLst>
                <a:cxn ang="0">
                  <a:pos x="10" y="4"/>
                </a:cxn>
                <a:cxn ang="0">
                  <a:pos x="16" y="14"/>
                </a:cxn>
                <a:cxn ang="0">
                  <a:pos x="20" y="18"/>
                </a:cxn>
                <a:cxn ang="0">
                  <a:pos x="20" y="22"/>
                </a:cxn>
                <a:cxn ang="0">
                  <a:pos x="18" y="18"/>
                </a:cxn>
                <a:cxn ang="0">
                  <a:pos x="14" y="20"/>
                </a:cxn>
                <a:cxn ang="0">
                  <a:pos x="6" y="28"/>
                </a:cxn>
                <a:cxn ang="0">
                  <a:pos x="8" y="32"/>
                </a:cxn>
                <a:cxn ang="0">
                  <a:pos x="12" y="36"/>
                </a:cxn>
                <a:cxn ang="0">
                  <a:pos x="18" y="36"/>
                </a:cxn>
                <a:cxn ang="0">
                  <a:pos x="24" y="36"/>
                </a:cxn>
                <a:cxn ang="0">
                  <a:pos x="26" y="42"/>
                </a:cxn>
                <a:cxn ang="0">
                  <a:pos x="26" y="50"/>
                </a:cxn>
                <a:cxn ang="0">
                  <a:pos x="36" y="60"/>
                </a:cxn>
                <a:cxn ang="0">
                  <a:pos x="42" y="66"/>
                </a:cxn>
                <a:cxn ang="0">
                  <a:pos x="44" y="70"/>
                </a:cxn>
                <a:cxn ang="0">
                  <a:pos x="54" y="78"/>
                </a:cxn>
                <a:cxn ang="0">
                  <a:pos x="68" y="88"/>
                </a:cxn>
                <a:cxn ang="0">
                  <a:pos x="74" y="92"/>
                </a:cxn>
                <a:cxn ang="0">
                  <a:pos x="86" y="104"/>
                </a:cxn>
                <a:cxn ang="0">
                  <a:pos x="96" y="108"/>
                </a:cxn>
                <a:cxn ang="0">
                  <a:pos x="110" y="112"/>
                </a:cxn>
                <a:cxn ang="0">
                  <a:pos x="126" y="112"/>
                </a:cxn>
                <a:cxn ang="0">
                  <a:pos x="120" y="126"/>
                </a:cxn>
                <a:cxn ang="0">
                  <a:pos x="118" y="126"/>
                </a:cxn>
                <a:cxn ang="0">
                  <a:pos x="106" y="128"/>
                </a:cxn>
                <a:cxn ang="0">
                  <a:pos x="100" y="124"/>
                </a:cxn>
                <a:cxn ang="0">
                  <a:pos x="96" y="128"/>
                </a:cxn>
                <a:cxn ang="0">
                  <a:pos x="90" y="130"/>
                </a:cxn>
                <a:cxn ang="0">
                  <a:pos x="82" y="128"/>
                </a:cxn>
                <a:cxn ang="0">
                  <a:pos x="74" y="132"/>
                </a:cxn>
                <a:cxn ang="0">
                  <a:pos x="70" y="128"/>
                </a:cxn>
                <a:cxn ang="0">
                  <a:pos x="60" y="124"/>
                </a:cxn>
                <a:cxn ang="0">
                  <a:pos x="38" y="122"/>
                </a:cxn>
                <a:cxn ang="0">
                  <a:pos x="30" y="122"/>
                </a:cxn>
                <a:cxn ang="0">
                  <a:pos x="20" y="118"/>
                </a:cxn>
                <a:cxn ang="0">
                  <a:pos x="12" y="118"/>
                </a:cxn>
                <a:cxn ang="0">
                  <a:pos x="4" y="120"/>
                </a:cxn>
                <a:cxn ang="0">
                  <a:pos x="2" y="102"/>
                </a:cxn>
                <a:cxn ang="0">
                  <a:pos x="4" y="72"/>
                </a:cxn>
                <a:cxn ang="0">
                  <a:pos x="6" y="36"/>
                </a:cxn>
                <a:cxn ang="0">
                  <a:pos x="6" y="8"/>
                </a:cxn>
              </a:cxnLst>
              <a:rect l="0" t="0" r="r" b="b"/>
              <a:pathLst>
                <a:path w="128" h="132">
                  <a:moveTo>
                    <a:pt x="6" y="0"/>
                  </a:moveTo>
                  <a:lnTo>
                    <a:pt x="8" y="2"/>
                  </a:lnTo>
                  <a:lnTo>
                    <a:pt x="10" y="4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18"/>
                  </a:lnTo>
                  <a:lnTo>
                    <a:pt x="20" y="26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6" y="20"/>
                  </a:lnTo>
                  <a:lnTo>
                    <a:pt x="14" y="20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8" y="36"/>
                  </a:lnTo>
                  <a:lnTo>
                    <a:pt x="20" y="36"/>
                  </a:lnTo>
                  <a:lnTo>
                    <a:pt x="22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6" y="40"/>
                  </a:lnTo>
                  <a:lnTo>
                    <a:pt x="26" y="42"/>
                  </a:lnTo>
                  <a:lnTo>
                    <a:pt x="26" y="44"/>
                  </a:lnTo>
                  <a:lnTo>
                    <a:pt x="26" y="48"/>
                  </a:lnTo>
                  <a:lnTo>
                    <a:pt x="26" y="50"/>
                  </a:lnTo>
                  <a:lnTo>
                    <a:pt x="28" y="52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40" y="62"/>
                  </a:lnTo>
                  <a:lnTo>
                    <a:pt x="40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4" y="70"/>
                  </a:lnTo>
                  <a:lnTo>
                    <a:pt x="44" y="72"/>
                  </a:lnTo>
                  <a:lnTo>
                    <a:pt x="50" y="76"/>
                  </a:lnTo>
                  <a:lnTo>
                    <a:pt x="54" y="78"/>
                  </a:lnTo>
                  <a:lnTo>
                    <a:pt x="62" y="86"/>
                  </a:lnTo>
                  <a:lnTo>
                    <a:pt x="66" y="88"/>
                  </a:lnTo>
                  <a:lnTo>
                    <a:pt x="68" y="88"/>
                  </a:lnTo>
                  <a:lnTo>
                    <a:pt x="72" y="90"/>
                  </a:lnTo>
                  <a:lnTo>
                    <a:pt x="74" y="90"/>
                  </a:lnTo>
                  <a:lnTo>
                    <a:pt x="74" y="92"/>
                  </a:lnTo>
                  <a:lnTo>
                    <a:pt x="78" y="96"/>
                  </a:lnTo>
                  <a:lnTo>
                    <a:pt x="78" y="98"/>
                  </a:lnTo>
                  <a:lnTo>
                    <a:pt x="86" y="104"/>
                  </a:lnTo>
                  <a:lnTo>
                    <a:pt x="88" y="104"/>
                  </a:lnTo>
                  <a:lnTo>
                    <a:pt x="90" y="106"/>
                  </a:lnTo>
                  <a:lnTo>
                    <a:pt x="96" y="108"/>
                  </a:lnTo>
                  <a:lnTo>
                    <a:pt x="104" y="112"/>
                  </a:lnTo>
                  <a:lnTo>
                    <a:pt x="108" y="112"/>
                  </a:lnTo>
                  <a:lnTo>
                    <a:pt x="110" y="112"/>
                  </a:lnTo>
                  <a:lnTo>
                    <a:pt x="118" y="112"/>
                  </a:lnTo>
                  <a:lnTo>
                    <a:pt x="122" y="112"/>
                  </a:lnTo>
                  <a:lnTo>
                    <a:pt x="126" y="112"/>
                  </a:lnTo>
                  <a:lnTo>
                    <a:pt x="128" y="112"/>
                  </a:lnTo>
                  <a:lnTo>
                    <a:pt x="124" y="122"/>
                  </a:lnTo>
                  <a:lnTo>
                    <a:pt x="120" y="126"/>
                  </a:lnTo>
                  <a:lnTo>
                    <a:pt x="120" y="128"/>
                  </a:lnTo>
                  <a:lnTo>
                    <a:pt x="118" y="128"/>
                  </a:lnTo>
                  <a:lnTo>
                    <a:pt x="118" y="126"/>
                  </a:lnTo>
                  <a:lnTo>
                    <a:pt x="116" y="126"/>
                  </a:lnTo>
                  <a:lnTo>
                    <a:pt x="110" y="128"/>
                  </a:lnTo>
                  <a:lnTo>
                    <a:pt x="106" y="128"/>
                  </a:lnTo>
                  <a:lnTo>
                    <a:pt x="106" y="126"/>
                  </a:lnTo>
                  <a:lnTo>
                    <a:pt x="104" y="126"/>
                  </a:lnTo>
                  <a:lnTo>
                    <a:pt x="100" y="124"/>
                  </a:lnTo>
                  <a:lnTo>
                    <a:pt x="98" y="126"/>
                  </a:lnTo>
                  <a:lnTo>
                    <a:pt x="98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0" y="128"/>
                  </a:lnTo>
                  <a:lnTo>
                    <a:pt x="90" y="130"/>
                  </a:lnTo>
                  <a:lnTo>
                    <a:pt x="86" y="128"/>
                  </a:lnTo>
                  <a:lnTo>
                    <a:pt x="84" y="128"/>
                  </a:lnTo>
                  <a:lnTo>
                    <a:pt x="82" y="128"/>
                  </a:lnTo>
                  <a:lnTo>
                    <a:pt x="80" y="132"/>
                  </a:lnTo>
                  <a:lnTo>
                    <a:pt x="76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8" y="128"/>
                  </a:lnTo>
                  <a:lnTo>
                    <a:pt x="66" y="126"/>
                  </a:lnTo>
                  <a:lnTo>
                    <a:pt x="60" y="124"/>
                  </a:lnTo>
                  <a:lnTo>
                    <a:pt x="54" y="124"/>
                  </a:lnTo>
                  <a:lnTo>
                    <a:pt x="42" y="122"/>
                  </a:lnTo>
                  <a:lnTo>
                    <a:pt x="38" y="122"/>
                  </a:lnTo>
                  <a:lnTo>
                    <a:pt x="36" y="122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24" y="120"/>
                  </a:lnTo>
                  <a:lnTo>
                    <a:pt x="22" y="120"/>
                  </a:lnTo>
                  <a:lnTo>
                    <a:pt x="20" y="118"/>
                  </a:lnTo>
                  <a:lnTo>
                    <a:pt x="18" y="118"/>
                  </a:lnTo>
                  <a:lnTo>
                    <a:pt x="14" y="118"/>
                  </a:lnTo>
                  <a:lnTo>
                    <a:pt x="12" y="118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4" y="120"/>
                  </a:lnTo>
                  <a:lnTo>
                    <a:pt x="2" y="118"/>
                  </a:lnTo>
                  <a:lnTo>
                    <a:pt x="0" y="116"/>
                  </a:lnTo>
                  <a:lnTo>
                    <a:pt x="2" y="102"/>
                  </a:lnTo>
                  <a:lnTo>
                    <a:pt x="2" y="92"/>
                  </a:lnTo>
                  <a:lnTo>
                    <a:pt x="2" y="90"/>
                  </a:lnTo>
                  <a:lnTo>
                    <a:pt x="4" y="72"/>
                  </a:lnTo>
                  <a:lnTo>
                    <a:pt x="4" y="64"/>
                  </a:lnTo>
                  <a:lnTo>
                    <a:pt x="4" y="46"/>
                  </a:lnTo>
                  <a:lnTo>
                    <a:pt x="6" y="36"/>
                  </a:lnTo>
                  <a:lnTo>
                    <a:pt x="6" y="34"/>
                  </a:lnTo>
                  <a:lnTo>
                    <a:pt x="6" y="26"/>
                  </a:lnTo>
                  <a:lnTo>
                    <a:pt x="6" y="8"/>
                  </a:lnTo>
                  <a:lnTo>
                    <a:pt x="6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8" name="Freeform 148"/>
            <p:cNvSpPr>
              <a:spLocks/>
            </p:cNvSpPr>
            <p:nvPr/>
          </p:nvSpPr>
          <p:spPr bwMode="auto">
            <a:xfrm>
              <a:off x="2666" y="3956"/>
              <a:ext cx="34" cy="10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2" y="8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6" y="4"/>
                </a:cxn>
                <a:cxn ang="0">
                  <a:pos x="10" y="4"/>
                </a:cxn>
                <a:cxn ang="0">
                  <a:pos x="14" y="2"/>
                </a:cxn>
                <a:cxn ang="0">
                  <a:pos x="16" y="0"/>
                </a:cxn>
                <a:cxn ang="0">
                  <a:pos x="22" y="2"/>
                </a:cxn>
                <a:cxn ang="0">
                  <a:pos x="28" y="2"/>
                </a:cxn>
                <a:cxn ang="0">
                  <a:pos x="30" y="0"/>
                </a:cxn>
                <a:cxn ang="0">
                  <a:pos x="32" y="0"/>
                </a:cxn>
                <a:cxn ang="0">
                  <a:pos x="34" y="0"/>
                </a:cxn>
                <a:cxn ang="0">
                  <a:pos x="34" y="2"/>
                </a:cxn>
                <a:cxn ang="0">
                  <a:pos x="32" y="4"/>
                </a:cxn>
                <a:cxn ang="0">
                  <a:pos x="30" y="6"/>
                </a:cxn>
                <a:cxn ang="0">
                  <a:pos x="28" y="4"/>
                </a:cxn>
                <a:cxn ang="0">
                  <a:pos x="26" y="4"/>
                </a:cxn>
                <a:cxn ang="0">
                  <a:pos x="22" y="6"/>
                </a:cxn>
                <a:cxn ang="0">
                  <a:pos x="18" y="6"/>
                </a:cxn>
                <a:cxn ang="0">
                  <a:pos x="18" y="4"/>
                </a:cxn>
                <a:cxn ang="0">
                  <a:pos x="16" y="4"/>
                </a:cxn>
                <a:cxn ang="0">
                  <a:pos x="14" y="4"/>
                </a:cxn>
                <a:cxn ang="0">
                  <a:pos x="12" y="6"/>
                </a:cxn>
                <a:cxn ang="0">
                  <a:pos x="10" y="6"/>
                </a:cxn>
                <a:cxn ang="0">
                  <a:pos x="6" y="8"/>
                </a:cxn>
                <a:cxn ang="0">
                  <a:pos x="4" y="10"/>
                </a:cxn>
                <a:cxn ang="0">
                  <a:pos x="2" y="10"/>
                </a:cxn>
              </a:cxnLst>
              <a:rect l="0" t="0" r="r" b="b"/>
              <a:pathLst>
                <a:path w="34" h="10">
                  <a:moveTo>
                    <a:pt x="2" y="10"/>
                  </a:move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8" y="2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30" y="6"/>
                  </a:lnTo>
                  <a:lnTo>
                    <a:pt x="28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6" y="8"/>
                  </a:lnTo>
                  <a:lnTo>
                    <a:pt x="4" y="10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9" name="Freeform 149"/>
            <p:cNvSpPr>
              <a:spLocks/>
            </p:cNvSpPr>
            <p:nvPr/>
          </p:nvSpPr>
          <p:spPr bwMode="auto">
            <a:xfrm>
              <a:off x="2596" y="3976"/>
              <a:ext cx="8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4" y="6"/>
                </a:cxn>
                <a:cxn ang="0">
                  <a:pos x="2" y="8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4" y="6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9" name="Group 150"/>
          <p:cNvGrpSpPr>
            <a:grpSpLocks/>
          </p:cNvGrpSpPr>
          <p:nvPr/>
        </p:nvGrpSpPr>
        <p:grpSpPr bwMode="auto">
          <a:xfrm>
            <a:off x="3537576" y="3327756"/>
            <a:ext cx="501651" cy="2659063"/>
            <a:chOff x="2250" y="1934"/>
            <a:chExt cx="416" cy="2082"/>
          </a:xfrm>
          <a:solidFill>
            <a:srgbClr val="92D050"/>
          </a:solidFill>
        </p:grpSpPr>
        <p:sp>
          <p:nvSpPr>
            <p:cNvPr id="41" name="Freeform 151"/>
            <p:cNvSpPr>
              <a:spLocks/>
            </p:cNvSpPr>
            <p:nvPr/>
          </p:nvSpPr>
          <p:spPr bwMode="auto">
            <a:xfrm>
              <a:off x="2250" y="1934"/>
              <a:ext cx="416" cy="1970"/>
            </a:xfrm>
            <a:custGeom>
              <a:avLst/>
              <a:gdLst/>
              <a:ahLst/>
              <a:cxnLst>
                <a:cxn ang="0">
                  <a:pos x="136" y="1946"/>
                </a:cxn>
                <a:cxn ang="0">
                  <a:pos x="172" y="1928"/>
                </a:cxn>
                <a:cxn ang="0">
                  <a:pos x="130" y="1940"/>
                </a:cxn>
                <a:cxn ang="0">
                  <a:pos x="116" y="1926"/>
                </a:cxn>
                <a:cxn ang="0">
                  <a:pos x="134" y="1896"/>
                </a:cxn>
                <a:cxn ang="0">
                  <a:pos x="104" y="1908"/>
                </a:cxn>
                <a:cxn ang="0">
                  <a:pos x="86" y="1870"/>
                </a:cxn>
                <a:cxn ang="0">
                  <a:pos x="130" y="1874"/>
                </a:cxn>
                <a:cxn ang="0">
                  <a:pos x="108" y="1840"/>
                </a:cxn>
                <a:cxn ang="0">
                  <a:pos x="106" y="1872"/>
                </a:cxn>
                <a:cxn ang="0">
                  <a:pos x="78" y="1834"/>
                </a:cxn>
                <a:cxn ang="0">
                  <a:pos x="92" y="1796"/>
                </a:cxn>
                <a:cxn ang="0">
                  <a:pos x="48" y="1768"/>
                </a:cxn>
                <a:cxn ang="0">
                  <a:pos x="72" y="1744"/>
                </a:cxn>
                <a:cxn ang="0">
                  <a:pos x="74" y="1718"/>
                </a:cxn>
                <a:cxn ang="0">
                  <a:pos x="70" y="1690"/>
                </a:cxn>
                <a:cxn ang="0">
                  <a:pos x="60" y="1662"/>
                </a:cxn>
                <a:cxn ang="0">
                  <a:pos x="90" y="1648"/>
                </a:cxn>
                <a:cxn ang="0">
                  <a:pos x="42" y="1638"/>
                </a:cxn>
                <a:cxn ang="0">
                  <a:pos x="66" y="1612"/>
                </a:cxn>
                <a:cxn ang="0">
                  <a:pos x="14" y="1578"/>
                </a:cxn>
                <a:cxn ang="0">
                  <a:pos x="30" y="1554"/>
                </a:cxn>
                <a:cxn ang="0">
                  <a:pos x="56" y="1556"/>
                </a:cxn>
                <a:cxn ang="0">
                  <a:pos x="94" y="1546"/>
                </a:cxn>
                <a:cxn ang="0">
                  <a:pos x="100" y="1506"/>
                </a:cxn>
                <a:cxn ang="0">
                  <a:pos x="102" y="1486"/>
                </a:cxn>
                <a:cxn ang="0">
                  <a:pos x="110" y="1412"/>
                </a:cxn>
                <a:cxn ang="0">
                  <a:pos x="120" y="1340"/>
                </a:cxn>
                <a:cxn ang="0">
                  <a:pos x="128" y="1310"/>
                </a:cxn>
                <a:cxn ang="0">
                  <a:pos x="74" y="1298"/>
                </a:cxn>
                <a:cxn ang="0">
                  <a:pos x="100" y="1182"/>
                </a:cxn>
                <a:cxn ang="0">
                  <a:pos x="92" y="1068"/>
                </a:cxn>
                <a:cxn ang="0">
                  <a:pos x="138" y="960"/>
                </a:cxn>
                <a:cxn ang="0">
                  <a:pos x="174" y="870"/>
                </a:cxn>
                <a:cxn ang="0">
                  <a:pos x="174" y="724"/>
                </a:cxn>
                <a:cxn ang="0">
                  <a:pos x="194" y="604"/>
                </a:cxn>
                <a:cxn ang="0">
                  <a:pos x="226" y="468"/>
                </a:cxn>
                <a:cxn ang="0">
                  <a:pos x="238" y="338"/>
                </a:cxn>
                <a:cxn ang="0">
                  <a:pos x="252" y="246"/>
                </a:cxn>
                <a:cxn ang="0">
                  <a:pos x="250" y="98"/>
                </a:cxn>
                <a:cxn ang="0">
                  <a:pos x="282" y="8"/>
                </a:cxn>
                <a:cxn ang="0">
                  <a:pos x="322" y="84"/>
                </a:cxn>
                <a:cxn ang="0">
                  <a:pos x="342" y="170"/>
                </a:cxn>
                <a:cxn ang="0">
                  <a:pos x="398" y="290"/>
                </a:cxn>
                <a:cxn ang="0">
                  <a:pos x="332" y="426"/>
                </a:cxn>
                <a:cxn ang="0">
                  <a:pos x="322" y="520"/>
                </a:cxn>
                <a:cxn ang="0">
                  <a:pos x="268" y="628"/>
                </a:cxn>
                <a:cxn ang="0">
                  <a:pos x="238" y="736"/>
                </a:cxn>
                <a:cxn ang="0">
                  <a:pos x="250" y="846"/>
                </a:cxn>
                <a:cxn ang="0">
                  <a:pos x="226" y="958"/>
                </a:cxn>
                <a:cxn ang="0">
                  <a:pos x="196" y="1068"/>
                </a:cxn>
                <a:cxn ang="0">
                  <a:pos x="186" y="1158"/>
                </a:cxn>
                <a:cxn ang="0">
                  <a:pos x="164" y="1248"/>
                </a:cxn>
                <a:cxn ang="0">
                  <a:pos x="156" y="1332"/>
                </a:cxn>
                <a:cxn ang="0">
                  <a:pos x="164" y="1420"/>
                </a:cxn>
                <a:cxn ang="0">
                  <a:pos x="176" y="1474"/>
                </a:cxn>
                <a:cxn ang="0">
                  <a:pos x="166" y="1546"/>
                </a:cxn>
                <a:cxn ang="0">
                  <a:pos x="140" y="1628"/>
                </a:cxn>
                <a:cxn ang="0">
                  <a:pos x="114" y="1702"/>
                </a:cxn>
                <a:cxn ang="0">
                  <a:pos x="112" y="1800"/>
                </a:cxn>
                <a:cxn ang="0">
                  <a:pos x="142" y="1852"/>
                </a:cxn>
                <a:cxn ang="0">
                  <a:pos x="270" y="1884"/>
                </a:cxn>
              </a:cxnLst>
              <a:rect l="0" t="0" r="r" b="b"/>
              <a:pathLst>
                <a:path w="416" h="1970">
                  <a:moveTo>
                    <a:pt x="196" y="1916"/>
                  </a:moveTo>
                  <a:lnTo>
                    <a:pt x="198" y="1918"/>
                  </a:lnTo>
                  <a:lnTo>
                    <a:pt x="198" y="1922"/>
                  </a:lnTo>
                  <a:lnTo>
                    <a:pt x="194" y="1928"/>
                  </a:lnTo>
                  <a:lnTo>
                    <a:pt x="194" y="1930"/>
                  </a:lnTo>
                  <a:lnTo>
                    <a:pt x="192" y="1930"/>
                  </a:lnTo>
                  <a:lnTo>
                    <a:pt x="192" y="1932"/>
                  </a:lnTo>
                  <a:lnTo>
                    <a:pt x="192" y="1934"/>
                  </a:lnTo>
                  <a:lnTo>
                    <a:pt x="190" y="1942"/>
                  </a:lnTo>
                  <a:lnTo>
                    <a:pt x="190" y="1944"/>
                  </a:lnTo>
                  <a:lnTo>
                    <a:pt x="190" y="1946"/>
                  </a:lnTo>
                  <a:lnTo>
                    <a:pt x="190" y="1948"/>
                  </a:lnTo>
                  <a:lnTo>
                    <a:pt x="192" y="1950"/>
                  </a:lnTo>
                  <a:lnTo>
                    <a:pt x="192" y="1952"/>
                  </a:lnTo>
                  <a:lnTo>
                    <a:pt x="192" y="1954"/>
                  </a:lnTo>
                  <a:lnTo>
                    <a:pt x="192" y="1956"/>
                  </a:lnTo>
                  <a:lnTo>
                    <a:pt x="190" y="1962"/>
                  </a:lnTo>
                  <a:lnTo>
                    <a:pt x="188" y="1964"/>
                  </a:lnTo>
                  <a:lnTo>
                    <a:pt x="188" y="1966"/>
                  </a:lnTo>
                  <a:lnTo>
                    <a:pt x="180" y="1970"/>
                  </a:lnTo>
                  <a:lnTo>
                    <a:pt x="178" y="1970"/>
                  </a:lnTo>
                  <a:lnTo>
                    <a:pt x="172" y="1966"/>
                  </a:lnTo>
                  <a:lnTo>
                    <a:pt x="170" y="1966"/>
                  </a:lnTo>
                  <a:lnTo>
                    <a:pt x="168" y="1966"/>
                  </a:lnTo>
                  <a:lnTo>
                    <a:pt x="166" y="1966"/>
                  </a:lnTo>
                  <a:lnTo>
                    <a:pt x="164" y="1966"/>
                  </a:lnTo>
                  <a:lnTo>
                    <a:pt x="158" y="1962"/>
                  </a:lnTo>
                  <a:lnTo>
                    <a:pt x="154" y="1960"/>
                  </a:lnTo>
                  <a:lnTo>
                    <a:pt x="150" y="1960"/>
                  </a:lnTo>
                  <a:lnTo>
                    <a:pt x="148" y="1958"/>
                  </a:lnTo>
                  <a:lnTo>
                    <a:pt x="142" y="1954"/>
                  </a:lnTo>
                  <a:lnTo>
                    <a:pt x="138" y="1950"/>
                  </a:lnTo>
                  <a:lnTo>
                    <a:pt x="138" y="1948"/>
                  </a:lnTo>
                  <a:lnTo>
                    <a:pt x="136" y="1946"/>
                  </a:lnTo>
                  <a:lnTo>
                    <a:pt x="134" y="1942"/>
                  </a:lnTo>
                  <a:lnTo>
                    <a:pt x="136" y="1940"/>
                  </a:lnTo>
                  <a:lnTo>
                    <a:pt x="142" y="1934"/>
                  </a:lnTo>
                  <a:lnTo>
                    <a:pt x="148" y="1936"/>
                  </a:lnTo>
                  <a:lnTo>
                    <a:pt x="150" y="1938"/>
                  </a:lnTo>
                  <a:lnTo>
                    <a:pt x="150" y="1940"/>
                  </a:lnTo>
                  <a:lnTo>
                    <a:pt x="150" y="1942"/>
                  </a:lnTo>
                  <a:lnTo>
                    <a:pt x="146" y="1944"/>
                  </a:lnTo>
                  <a:lnTo>
                    <a:pt x="144" y="1944"/>
                  </a:lnTo>
                  <a:lnTo>
                    <a:pt x="146" y="1946"/>
                  </a:lnTo>
                  <a:lnTo>
                    <a:pt x="148" y="1944"/>
                  </a:lnTo>
                  <a:lnTo>
                    <a:pt x="150" y="1944"/>
                  </a:lnTo>
                  <a:lnTo>
                    <a:pt x="152" y="1942"/>
                  </a:lnTo>
                  <a:lnTo>
                    <a:pt x="152" y="1940"/>
                  </a:lnTo>
                  <a:lnTo>
                    <a:pt x="152" y="1938"/>
                  </a:lnTo>
                  <a:lnTo>
                    <a:pt x="152" y="1936"/>
                  </a:lnTo>
                  <a:lnTo>
                    <a:pt x="152" y="1934"/>
                  </a:lnTo>
                  <a:lnTo>
                    <a:pt x="158" y="1934"/>
                  </a:lnTo>
                  <a:lnTo>
                    <a:pt x="160" y="1944"/>
                  </a:lnTo>
                  <a:lnTo>
                    <a:pt x="160" y="1946"/>
                  </a:lnTo>
                  <a:lnTo>
                    <a:pt x="158" y="1946"/>
                  </a:lnTo>
                  <a:lnTo>
                    <a:pt x="158" y="1948"/>
                  </a:lnTo>
                  <a:lnTo>
                    <a:pt x="154" y="1950"/>
                  </a:lnTo>
                  <a:lnTo>
                    <a:pt x="152" y="1950"/>
                  </a:lnTo>
                  <a:lnTo>
                    <a:pt x="152" y="1952"/>
                  </a:lnTo>
                  <a:lnTo>
                    <a:pt x="154" y="1952"/>
                  </a:lnTo>
                  <a:lnTo>
                    <a:pt x="158" y="1950"/>
                  </a:lnTo>
                  <a:lnTo>
                    <a:pt x="160" y="1950"/>
                  </a:lnTo>
                  <a:lnTo>
                    <a:pt x="162" y="1946"/>
                  </a:lnTo>
                  <a:lnTo>
                    <a:pt x="162" y="1942"/>
                  </a:lnTo>
                  <a:lnTo>
                    <a:pt x="160" y="1940"/>
                  </a:lnTo>
                  <a:lnTo>
                    <a:pt x="160" y="1938"/>
                  </a:lnTo>
                  <a:lnTo>
                    <a:pt x="162" y="1934"/>
                  </a:lnTo>
                  <a:lnTo>
                    <a:pt x="172" y="1928"/>
                  </a:lnTo>
                  <a:lnTo>
                    <a:pt x="174" y="1928"/>
                  </a:lnTo>
                  <a:lnTo>
                    <a:pt x="176" y="1928"/>
                  </a:lnTo>
                  <a:lnTo>
                    <a:pt x="178" y="1926"/>
                  </a:lnTo>
                  <a:lnTo>
                    <a:pt x="186" y="1916"/>
                  </a:lnTo>
                  <a:lnTo>
                    <a:pt x="186" y="1914"/>
                  </a:lnTo>
                  <a:lnTo>
                    <a:pt x="184" y="1912"/>
                  </a:lnTo>
                  <a:lnTo>
                    <a:pt x="180" y="1910"/>
                  </a:lnTo>
                  <a:lnTo>
                    <a:pt x="176" y="1910"/>
                  </a:lnTo>
                  <a:lnTo>
                    <a:pt x="168" y="1914"/>
                  </a:lnTo>
                  <a:lnTo>
                    <a:pt x="160" y="1920"/>
                  </a:lnTo>
                  <a:lnTo>
                    <a:pt x="156" y="1922"/>
                  </a:lnTo>
                  <a:lnTo>
                    <a:pt x="152" y="1928"/>
                  </a:lnTo>
                  <a:lnTo>
                    <a:pt x="150" y="1928"/>
                  </a:lnTo>
                  <a:lnTo>
                    <a:pt x="148" y="1928"/>
                  </a:lnTo>
                  <a:lnTo>
                    <a:pt x="146" y="1926"/>
                  </a:lnTo>
                  <a:lnTo>
                    <a:pt x="144" y="1924"/>
                  </a:lnTo>
                  <a:lnTo>
                    <a:pt x="140" y="1922"/>
                  </a:lnTo>
                  <a:lnTo>
                    <a:pt x="134" y="1924"/>
                  </a:lnTo>
                  <a:lnTo>
                    <a:pt x="132" y="1926"/>
                  </a:lnTo>
                  <a:lnTo>
                    <a:pt x="134" y="1926"/>
                  </a:lnTo>
                  <a:lnTo>
                    <a:pt x="138" y="1926"/>
                  </a:lnTo>
                  <a:lnTo>
                    <a:pt x="144" y="1930"/>
                  </a:lnTo>
                  <a:lnTo>
                    <a:pt x="146" y="1932"/>
                  </a:lnTo>
                  <a:lnTo>
                    <a:pt x="144" y="1932"/>
                  </a:lnTo>
                  <a:lnTo>
                    <a:pt x="140" y="1934"/>
                  </a:lnTo>
                  <a:lnTo>
                    <a:pt x="138" y="1934"/>
                  </a:lnTo>
                  <a:lnTo>
                    <a:pt x="136" y="1932"/>
                  </a:lnTo>
                  <a:lnTo>
                    <a:pt x="134" y="1932"/>
                  </a:lnTo>
                  <a:lnTo>
                    <a:pt x="132" y="1932"/>
                  </a:lnTo>
                  <a:lnTo>
                    <a:pt x="134" y="1934"/>
                  </a:lnTo>
                  <a:lnTo>
                    <a:pt x="136" y="1936"/>
                  </a:lnTo>
                  <a:lnTo>
                    <a:pt x="134" y="1940"/>
                  </a:lnTo>
                  <a:lnTo>
                    <a:pt x="132" y="1942"/>
                  </a:lnTo>
                  <a:lnTo>
                    <a:pt x="130" y="1940"/>
                  </a:lnTo>
                  <a:lnTo>
                    <a:pt x="128" y="1940"/>
                  </a:lnTo>
                  <a:lnTo>
                    <a:pt x="132" y="1944"/>
                  </a:lnTo>
                  <a:lnTo>
                    <a:pt x="134" y="1942"/>
                  </a:lnTo>
                  <a:lnTo>
                    <a:pt x="138" y="1948"/>
                  </a:lnTo>
                  <a:lnTo>
                    <a:pt x="138" y="1950"/>
                  </a:lnTo>
                  <a:lnTo>
                    <a:pt x="136" y="1950"/>
                  </a:lnTo>
                  <a:lnTo>
                    <a:pt x="134" y="1952"/>
                  </a:lnTo>
                  <a:lnTo>
                    <a:pt x="132" y="1950"/>
                  </a:lnTo>
                  <a:lnTo>
                    <a:pt x="124" y="1944"/>
                  </a:lnTo>
                  <a:lnTo>
                    <a:pt x="120" y="1942"/>
                  </a:lnTo>
                  <a:lnTo>
                    <a:pt x="116" y="1940"/>
                  </a:lnTo>
                  <a:lnTo>
                    <a:pt x="112" y="1938"/>
                  </a:lnTo>
                  <a:lnTo>
                    <a:pt x="112" y="1936"/>
                  </a:lnTo>
                  <a:lnTo>
                    <a:pt x="110" y="1936"/>
                  </a:lnTo>
                  <a:lnTo>
                    <a:pt x="106" y="1934"/>
                  </a:lnTo>
                  <a:lnTo>
                    <a:pt x="104" y="1930"/>
                  </a:lnTo>
                  <a:lnTo>
                    <a:pt x="112" y="1930"/>
                  </a:lnTo>
                  <a:lnTo>
                    <a:pt x="114" y="1930"/>
                  </a:lnTo>
                  <a:lnTo>
                    <a:pt x="116" y="1930"/>
                  </a:lnTo>
                  <a:lnTo>
                    <a:pt x="120" y="1932"/>
                  </a:lnTo>
                  <a:lnTo>
                    <a:pt x="124" y="1938"/>
                  </a:lnTo>
                  <a:lnTo>
                    <a:pt x="126" y="1938"/>
                  </a:lnTo>
                  <a:lnTo>
                    <a:pt x="126" y="1934"/>
                  </a:lnTo>
                  <a:lnTo>
                    <a:pt x="124" y="1932"/>
                  </a:lnTo>
                  <a:lnTo>
                    <a:pt x="122" y="1932"/>
                  </a:lnTo>
                  <a:lnTo>
                    <a:pt x="124" y="1930"/>
                  </a:lnTo>
                  <a:lnTo>
                    <a:pt x="126" y="1930"/>
                  </a:lnTo>
                  <a:lnTo>
                    <a:pt x="128" y="1930"/>
                  </a:lnTo>
                  <a:lnTo>
                    <a:pt x="126" y="1928"/>
                  </a:lnTo>
                  <a:lnTo>
                    <a:pt x="124" y="1928"/>
                  </a:lnTo>
                  <a:lnTo>
                    <a:pt x="122" y="1928"/>
                  </a:lnTo>
                  <a:lnTo>
                    <a:pt x="122" y="1930"/>
                  </a:lnTo>
                  <a:lnTo>
                    <a:pt x="120" y="1930"/>
                  </a:lnTo>
                  <a:lnTo>
                    <a:pt x="116" y="1926"/>
                  </a:lnTo>
                  <a:lnTo>
                    <a:pt x="118" y="1926"/>
                  </a:lnTo>
                  <a:lnTo>
                    <a:pt x="118" y="1922"/>
                  </a:lnTo>
                  <a:lnTo>
                    <a:pt x="116" y="1918"/>
                  </a:lnTo>
                  <a:lnTo>
                    <a:pt x="116" y="1914"/>
                  </a:lnTo>
                  <a:lnTo>
                    <a:pt x="118" y="1912"/>
                  </a:lnTo>
                  <a:lnTo>
                    <a:pt x="126" y="1908"/>
                  </a:lnTo>
                  <a:lnTo>
                    <a:pt x="130" y="1910"/>
                  </a:lnTo>
                  <a:lnTo>
                    <a:pt x="134" y="1912"/>
                  </a:lnTo>
                  <a:lnTo>
                    <a:pt x="136" y="1912"/>
                  </a:lnTo>
                  <a:lnTo>
                    <a:pt x="140" y="1908"/>
                  </a:lnTo>
                  <a:lnTo>
                    <a:pt x="146" y="1902"/>
                  </a:lnTo>
                  <a:lnTo>
                    <a:pt x="152" y="1902"/>
                  </a:lnTo>
                  <a:lnTo>
                    <a:pt x="154" y="1902"/>
                  </a:lnTo>
                  <a:lnTo>
                    <a:pt x="156" y="1904"/>
                  </a:lnTo>
                  <a:lnTo>
                    <a:pt x="158" y="1904"/>
                  </a:lnTo>
                  <a:lnTo>
                    <a:pt x="160" y="1904"/>
                  </a:lnTo>
                  <a:lnTo>
                    <a:pt x="164" y="1904"/>
                  </a:lnTo>
                  <a:lnTo>
                    <a:pt x="166" y="1904"/>
                  </a:lnTo>
                  <a:lnTo>
                    <a:pt x="168" y="1904"/>
                  </a:lnTo>
                  <a:lnTo>
                    <a:pt x="172" y="1902"/>
                  </a:lnTo>
                  <a:lnTo>
                    <a:pt x="170" y="1898"/>
                  </a:lnTo>
                  <a:lnTo>
                    <a:pt x="168" y="1898"/>
                  </a:lnTo>
                  <a:lnTo>
                    <a:pt x="166" y="1898"/>
                  </a:lnTo>
                  <a:lnTo>
                    <a:pt x="162" y="1898"/>
                  </a:lnTo>
                  <a:lnTo>
                    <a:pt x="156" y="1896"/>
                  </a:lnTo>
                  <a:lnTo>
                    <a:pt x="148" y="1896"/>
                  </a:lnTo>
                  <a:lnTo>
                    <a:pt x="142" y="1896"/>
                  </a:lnTo>
                  <a:lnTo>
                    <a:pt x="140" y="1896"/>
                  </a:lnTo>
                  <a:lnTo>
                    <a:pt x="140" y="1898"/>
                  </a:lnTo>
                  <a:lnTo>
                    <a:pt x="138" y="1900"/>
                  </a:lnTo>
                  <a:lnTo>
                    <a:pt x="136" y="1902"/>
                  </a:lnTo>
                  <a:lnTo>
                    <a:pt x="132" y="1900"/>
                  </a:lnTo>
                  <a:lnTo>
                    <a:pt x="134" y="1898"/>
                  </a:lnTo>
                  <a:lnTo>
                    <a:pt x="134" y="1896"/>
                  </a:lnTo>
                  <a:lnTo>
                    <a:pt x="136" y="1896"/>
                  </a:lnTo>
                  <a:lnTo>
                    <a:pt x="138" y="1896"/>
                  </a:lnTo>
                  <a:lnTo>
                    <a:pt x="136" y="1894"/>
                  </a:lnTo>
                  <a:lnTo>
                    <a:pt x="134" y="1896"/>
                  </a:lnTo>
                  <a:lnTo>
                    <a:pt x="132" y="1896"/>
                  </a:lnTo>
                  <a:lnTo>
                    <a:pt x="128" y="1896"/>
                  </a:lnTo>
                  <a:lnTo>
                    <a:pt x="122" y="1896"/>
                  </a:lnTo>
                  <a:lnTo>
                    <a:pt x="118" y="1902"/>
                  </a:lnTo>
                  <a:lnTo>
                    <a:pt x="122" y="1900"/>
                  </a:lnTo>
                  <a:lnTo>
                    <a:pt x="126" y="1902"/>
                  </a:lnTo>
                  <a:lnTo>
                    <a:pt x="124" y="1906"/>
                  </a:lnTo>
                  <a:lnTo>
                    <a:pt x="122" y="1908"/>
                  </a:lnTo>
                  <a:lnTo>
                    <a:pt x="120" y="1910"/>
                  </a:lnTo>
                  <a:lnTo>
                    <a:pt x="116" y="1910"/>
                  </a:lnTo>
                  <a:lnTo>
                    <a:pt x="114" y="1912"/>
                  </a:lnTo>
                  <a:lnTo>
                    <a:pt x="114" y="1914"/>
                  </a:lnTo>
                  <a:lnTo>
                    <a:pt x="116" y="1918"/>
                  </a:lnTo>
                  <a:lnTo>
                    <a:pt x="116" y="1920"/>
                  </a:lnTo>
                  <a:lnTo>
                    <a:pt x="116" y="1922"/>
                  </a:lnTo>
                  <a:lnTo>
                    <a:pt x="114" y="1924"/>
                  </a:lnTo>
                  <a:lnTo>
                    <a:pt x="112" y="1926"/>
                  </a:lnTo>
                  <a:lnTo>
                    <a:pt x="110" y="1926"/>
                  </a:lnTo>
                  <a:lnTo>
                    <a:pt x="108" y="1926"/>
                  </a:lnTo>
                  <a:lnTo>
                    <a:pt x="102" y="1926"/>
                  </a:lnTo>
                  <a:lnTo>
                    <a:pt x="98" y="1922"/>
                  </a:lnTo>
                  <a:lnTo>
                    <a:pt x="102" y="1918"/>
                  </a:lnTo>
                  <a:lnTo>
                    <a:pt x="106" y="1916"/>
                  </a:lnTo>
                  <a:lnTo>
                    <a:pt x="100" y="1916"/>
                  </a:lnTo>
                  <a:lnTo>
                    <a:pt x="94" y="1910"/>
                  </a:lnTo>
                  <a:lnTo>
                    <a:pt x="96" y="1910"/>
                  </a:lnTo>
                  <a:lnTo>
                    <a:pt x="98" y="1910"/>
                  </a:lnTo>
                  <a:lnTo>
                    <a:pt x="100" y="1910"/>
                  </a:lnTo>
                  <a:lnTo>
                    <a:pt x="106" y="1910"/>
                  </a:lnTo>
                  <a:lnTo>
                    <a:pt x="104" y="1908"/>
                  </a:lnTo>
                  <a:lnTo>
                    <a:pt x="104" y="1906"/>
                  </a:lnTo>
                  <a:lnTo>
                    <a:pt x="110" y="1894"/>
                  </a:lnTo>
                  <a:lnTo>
                    <a:pt x="112" y="1894"/>
                  </a:lnTo>
                  <a:lnTo>
                    <a:pt x="114" y="1894"/>
                  </a:lnTo>
                  <a:lnTo>
                    <a:pt x="118" y="1896"/>
                  </a:lnTo>
                  <a:lnTo>
                    <a:pt x="118" y="1894"/>
                  </a:lnTo>
                  <a:lnTo>
                    <a:pt x="114" y="1894"/>
                  </a:lnTo>
                  <a:lnTo>
                    <a:pt x="112" y="1894"/>
                  </a:lnTo>
                  <a:lnTo>
                    <a:pt x="108" y="1894"/>
                  </a:lnTo>
                  <a:lnTo>
                    <a:pt x="108" y="1898"/>
                  </a:lnTo>
                  <a:lnTo>
                    <a:pt x="104" y="1904"/>
                  </a:lnTo>
                  <a:lnTo>
                    <a:pt x="102" y="1904"/>
                  </a:lnTo>
                  <a:lnTo>
                    <a:pt x="102" y="1902"/>
                  </a:lnTo>
                  <a:lnTo>
                    <a:pt x="102" y="1900"/>
                  </a:lnTo>
                  <a:lnTo>
                    <a:pt x="100" y="1900"/>
                  </a:lnTo>
                  <a:lnTo>
                    <a:pt x="96" y="1902"/>
                  </a:lnTo>
                  <a:lnTo>
                    <a:pt x="94" y="1904"/>
                  </a:lnTo>
                  <a:lnTo>
                    <a:pt x="92" y="1906"/>
                  </a:lnTo>
                  <a:lnTo>
                    <a:pt x="92" y="1908"/>
                  </a:lnTo>
                  <a:lnTo>
                    <a:pt x="88" y="1906"/>
                  </a:lnTo>
                  <a:lnTo>
                    <a:pt x="88" y="1900"/>
                  </a:lnTo>
                  <a:lnTo>
                    <a:pt x="90" y="1898"/>
                  </a:lnTo>
                  <a:lnTo>
                    <a:pt x="92" y="1898"/>
                  </a:lnTo>
                  <a:lnTo>
                    <a:pt x="94" y="1898"/>
                  </a:lnTo>
                  <a:lnTo>
                    <a:pt x="94" y="1896"/>
                  </a:lnTo>
                  <a:lnTo>
                    <a:pt x="92" y="1896"/>
                  </a:lnTo>
                  <a:lnTo>
                    <a:pt x="90" y="1890"/>
                  </a:lnTo>
                  <a:lnTo>
                    <a:pt x="90" y="1888"/>
                  </a:lnTo>
                  <a:lnTo>
                    <a:pt x="92" y="1888"/>
                  </a:lnTo>
                  <a:lnTo>
                    <a:pt x="94" y="1884"/>
                  </a:lnTo>
                  <a:lnTo>
                    <a:pt x="92" y="1880"/>
                  </a:lnTo>
                  <a:lnTo>
                    <a:pt x="90" y="1876"/>
                  </a:lnTo>
                  <a:lnTo>
                    <a:pt x="86" y="1872"/>
                  </a:lnTo>
                  <a:lnTo>
                    <a:pt x="86" y="1870"/>
                  </a:lnTo>
                  <a:lnTo>
                    <a:pt x="88" y="1868"/>
                  </a:lnTo>
                  <a:lnTo>
                    <a:pt x="88" y="1870"/>
                  </a:lnTo>
                  <a:lnTo>
                    <a:pt x="90" y="1872"/>
                  </a:lnTo>
                  <a:lnTo>
                    <a:pt x="94" y="1878"/>
                  </a:lnTo>
                  <a:lnTo>
                    <a:pt x="96" y="1878"/>
                  </a:lnTo>
                  <a:lnTo>
                    <a:pt x="96" y="1876"/>
                  </a:lnTo>
                  <a:lnTo>
                    <a:pt x="100" y="1880"/>
                  </a:lnTo>
                  <a:lnTo>
                    <a:pt x="102" y="1880"/>
                  </a:lnTo>
                  <a:lnTo>
                    <a:pt x="104" y="1880"/>
                  </a:lnTo>
                  <a:lnTo>
                    <a:pt x="106" y="1878"/>
                  </a:lnTo>
                  <a:lnTo>
                    <a:pt x="106" y="1876"/>
                  </a:lnTo>
                  <a:lnTo>
                    <a:pt x="108" y="1874"/>
                  </a:lnTo>
                  <a:lnTo>
                    <a:pt x="110" y="1872"/>
                  </a:lnTo>
                  <a:lnTo>
                    <a:pt x="114" y="1870"/>
                  </a:lnTo>
                  <a:lnTo>
                    <a:pt x="114" y="1874"/>
                  </a:lnTo>
                  <a:lnTo>
                    <a:pt x="114" y="1878"/>
                  </a:lnTo>
                  <a:lnTo>
                    <a:pt x="118" y="1882"/>
                  </a:lnTo>
                  <a:lnTo>
                    <a:pt x="120" y="1882"/>
                  </a:lnTo>
                  <a:lnTo>
                    <a:pt x="120" y="1880"/>
                  </a:lnTo>
                  <a:lnTo>
                    <a:pt x="122" y="1872"/>
                  </a:lnTo>
                  <a:lnTo>
                    <a:pt x="122" y="1870"/>
                  </a:lnTo>
                  <a:lnTo>
                    <a:pt x="122" y="1872"/>
                  </a:lnTo>
                  <a:lnTo>
                    <a:pt x="120" y="1874"/>
                  </a:lnTo>
                  <a:lnTo>
                    <a:pt x="120" y="1876"/>
                  </a:lnTo>
                  <a:lnTo>
                    <a:pt x="118" y="1878"/>
                  </a:lnTo>
                  <a:lnTo>
                    <a:pt x="116" y="1876"/>
                  </a:lnTo>
                  <a:lnTo>
                    <a:pt x="116" y="1872"/>
                  </a:lnTo>
                  <a:lnTo>
                    <a:pt x="120" y="1866"/>
                  </a:lnTo>
                  <a:lnTo>
                    <a:pt x="122" y="1864"/>
                  </a:lnTo>
                  <a:lnTo>
                    <a:pt x="126" y="1866"/>
                  </a:lnTo>
                  <a:lnTo>
                    <a:pt x="126" y="1870"/>
                  </a:lnTo>
                  <a:lnTo>
                    <a:pt x="128" y="1872"/>
                  </a:lnTo>
                  <a:lnTo>
                    <a:pt x="130" y="1872"/>
                  </a:lnTo>
                  <a:lnTo>
                    <a:pt x="130" y="1874"/>
                  </a:lnTo>
                  <a:lnTo>
                    <a:pt x="132" y="1876"/>
                  </a:lnTo>
                  <a:lnTo>
                    <a:pt x="132" y="1878"/>
                  </a:lnTo>
                  <a:lnTo>
                    <a:pt x="130" y="1884"/>
                  </a:lnTo>
                  <a:lnTo>
                    <a:pt x="130" y="1886"/>
                  </a:lnTo>
                  <a:lnTo>
                    <a:pt x="124" y="1888"/>
                  </a:lnTo>
                  <a:lnTo>
                    <a:pt x="116" y="1892"/>
                  </a:lnTo>
                  <a:lnTo>
                    <a:pt x="118" y="1892"/>
                  </a:lnTo>
                  <a:lnTo>
                    <a:pt x="122" y="1890"/>
                  </a:lnTo>
                  <a:lnTo>
                    <a:pt x="128" y="1888"/>
                  </a:lnTo>
                  <a:lnTo>
                    <a:pt x="130" y="1888"/>
                  </a:lnTo>
                  <a:lnTo>
                    <a:pt x="134" y="1884"/>
                  </a:lnTo>
                  <a:lnTo>
                    <a:pt x="134" y="1878"/>
                  </a:lnTo>
                  <a:lnTo>
                    <a:pt x="132" y="1874"/>
                  </a:lnTo>
                  <a:lnTo>
                    <a:pt x="128" y="1870"/>
                  </a:lnTo>
                  <a:lnTo>
                    <a:pt x="128" y="1866"/>
                  </a:lnTo>
                  <a:lnTo>
                    <a:pt x="128" y="1864"/>
                  </a:lnTo>
                  <a:lnTo>
                    <a:pt x="134" y="1866"/>
                  </a:lnTo>
                  <a:lnTo>
                    <a:pt x="134" y="1864"/>
                  </a:lnTo>
                  <a:lnTo>
                    <a:pt x="134" y="1856"/>
                  </a:lnTo>
                  <a:lnTo>
                    <a:pt x="134" y="1852"/>
                  </a:lnTo>
                  <a:lnTo>
                    <a:pt x="128" y="1846"/>
                  </a:lnTo>
                  <a:lnTo>
                    <a:pt x="126" y="1846"/>
                  </a:lnTo>
                  <a:lnTo>
                    <a:pt x="124" y="1844"/>
                  </a:lnTo>
                  <a:lnTo>
                    <a:pt x="122" y="1844"/>
                  </a:lnTo>
                  <a:lnTo>
                    <a:pt x="120" y="1844"/>
                  </a:lnTo>
                  <a:lnTo>
                    <a:pt x="118" y="1842"/>
                  </a:lnTo>
                  <a:lnTo>
                    <a:pt x="112" y="1840"/>
                  </a:lnTo>
                  <a:lnTo>
                    <a:pt x="112" y="1838"/>
                  </a:lnTo>
                  <a:lnTo>
                    <a:pt x="110" y="1838"/>
                  </a:lnTo>
                  <a:lnTo>
                    <a:pt x="108" y="1838"/>
                  </a:lnTo>
                  <a:lnTo>
                    <a:pt x="104" y="1838"/>
                  </a:lnTo>
                  <a:lnTo>
                    <a:pt x="104" y="1840"/>
                  </a:lnTo>
                  <a:lnTo>
                    <a:pt x="106" y="1840"/>
                  </a:lnTo>
                  <a:lnTo>
                    <a:pt x="108" y="1840"/>
                  </a:lnTo>
                  <a:lnTo>
                    <a:pt x="112" y="1840"/>
                  </a:lnTo>
                  <a:lnTo>
                    <a:pt x="114" y="1842"/>
                  </a:lnTo>
                  <a:lnTo>
                    <a:pt x="120" y="1846"/>
                  </a:lnTo>
                  <a:lnTo>
                    <a:pt x="126" y="1850"/>
                  </a:lnTo>
                  <a:lnTo>
                    <a:pt x="128" y="1852"/>
                  </a:lnTo>
                  <a:lnTo>
                    <a:pt x="132" y="1852"/>
                  </a:lnTo>
                  <a:lnTo>
                    <a:pt x="132" y="1856"/>
                  </a:lnTo>
                  <a:lnTo>
                    <a:pt x="128" y="1858"/>
                  </a:lnTo>
                  <a:lnTo>
                    <a:pt x="126" y="1858"/>
                  </a:lnTo>
                  <a:lnTo>
                    <a:pt x="122" y="1856"/>
                  </a:lnTo>
                  <a:lnTo>
                    <a:pt x="122" y="1854"/>
                  </a:lnTo>
                  <a:lnTo>
                    <a:pt x="114" y="1852"/>
                  </a:lnTo>
                  <a:lnTo>
                    <a:pt x="108" y="1848"/>
                  </a:lnTo>
                  <a:lnTo>
                    <a:pt x="104" y="1846"/>
                  </a:lnTo>
                  <a:lnTo>
                    <a:pt x="106" y="1852"/>
                  </a:lnTo>
                  <a:lnTo>
                    <a:pt x="108" y="1852"/>
                  </a:lnTo>
                  <a:lnTo>
                    <a:pt x="110" y="1852"/>
                  </a:lnTo>
                  <a:lnTo>
                    <a:pt x="112" y="1852"/>
                  </a:lnTo>
                  <a:lnTo>
                    <a:pt x="114" y="1854"/>
                  </a:lnTo>
                  <a:lnTo>
                    <a:pt x="114" y="1856"/>
                  </a:lnTo>
                  <a:lnTo>
                    <a:pt x="112" y="1860"/>
                  </a:lnTo>
                  <a:lnTo>
                    <a:pt x="110" y="1860"/>
                  </a:lnTo>
                  <a:lnTo>
                    <a:pt x="106" y="1860"/>
                  </a:lnTo>
                  <a:lnTo>
                    <a:pt x="112" y="1860"/>
                  </a:lnTo>
                  <a:lnTo>
                    <a:pt x="114" y="1858"/>
                  </a:lnTo>
                  <a:lnTo>
                    <a:pt x="116" y="1858"/>
                  </a:lnTo>
                  <a:lnTo>
                    <a:pt x="116" y="1860"/>
                  </a:lnTo>
                  <a:lnTo>
                    <a:pt x="116" y="1862"/>
                  </a:lnTo>
                  <a:lnTo>
                    <a:pt x="114" y="1862"/>
                  </a:lnTo>
                  <a:lnTo>
                    <a:pt x="112" y="1864"/>
                  </a:lnTo>
                  <a:lnTo>
                    <a:pt x="110" y="1864"/>
                  </a:lnTo>
                  <a:lnTo>
                    <a:pt x="108" y="1866"/>
                  </a:lnTo>
                  <a:lnTo>
                    <a:pt x="108" y="1872"/>
                  </a:lnTo>
                  <a:lnTo>
                    <a:pt x="106" y="1872"/>
                  </a:lnTo>
                  <a:lnTo>
                    <a:pt x="104" y="1868"/>
                  </a:lnTo>
                  <a:lnTo>
                    <a:pt x="102" y="1864"/>
                  </a:lnTo>
                  <a:lnTo>
                    <a:pt x="102" y="1858"/>
                  </a:lnTo>
                  <a:lnTo>
                    <a:pt x="102" y="1852"/>
                  </a:lnTo>
                  <a:lnTo>
                    <a:pt x="102" y="1850"/>
                  </a:lnTo>
                  <a:lnTo>
                    <a:pt x="100" y="1850"/>
                  </a:lnTo>
                  <a:lnTo>
                    <a:pt x="100" y="1854"/>
                  </a:lnTo>
                  <a:lnTo>
                    <a:pt x="102" y="1856"/>
                  </a:lnTo>
                  <a:lnTo>
                    <a:pt x="104" y="1874"/>
                  </a:lnTo>
                  <a:lnTo>
                    <a:pt x="104" y="1876"/>
                  </a:lnTo>
                  <a:lnTo>
                    <a:pt x="102" y="1876"/>
                  </a:lnTo>
                  <a:lnTo>
                    <a:pt x="100" y="1876"/>
                  </a:lnTo>
                  <a:lnTo>
                    <a:pt x="94" y="1870"/>
                  </a:lnTo>
                  <a:lnTo>
                    <a:pt x="92" y="1870"/>
                  </a:lnTo>
                  <a:lnTo>
                    <a:pt x="92" y="1868"/>
                  </a:lnTo>
                  <a:lnTo>
                    <a:pt x="92" y="1866"/>
                  </a:lnTo>
                  <a:lnTo>
                    <a:pt x="92" y="1862"/>
                  </a:lnTo>
                  <a:lnTo>
                    <a:pt x="90" y="1858"/>
                  </a:lnTo>
                  <a:lnTo>
                    <a:pt x="92" y="1858"/>
                  </a:lnTo>
                  <a:lnTo>
                    <a:pt x="96" y="1864"/>
                  </a:lnTo>
                  <a:lnTo>
                    <a:pt x="98" y="1868"/>
                  </a:lnTo>
                  <a:lnTo>
                    <a:pt x="96" y="1862"/>
                  </a:lnTo>
                  <a:lnTo>
                    <a:pt x="92" y="1854"/>
                  </a:lnTo>
                  <a:lnTo>
                    <a:pt x="94" y="1854"/>
                  </a:lnTo>
                  <a:lnTo>
                    <a:pt x="94" y="1852"/>
                  </a:lnTo>
                  <a:lnTo>
                    <a:pt x="96" y="1850"/>
                  </a:lnTo>
                  <a:lnTo>
                    <a:pt x="90" y="1852"/>
                  </a:lnTo>
                  <a:lnTo>
                    <a:pt x="88" y="1856"/>
                  </a:lnTo>
                  <a:lnTo>
                    <a:pt x="84" y="1852"/>
                  </a:lnTo>
                  <a:lnTo>
                    <a:pt x="84" y="1848"/>
                  </a:lnTo>
                  <a:lnTo>
                    <a:pt x="80" y="1848"/>
                  </a:lnTo>
                  <a:lnTo>
                    <a:pt x="78" y="1848"/>
                  </a:lnTo>
                  <a:lnTo>
                    <a:pt x="78" y="1836"/>
                  </a:lnTo>
                  <a:lnTo>
                    <a:pt x="78" y="1834"/>
                  </a:lnTo>
                  <a:lnTo>
                    <a:pt x="82" y="1834"/>
                  </a:lnTo>
                  <a:lnTo>
                    <a:pt x="86" y="1838"/>
                  </a:lnTo>
                  <a:lnTo>
                    <a:pt x="88" y="1840"/>
                  </a:lnTo>
                  <a:lnTo>
                    <a:pt x="90" y="1848"/>
                  </a:lnTo>
                  <a:lnTo>
                    <a:pt x="92" y="1848"/>
                  </a:lnTo>
                  <a:lnTo>
                    <a:pt x="92" y="1846"/>
                  </a:lnTo>
                  <a:lnTo>
                    <a:pt x="90" y="1844"/>
                  </a:lnTo>
                  <a:lnTo>
                    <a:pt x="88" y="1836"/>
                  </a:lnTo>
                  <a:lnTo>
                    <a:pt x="84" y="1826"/>
                  </a:lnTo>
                  <a:lnTo>
                    <a:pt x="86" y="1824"/>
                  </a:lnTo>
                  <a:lnTo>
                    <a:pt x="86" y="1826"/>
                  </a:lnTo>
                  <a:lnTo>
                    <a:pt x="88" y="1828"/>
                  </a:lnTo>
                  <a:lnTo>
                    <a:pt x="86" y="1822"/>
                  </a:lnTo>
                  <a:lnTo>
                    <a:pt x="84" y="1822"/>
                  </a:lnTo>
                  <a:lnTo>
                    <a:pt x="80" y="1826"/>
                  </a:lnTo>
                  <a:lnTo>
                    <a:pt x="78" y="1826"/>
                  </a:lnTo>
                  <a:lnTo>
                    <a:pt x="72" y="1824"/>
                  </a:lnTo>
                  <a:lnTo>
                    <a:pt x="70" y="1824"/>
                  </a:lnTo>
                  <a:lnTo>
                    <a:pt x="70" y="1818"/>
                  </a:lnTo>
                  <a:lnTo>
                    <a:pt x="66" y="1816"/>
                  </a:lnTo>
                  <a:lnTo>
                    <a:pt x="66" y="1810"/>
                  </a:lnTo>
                  <a:lnTo>
                    <a:pt x="66" y="1808"/>
                  </a:lnTo>
                  <a:lnTo>
                    <a:pt x="68" y="1808"/>
                  </a:lnTo>
                  <a:lnTo>
                    <a:pt x="70" y="1806"/>
                  </a:lnTo>
                  <a:lnTo>
                    <a:pt x="78" y="1806"/>
                  </a:lnTo>
                  <a:lnTo>
                    <a:pt x="78" y="1808"/>
                  </a:lnTo>
                  <a:lnTo>
                    <a:pt x="80" y="1810"/>
                  </a:lnTo>
                  <a:lnTo>
                    <a:pt x="84" y="1802"/>
                  </a:lnTo>
                  <a:lnTo>
                    <a:pt x="84" y="1796"/>
                  </a:lnTo>
                  <a:lnTo>
                    <a:pt x="84" y="1794"/>
                  </a:lnTo>
                  <a:lnTo>
                    <a:pt x="88" y="1794"/>
                  </a:lnTo>
                  <a:lnTo>
                    <a:pt x="90" y="1794"/>
                  </a:lnTo>
                  <a:lnTo>
                    <a:pt x="92" y="1794"/>
                  </a:lnTo>
                  <a:lnTo>
                    <a:pt x="92" y="1796"/>
                  </a:lnTo>
                  <a:lnTo>
                    <a:pt x="94" y="1798"/>
                  </a:lnTo>
                  <a:lnTo>
                    <a:pt x="94" y="1794"/>
                  </a:lnTo>
                  <a:lnTo>
                    <a:pt x="92" y="1792"/>
                  </a:lnTo>
                  <a:lnTo>
                    <a:pt x="90" y="1792"/>
                  </a:lnTo>
                  <a:lnTo>
                    <a:pt x="88" y="1792"/>
                  </a:lnTo>
                  <a:lnTo>
                    <a:pt x="86" y="1790"/>
                  </a:lnTo>
                  <a:lnTo>
                    <a:pt x="86" y="1788"/>
                  </a:lnTo>
                  <a:lnTo>
                    <a:pt x="88" y="1788"/>
                  </a:lnTo>
                  <a:lnTo>
                    <a:pt x="90" y="1786"/>
                  </a:lnTo>
                  <a:lnTo>
                    <a:pt x="92" y="1780"/>
                  </a:lnTo>
                  <a:lnTo>
                    <a:pt x="84" y="1788"/>
                  </a:lnTo>
                  <a:lnTo>
                    <a:pt x="82" y="1792"/>
                  </a:lnTo>
                  <a:lnTo>
                    <a:pt x="82" y="1796"/>
                  </a:lnTo>
                  <a:lnTo>
                    <a:pt x="82" y="1798"/>
                  </a:lnTo>
                  <a:lnTo>
                    <a:pt x="82" y="1800"/>
                  </a:lnTo>
                  <a:lnTo>
                    <a:pt x="78" y="1804"/>
                  </a:lnTo>
                  <a:lnTo>
                    <a:pt x="74" y="1804"/>
                  </a:lnTo>
                  <a:lnTo>
                    <a:pt x="70" y="1800"/>
                  </a:lnTo>
                  <a:lnTo>
                    <a:pt x="68" y="1798"/>
                  </a:lnTo>
                  <a:lnTo>
                    <a:pt x="66" y="1792"/>
                  </a:lnTo>
                  <a:lnTo>
                    <a:pt x="62" y="1786"/>
                  </a:lnTo>
                  <a:lnTo>
                    <a:pt x="66" y="1784"/>
                  </a:lnTo>
                  <a:lnTo>
                    <a:pt x="70" y="1786"/>
                  </a:lnTo>
                  <a:lnTo>
                    <a:pt x="72" y="1788"/>
                  </a:lnTo>
                  <a:lnTo>
                    <a:pt x="74" y="1788"/>
                  </a:lnTo>
                  <a:lnTo>
                    <a:pt x="78" y="1790"/>
                  </a:lnTo>
                  <a:lnTo>
                    <a:pt x="78" y="1788"/>
                  </a:lnTo>
                  <a:lnTo>
                    <a:pt x="76" y="1788"/>
                  </a:lnTo>
                  <a:lnTo>
                    <a:pt x="72" y="1784"/>
                  </a:lnTo>
                  <a:lnTo>
                    <a:pt x="70" y="1784"/>
                  </a:lnTo>
                  <a:lnTo>
                    <a:pt x="62" y="1782"/>
                  </a:lnTo>
                  <a:lnTo>
                    <a:pt x="56" y="1778"/>
                  </a:lnTo>
                  <a:lnTo>
                    <a:pt x="46" y="1770"/>
                  </a:lnTo>
                  <a:lnTo>
                    <a:pt x="48" y="1768"/>
                  </a:lnTo>
                  <a:lnTo>
                    <a:pt x="48" y="1766"/>
                  </a:lnTo>
                  <a:lnTo>
                    <a:pt x="52" y="1764"/>
                  </a:lnTo>
                  <a:lnTo>
                    <a:pt x="54" y="1764"/>
                  </a:lnTo>
                  <a:lnTo>
                    <a:pt x="58" y="1764"/>
                  </a:lnTo>
                  <a:lnTo>
                    <a:pt x="60" y="1764"/>
                  </a:lnTo>
                  <a:lnTo>
                    <a:pt x="62" y="1766"/>
                  </a:lnTo>
                  <a:lnTo>
                    <a:pt x="64" y="1768"/>
                  </a:lnTo>
                  <a:lnTo>
                    <a:pt x="66" y="1772"/>
                  </a:lnTo>
                  <a:lnTo>
                    <a:pt x="76" y="1774"/>
                  </a:lnTo>
                  <a:lnTo>
                    <a:pt x="78" y="1774"/>
                  </a:lnTo>
                  <a:lnTo>
                    <a:pt x="80" y="1774"/>
                  </a:lnTo>
                  <a:lnTo>
                    <a:pt x="70" y="1770"/>
                  </a:lnTo>
                  <a:lnTo>
                    <a:pt x="68" y="1770"/>
                  </a:lnTo>
                  <a:lnTo>
                    <a:pt x="66" y="1770"/>
                  </a:lnTo>
                  <a:lnTo>
                    <a:pt x="60" y="1758"/>
                  </a:lnTo>
                  <a:lnTo>
                    <a:pt x="60" y="1756"/>
                  </a:lnTo>
                  <a:lnTo>
                    <a:pt x="64" y="1756"/>
                  </a:lnTo>
                  <a:lnTo>
                    <a:pt x="66" y="1756"/>
                  </a:lnTo>
                  <a:lnTo>
                    <a:pt x="68" y="1758"/>
                  </a:lnTo>
                  <a:lnTo>
                    <a:pt x="70" y="1760"/>
                  </a:lnTo>
                  <a:lnTo>
                    <a:pt x="78" y="1764"/>
                  </a:lnTo>
                  <a:lnTo>
                    <a:pt x="78" y="1762"/>
                  </a:lnTo>
                  <a:lnTo>
                    <a:pt x="78" y="1760"/>
                  </a:lnTo>
                  <a:lnTo>
                    <a:pt x="74" y="1758"/>
                  </a:lnTo>
                  <a:lnTo>
                    <a:pt x="70" y="1756"/>
                  </a:lnTo>
                  <a:lnTo>
                    <a:pt x="62" y="1754"/>
                  </a:lnTo>
                  <a:lnTo>
                    <a:pt x="60" y="1752"/>
                  </a:lnTo>
                  <a:lnTo>
                    <a:pt x="60" y="1748"/>
                  </a:lnTo>
                  <a:lnTo>
                    <a:pt x="64" y="1746"/>
                  </a:lnTo>
                  <a:lnTo>
                    <a:pt x="66" y="1746"/>
                  </a:lnTo>
                  <a:lnTo>
                    <a:pt x="68" y="1746"/>
                  </a:lnTo>
                  <a:lnTo>
                    <a:pt x="70" y="1746"/>
                  </a:lnTo>
                  <a:lnTo>
                    <a:pt x="72" y="1746"/>
                  </a:lnTo>
                  <a:lnTo>
                    <a:pt x="72" y="1744"/>
                  </a:lnTo>
                  <a:lnTo>
                    <a:pt x="66" y="1744"/>
                  </a:lnTo>
                  <a:lnTo>
                    <a:pt x="62" y="1746"/>
                  </a:lnTo>
                  <a:lnTo>
                    <a:pt x="60" y="1742"/>
                  </a:lnTo>
                  <a:lnTo>
                    <a:pt x="60" y="1740"/>
                  </a:lnTo>
                  <a:lnTo>
                    <a:pt x="60" y="1738"/>
                  </a:lnTo>
                  <a:lnTo>
                    <a:pt x="64" y="1736"/>
                  </a:lnTo>
                  <a:lnTo>
                    <a:pt x="70" y="1734"/>
                  </a:lnTo>
                  <a:lnTo>
                    <a:pt x="76" y="1736"/>
                  </a:lnTo>
                  <a:lnTo>
                    <a:pt x="78" y="1740"/>
                  </a:lnTo>
                  <a:lnTo>
                    <a:pt x="80" y="1742"/>
                  </a:lnTo>
                  <a:lnTo>
                    <a:pt x="84" y="1744"/>
                  </a:lnTo>
                  <a:lnTo>
                    <a:pt x="84" y="1748"/>
                  </a:lnTo>
                  <a:lnTo>
                    <a:pt x="86" y="1746"/>
                  </a:lnTo>
                  <a:lnTo>
                    <a:pt x="84" y="1744"/>
                  </a:lnTo>
                  <a:lnTo>
                    <a:pt x="84" y="1742"/>
                  </a:lnTo>
                  <a:lnTo>
                    <a:pt x="82" y="1740"/>
                  </a:lnTo>
                  <a:lnTo>
                    <a:pt x="80" y="1740"/>
                  </a:lnTo>
                  <a:lnTo>
                    <a:pt x="78" y="1738"/>
                  </a:lnTo>
                  <a:lnTo>
                    <a:pt x="78" y="1734"/>
                  </a:lnTo>
                  <a:lnTo>
                    <a:pt x="76" y="1734"/>
                  </a:lnTo>
                  <a:lnTo>
                    <a:pt x="74" y="1734"/>
                  </a:lnTo>
                  <a:lnTo>
                    <a:pt x="70" y="1732"/>
                  </a:lnTo>
                  <a:lnTo>
                    <a:pt x="68" y="1728"/>
                  </a:lnTo>
                  <a:lnTo>
                    <a:pt x="70" y="1720"/>
                  </a:lnTo>
                  <a:lnTo>
                    <a:pt x="70" y="1718"/>
                  </a:lnTo>
                  <a:lnTo>
                    <a:pt x="72" y="1718"/>
                  </a:lnTo>
                  <a:lnTo>
                    <a:pt x="74" y="1720"/>
                  </a:lnTo>
                  <a:lnTo>
                    <a:pt x="74" y="1722"/>
                  </a:lnTo>
                  <a:lnTo>
                    <a:pt x="76" y="1722"/>
                  </a:lnTo>
                  <a:lnTo>
                    <a:pt x="78" y="1724"/>
                  </a:lnTo>
                  <a:lnTo>
                    <a:pt x="80" y="1724"/>
                  </a:lnTo>
                  <a:lnTo>
                    <a:pt x="78" y="1722"/>
                  </a:lnTo>
                  <a:lnTo>
                    <a:pt x="76" y="1722"/>
                  </a:lnTo>
                  <a:lnTo>
                    <a:pt x="74" y="1718"/>
                  </a:lnTo>
                  <a:lnTo>
                    <a:pt x="72" y="1710"/>
                  </a:lnTo>
                  <a:lnTo>
                    <a:pt x="74" y="1708"/>
                  </a:lnTo>
                  <a:lnTo>
                    <a:pt x="74" y="1706"/>
                  </a:lnTo>
                  <a:lnTo>
                    <a:pt x="76" y="1706"/>
                  </a:lnTo>
                  <a:lnTo>
                    <a:pt x="78" y="1706"/>
                  </a:lnTo>
                  <a:lnTo>
                    <a:pt x="78" y="1708"/>
                  </a:lnTo>
                  <a:lnTo>
                    <a:pt x="80" y="1708"/>
                  </a:lnTo>
                  <a:lnTo>
                    <a:pt x="80" y="1706"/>
                  </a:lnTo>
                  <a:lnTo>
                    <a:pt x="78" y="1706"/>
                  </a:lnTo>
                  <a:lnTo>
                    <a:pt x="72" y="1706"/>
                  </a:lnTo>
                  <a:lnTo>
                    <a:pt x="72" y="1708"/>
                  </a:lnTo>
                  <a:lnTo>
                    <a:pt x="72" y="1714"/>
                  </a:lnTo>
                  <a:lnTo>
                    <a:pt x="70" y="1718"/>
                  </a:lnTo>
                  <a:lnTo>
                    <a:pt x="68" y="1722"/>
                  </a:lnTo>
                  <a:lnTo>
                    <a:pt x="68" y="1726"/>
                  </a:lnTo>
                  <a:lnTo>
                    <a:pt x="66" y="1734"/>
                  </a:lnTo>
                  <a:lnTo>
                    <a:pt x="64" y="1734"/>
                  </a:lnTo>
                  <a:lnTo>
                    <a:pt x="62" y="1734"/>
                  </a:lnTo>
                  <a:lnTo>
                    <a:pt x="60" y="1728"/>
                  </a:lnTo>
                  <a:lnTo>
                    <a:pt x="58" y="1724"/>
                  </a:lnTo>
                  <a:lnTo>
                    <a:pt x="58" y="1714"/>
                  </a:lnTo>
                  <a:lnTo>
                    <a:pt x="58" y="1702"/>
                  </a:lnTo>
                  <a:lnTo>
                    <a:pt x="56" y="1700"/>
                  </a:lnTo>
                  <a:lnTo>
                    <a:pt x="56" y="1698"/>
                  </a:lnTo>
                  <a:lnTo>
                    <a:pt x="56" y="1696"/>
                  </a:lnTo>
                  <a:lnTo>
                    <a:pt x="56" y="1694"/>
                  </a:lnTo>
                  <a:lnTo>
                    <a:pt x="58" y="1690"/>
                  </a:lnTo>
                  <a:lnTo>
                    <a:pt x="60" y="1692"/>
                  </a:lnTo>
                  <a:lnTo>
                    <a:pt x="62" y="1692"/>
                  </a:lnTo>
                  <a:lnTo>
                    <a:pt x="62" y="1690"/>
                  </a:lnTo>
                  <a:lnTo>
                    <a:pt x="64" y="1690"/>
                  </a:lnTo>
                  <a:lnTo>
                    <a:pt x="68" y="1690"/>
                  </a:lnTo>
                  <a:lnTo>
                    <a:pt x="70" y="1692"/>
                  </a:lnTo>
                  <a:lnTo>
                    <a:pt x="70" y="1690"/>
                  </a:lnTo>
                  <a:lnTo>
                    <a:pt x="68" y="1690"/>
                  </a:lnTo>
                  <a:lnTo>
                    <a:pt x="66" y="1690"/>
                  </a:lnTo>
                  <a:lnTo>
                    <a:pt x="64" y="1690"/>
                  </a:lnTo>
                  <a:lnTo>
                    <a:pt x="62" y="1690"/>
                  </a:lnTo>
                  <a:lnTo>
                    <a:pt x="60" y="1690"/>
                  </a:lnTo>
                  <a:lnTo>
                    <a:pt x="58" y="1688"/>
                  </a:lnTo>
                  <a:lnTo>
                    <a:pt x="58" y="1684"/>
                  </a:lnTo>
                  <a:lnTo>
                    <a:pt x="58" y="1682"/>
                  </a:lnTo>
                  <a:lnTo>
                    <a:pt x="62" y="1678"/>
                  </a:lnTo>
                  <a:lnTo>
                    <a:pt x="64" y="1678"/>
                  </a:lnTo>
                  <a:lnTo>
                    <a:pt x="66" y="1678"/>
                  </a:lnTo>
                  <a:lnTo>
                    <a:pt x="72" y="1682"/>
                  </a:lnTo>
                  <a:lnTo>
                    <a:pt x="72" y="1680"/>
                  </a:lnTo>
                  <a:lnTo>
                    <a:pt x="72" y="1674"/>
                  </a:lnTo>
                  <a:lnTo>
                    <a:pt x="68" y="1672"/>
                  </a:lnTo>
                  <a:lnTo>
                    <a:pt x="68" y="1670"/>
                  </a:lnTo>
                  <a:lnTo>
                    <a:pt x="66" y="1670"/>
                  </a:lnTo>
                  <a:lnTo>
                    <a:pt x="62" y="1670"/>
                  </a:lnTo>
                  <a:lnTo>
                    <a:pt x="64" y="1668"/>
                  </a:lnTo>
                  <a:lnTo>
                    <a:pt x="68" y="1668"/>
                  </a:lnTo>
                  <a:lnTo>
                    <a:pt x="62" y="1666"/>
                  </a:lnTo>
                  <a:lnTo>
                    <a:pt x="56" y="1662"/>
                  </a:lnTo>
                  <a:lnTo>
                    <a:pt x="52" y="1658"/>
                  </a:lnTo>
                  <a:lnTo>
                    <a:pt x="48" y="1656"/>
                  </a:lnTo>
                  <a:lnTo>
                    <a:pt x="46" y="1656"/>
                  </a:lnTo>
                  <a:lnTo>
                    <a:pt x="46" y="1652"/>
                  </a:lnTo>
                  <a:lnTo>
                    <a:pt x="46" y="1650"/>
                  </a:lnTo>
                  <a:lnTo>
                    <a:pt x="50" y="1648"/>
                  </a:lnTo>
                  <a:lnTo>
                    <a:pt x="56" y="1650"/>
                  </a:lnTo>
                  <a:lnTo>
                    <a:pt x="58" y="1652"/>
                  </a:lnTo>
                  <a:lnTo>
                    <a:pt x="60" y="1654"/>
                  </a:lnTo>
                  <a:lnTo>
                    <a:pt x="60" y="1656"/>
                  </a:lnTo>
                  <a:lnTo>
                    <a:pt x="60" y="1660"/>
                  </a:lnTo>
                  <a:lnTo>
                    <a:pt x="60" y="1662"/>
                  </a:lnTo>
                  <a:lnTo>
                    <a:pt x="64" y="1664"/>
                  </a:lnTo>
                  <a:lnTo>
                    <a:pt x="62" y="1656"/>
                  </a:lnTo>
                  <a:lnTo>
                    <a:pt x="60" y="1652"/>
                  </a:lnTo>
                  <a:lnTo>
                    <a:pt x="60" y="1650"/>
                  </a:lnTo>
                  <a:lnTo>
                    <a:pt x="64" y="1650"/>
                  </a:lnTo>
                  <a:lnTo>
                    <a:pt x="70" y="1650"/>
                  </a:lnTo>
                  <a:lnTo>
                    <a:pt x="70" y="1652"/>
                  </a:lnTo>
                  <a:lnTo>
                    <a:pt x="72" y="1652"/>
                  </a:lnTo>
                  <a:lnTo>
                    <a:pt x="74" y="1654"/>
                  </a:lnTo>
                  <a:lnTo>
                    <a:pt x="78" y="1654"/>
                  </a:lnTo>
                  <a:lnTo>
                    <a:pt x="82" y="1652"/>
                  </a:lnTo>
                  <a:lnTo>
                    <a:pt x="90" y="1658"/>
                  </a:lnTo>
                  <a:lnTo>
                    <a:pt x="90" y="1662"/>
                  </a:lnTo>
                  <a:lnTo>
                    <a:pt x="90" y="1664"/>
                  </a:lnTo>
                  <a:lnTo>
                    <a:pt x="92" y="1662"/>
                  </a:lnTo>
                  <a:lnTo>
                    <a:pt x="94" y="1660"/>
                  </a:lnTo>
                  <a:lnTo>
                    <a:pt x="96" y="1660"/>
                  </a:lnTo>
                  <a:lnTo>
                    <a:pt x="96" y="1662"/>
                  </a:lnTo>
                  <a:lnTo>
                    <a:pt x="98" y="1662"/>
                  </a:lnTo>
                  <a:lnTo>
                    <a:pt x="100" y="1660"/>
                  </a:lnTo>
                  <a:lnTo>
                    <a:pt x="102" y="1660"/>
                  </a:lnTo>
                  <a:lnTo>
                    <a:pt x="102" y="1658"/>
                  </a:lnTo>
                  <a:lnTo>
                    <a:pt x="102" y="1656"/>
                  </a:lnTo>
                  <a:lnTo>
                    <a:pt x="102" y="1654"/>
                  </a:lnTo>
                  <a:lnTo>
                    <a:pt x="102" y="1656"/>
                  </a:lnTo>
                  <a:lnTo>
                    <a:pt x="100" y="1658"/>
                  </a:lnTo>
                  <a:lnTo>
                    <a:pt x="98" y="1660"/>
                  </a:lnTo>
                  <a:lnTo>
                    <a:pt x="96" y="1660"/>
                  </a:lnTo>
                  <a:lnTo>
                    <a:pt x="94" y="1658"/>
                  </a:lnTo>
                  <a:lnTo>
                    <a:pt x="90" y="1654"/>
                  </a:lnTo>
                  <a:lnTo>
                    <a:pt x="86" y="1650"/>
                  </a:lnTo>
                  <a:lnTo>
                    <a:pt x="86" y="1646"/>
                  </a:lnTo>
                  <a:lnTo>
                    <a:pt x="90" y="1646"/>
                  </a:lnTo>
                  <a:lnTo>
                    <a:pt x="90" y="1648"/>
                  </a:lnTo>
                  <a:lnTo>
                    <a:pt x="92" y="1648"/>
                  </a:lnTo>
                  <a:lnTo>
                    <a:pt x="92" y="1650"/>
                  </a:lnTo>
                  <a:lnTo>
                    <a:pt x="94" y="1650"/>
                  </a:lnTo>
                  <a:lnTo>
                    <a:pt x="96" y="1650"/>
                  </a:lnTo>
                  <a:lnTo>
                    <a:pt x="104" y="1650"/>
                  </a:lnTo>
                  <a:lnTo>
                    <a:pt x="102" y="1650"/>
                  </a:lnTo>
                  <a:lnTo>
                    <a:pt x="98" y="1648"/>
                  </a:lnTo>
                  <a:lnTo>
                    <a:pt x="96" y="1648"/>
                  </a:lnTo>
                  <a:lnTo>
                    <a:pt x="94" y="1648"/>
                  </a:lnTo>
                  <a:lnTo>
                    <a:pt x="92" y="1648"/>
                  </a:lnTo>
                  <a:lnTo>
                    <a:pt x="84" y="1640"/>
                  </a:lnTo>
                  <a:lnTo>
                    <a:pt x="82" y="1636"/>
                  </a:lnTo>
                  <a:lnTo>
                    <a:pt x="82" y="1634"/>
                  </a:lnTo>
                  <a:lnTo>
                    <a:pt x="84" y="1634"/>
                  </a:lnTo>
                  <a:lnTo>
                    <a:pt x="84" y="1632"/>
                  </a:lnTo>
                  <a:lnTo>
                    <a:pt x="86" y="1630"/>
                  </a:lnTo>
                  <a:lnTo>
                    <a:pt x="86" y="1626"/>
                  </a:lnTo>
                  <a:lnTo>
                    <a:pt x="82" y="1626"/>
                  </a:lnTo>
                  <a:lnTo>
                    <a:pt x="82" y="1628"/>
                  </a:lnTo>
                  <a:lnTo>
                    <a:pt x="82" y="1630"/>
                  </a:lnTo>
                  <a:lnTo>
                    <a:pt x="82" y="1640"/>
                  </a:lnTo>
                  <a:lnTo>
                    <a:pt x="80" y="1640"/>
                  </a:lnTo>
                  <a:lnTo>
                    <a:pt x="76" y="1642"/>
                  </a:lnTo>
                  <a:lnTo>
                    <a:pt x="72" y="1642"/>
                  </a:lnTo>
                  <a:lnTo>
                    <a:pt x="70" y="1642"/>
                  </a:lnTo>
                  <a:lnTo>
                    <a:pt x="70" y="1640"/>
                  </a:lnTo>
                  <a:lnTo>
                    <a:pt x="68" y="1640"/>
                  </a:lnTo>
                  <a:lnTo>
                    <a:pt x="66" y="1640"/>
                  </a:lnTo>
                  <a:lnTo>
                    <a:pt x="60" y="1638"/>
                  </a:lnTo>
                  <a:lnTo>
                    <a:pt x="56" y="1638"/>
                  </a:lnTo>
                  <a:lnTo>
                    <a:pt x="52" y="1638"/>
                  </a:lnTo>
                  <a:lnTo>
                    <a:pt x="50" y="1640"/>
                  </a:lnTo>
                  <a:lnTo>
                    <a:pt x="46" y="1638"/>
                  </a:lnTo>
                  <a:lnTo>
                    <a:pt x="42" y="1638"/>
                  </a:lnTo>
                  <a:lnTo>
                    <a:pt x="42" y="1636"/>
                  </a:lnTo>
                  <a:lnTo>
                    <a:pt x="46" y="1628"/>
                  </a:lnTo>
                  <a:lnTo>
                    <a:pt x="48" y="1626"/>
                  </a:lnTo>
                  <a:lnTo>
                    <a:pt x="50" y="1626"/>
                  </a:lnTo>
                  <a:lnTo>
                    <a:pt x="54" y="1626"/>
                  </a:lnTo>
                  <a:lnTo>
                    <a:pt x="58" y="1628"/>
                  </a:lnTo>
                  <a:lnTo>
                    <a:pt x="58" y="1632"/>
                  </a:lnTo>
                  <a:lnTo>
                    <a:pt x="60" y="1636"/>
                  </a:lnTo>
                  <a:lnTo>
                    <a:pt x="62" y="1638"/>
                  </a:lnTo>
                  <a:lnTo>
                    <a:pt x="64" y="1638"/>
                  </a:lnTo>
                  <a:lnTo>
                    <a:pt x="62" y="1636"/>
                  </a:lnTo>
                  <a:lnTo>
                    <a:pt x="60" y="1636"/>
                  </a:lnTo>
                  <a:lnTo>
                    <a:pt x="60" y="1634"/>
                  </a:lnTo>
                  <a:lnTo>
                    <a:pt x="62" y="1630"/>
                  </a:lnTo>
                  <a:lnTo>
                    <a:pt x="64" y="1630"/>
                  </a:lnTo>
                  <a:lnTo>
                    <a:pt x="68" y="1630"/>
                  </a:lnTo>
                  <a:lnTo>
                    <a:pt x="70" y="1630"/>
                  </a:lnTo>
                  <a:lnTo>
                    <a:pt x="70" y="1626"/>
                  </a:lnTo>
                  <a:lnTo>
                    <a:pt x="66" y="1626"/>
                  </a:lnTo>
                  <a:lnTo>
                    <a:pt x="64" y="1628"/>
                  </a:lnTo>
                  <a:lnTo>
                    <a:pt x="60" y="1630"/>
                  </a:lnTo>
                  <a:lnTo>
                    <a:pt x="50" y="1622"/>
                  </a:lnTo>
                  <a:lnTo>
                    <a:pt x="50" y="1620"/>
                  </a:lnTo>
                  <a:lnTo>
                    <a:pt x="52" y="1616"/>
                  </a:lnTo>
                  <a:lnTo>
                    <a:pt x="56" y="1612"/>
                  </a:lnTo>
                  <a:lnTo>
                    <a:pt x="58" y="1610"/>
                  </a:lnTo>
                  <a:lnTo>
                    <a:pt x="58" y="1608"/>
                  </a:lnTo>
                  <a:lnTo>
                    <a:pt x="64" y="1608"/>
                  </a:lnTo>
                  <a:lnTo>
                    <a:pt x="64" y="1610"/>
                  </a:lnTo>
                  <a:lnTo>
                    <a:pt x="64" y="1612"/>
                  </a:lnTo>
                  <a:lnTo>
                    <a:pt x="66" y="1616"/>
                  </a:lnTo>
                  <a:lnTo>
                    <a:pt x="68" y="1616"/>
                  </a:lnTo>
                  <a:lnTo>
                    <a:pt x="66" y="1614"/>
                  </a:lnTo>
                  <a:lnTo>
                    <a:pt x="66" y="1612"/>
                  </a:lnTo>
                  <a:lnTo>
                    <a:pt x="66" y="1610"/>
                  </a:lnTo>
                  <a:lnTo>
                    <a:pt x="66" y="1608"/>
                  </a:lnTo>
                  <a:lnTo>
                    <a:pt x="70" y="1606"/>
                  </a:lnTo>
                  <a:lnTo>
                    <a:pt x="74" y="1598"/>
                  </a:lnTo>
                  <a:lnTo>
                    <a:pt x="70" y="1596"/>
                  </a:lnTo>
                  <a:lnTo>
                    <a:pt x="68" y="1596"/>
                  </a:lnTo>
                  <a:lnTo>
                    <a:pt x="66" y="1596"/>
                  </a:lnTo>
                  <a:lnTo>
                    <a:pt x="60" y="1590"/>
                  </a:lnTo>
                  <a:lnTo>
                    <a:pt x="60" y="1588"/>
                  </a:lnTo>
                  <a:lnTo>
                    <a:pt x="60" y="1586"/>
                  </a:lnTo>
                  <a:lnTo>
                    <a:pt x="58" y="1584"/>
                  </a:lnTo>
                  <a:lnTo>
                    <a:pt x="46" y="1586"/>
                  </a:lnTo>
                  <a:lnTo>
                    <a:pt x="46" y="1588"/>
                  </a:lnTo>
                  <a:lnTo>
                    <a:pt x="48" y="1588"/>
                  </a:lnTo>
                  <a:lnTo>
                    <a:pt x="54" y="1590"/>
                  </a:lnTo>
                  <a:lnTo>
                    <a:pt x="52" y="1590"/>
                  </a:lnTo>
                  <a:lnTo>
                    <a:pt x="52" y="1592"/>
                  </a:lnTo>
                  <a:lnTo>
                    <a:pt x="50" y="1592"/>
                  </a:lnTo>
                  <a:lnTo>
                    <a:pt x="48" y="1592"/>
                  </a:lnTo>
                  <a:lnTo>
                    <a:pt x="44" y="1590"/>
                  </a:lnTo>
                  <a:lnTo>
                    <a:pt x="34" y="1586"/>
                  </a:lnTo>
                  <a:lnTo>
                    <a:pt x="30" y="1584"/>
                  </a:lnTo>
                  <a:lnTo>
                    <a:pt x="26" y="1578"/>
                  </a:lnTo>
                  <a:lnTo>
                    <a:pt x="26" y="1576"/>
                  </a:lnTo>
                  <a:lnTo>
                    <a:pt x="28" y="1572"/>
                  </a:lnTo>
                  <a:lnTo>
                    <a:pt x="32" y="1572"/>
                  </a:lnTo>
                  <a:lnTo>
                    <a:pt x="32" y="1568"/>
                  </a:lnTo>
                  <a:lnTo>
                    <a:pt x="30" y="1568"/>
                  </a:lnTo>
                  <a:lnTo>
                    <a:pt x="30" y="1570"/>
                  </a:lnTo>
                  <a:lnTo>
                    <a:pt x="26" y="1574"/>
                  </a:lnTo>
                  <a:lnTo>
                    <a:pt x="24" y="1576"/>
                  </a:lnTo>
                  <a:lnTo>
                    <a:pt x="22" y="1576"/>
                  </a:lnTo>
                  <a:lnTo>
                    <a:pt x="16" y="1578"/>
                  </a:lnTo>
                  <a:lnTo>
                    <a:pt x="14" y="1578"/>
                  </a:lnTo>
                  <a:lnTo>
                    <a:pt x="12" y="1578"/>
                  </a:lnTo>
                  <a:lnTo>
                    <a:pt x="8" y="1580"/>
                  </a:lnTo>
                  <a:lnTo>
                    <a:pt x="6" y="1580"/>
                  </a:lnTo>
                  <a:lnTo>
                    <a:pt x="4" y="1582"/>
                  </a:lnTo>
                  <a:lnTo>
                    <a:pt x="4" y="1586"/>
                  </a:lnTo>
                  <a:lnTo>
                    <a:pt x="6" y="1584"/>
                  </a:lnTo>
                  <a:lnTo>
                    <a:pt x="10" y="1582"/>
                  </a:lnTo>
                  <a:lnTo>
                    <a:pt x="12" y="1582"/>
                  </a:lnTo>
                  <a:lnTo>
                    <a:pt x="16" y="1590"/>
                  </a:lnTo>
                  <a:lnTo>
                    <a:pt x="16" y="1592"/>
                  </a:lnTo>
                  <a:lnTo>
                    <a:pt x="12" y="1594"/>
                  </a:lnTo>
                  <a:lnTo>
                    <a:pt x="10" y="1594"/>
                  </a:lnTo>
                  <a:lnTo>
                    <a:pt x="8" y="1594"/>
                  </a:lnTo>
                  <a:lnTo>
                    <a:pt x="6" y="1594"/>
                  </a:lnTo>
                  <a:lnTo>
                    <a:pt x="4" y="1590"/>
                  </a:lnTo>
                  <a:lnTo>
                    <a:pt x="0" y="1586"/>
                  </a:lnTo>
                  <a:lnTo>
                    <a:pt x="0" y="1582"/>
                  </a:lnTo>
                  <a:lnTo>
                    <a:pt x="0" y="1578"/>
                  </a:lnTo>
                  <a:lnTo>
                    <a:pt x="4" y="1574"/>
                  </a:lnTo>
                  <a:lnTo>
                    <a:pt x="6" y="1574"/>
                  </a:lnTo>
                  <a:lnTo>
                    <a:pt x="8" y="1572"/>
                  </a:lnTo>
                  <a:lnTo>
                    <a:pt x="10" y="1572"/>
                  </a:lnTo>
                  <a:lnTo>
                    <a:pt x="12" y="1570"/>
                  </a:lnTo>
                  <a:lnTo>
                    <a:pt x="12" y="1568"/>
                  </a:lnTo>
                  <a:lnTo>
                    <a:pt x="14" y="1566"/>
                  </a:lnTo>
                  <a:lnTo>
                    <a:pt x="16" y="1564"/>
                  </a:lnTo>
                  <a:lnTo>
                    <a:pt x="18" y="1564"/>
                  </a:lnTo>
                  <a:lnTo>
                    <a:pt x="20" y="1564"/>
                  </a:lnTo>
                  <a:lnTo>
                    <a:pt x="20" y="1566"/>
                  </a:lnTo>
                  <a:lnTo>
                    <a:pt x="20" y="1562"/>
                  </a:lnTo>
                  <a:lnTo>
                    <a:pt x="22" y="1560"/>
                  </a:lnTo>
                  <a:lnTo>
                    <a:pt x="24" y="1554"/>
                  </a:lnTo>
                  <a:lnTo>
                    <a:pt x="26" y="1554"/>
                  </a:lnTo>
                  <a:lnTo>
                    <a:pt x="30" y="1554"/>
                  </a:lnTo>
                  <a:lnTo>
                    <a:pt x="36" y="1550"/>
                  </a:lnTo>
                  <a:lnTo>
                    <a:pt x="38" y="1546"/>
                  </a:lnTo>
                  <a:lnTo>
                    <a:pt x="40" y="1538"/>
                  </a:lnTo>
                  <a:lnTo>
                    <a:pt x="42" y="1534"/>
                  </a:lnTo>
                  <a:lnTo>
                    <a:pt x="52" y="1532"/>
                  </a:lnTo>
                  <a:lnTo>
                    <a:pt x="56" y="1532"/>
                  </a:lnTo>
                  <a:lnTo>
                    <a:pt x="58" y="1534"/>
                  </a:lnTo>
                  <a:lnTo>
                    <a:pt x="60" y="1532"/>
                  </a:lnTo>
                  <a:lnTo>
                    <a:pt x="64" y="1532"/>
                  </a:lnTo>
                  <a:lnTo>
                    <a:pt x="66" y="1534"/>
                  </a:lnTo>
                  <a:lnTo>
                    <a:pt x="68" y="1540"/>
                  </a:lnTo>
                  <a:lnTo>
                    <a:pt x="68" y="1546"/>
                  </a:lnTo>
                  <a:lnTo>
                    <a:pt x="66" y="1548"/>
                  </a:lnTo>
                  <a:lnTo>
                    <a:pt x="64" y="1550"/>
                  </a:lnTo>
                  <a:lnTo>
                    <a:pt x="68" y="1548"/>
                  </a:lnTo>
                  <a:lnTo>
                    <a:pt x="68" y="1546"/>
                  </a:lnTo>
                  <a:lnTo>
                    <a:pt x="68" y="1544"/>
                  </a:lnTo>
                  <a:lnTo>
                    <a:pt x="68" y="1542"/>
                  </a:lnTo>
                  <a:lnTo>
                    <a:pt x="72" y="1544"/>
                  </a:lnTo>
                  <a:lnTo>
                    <a:pt x="72" y="1546"/>
                  </a:lnTo>
                  <a:lnTo>
                    <a:pt x="72" y="1548"/>
                  </a:lnTo>
                  <a:lnTo>
                    <a:pt x="72" y="1550"/>
                  </a:lnTo>
                  <a:lnTo>
                    <a:pt x="70" y="1550"/>
                  </a:lnTo>
                  <a:lnTo>
                    <a:pt x="70" y="1552"/>
                  </a:lnTo>
                  <a:lnTo>
                    <a:pt x="68" y="1552"/>
                  </a:lnTo>
                  <a:lnTo>
                    <a:pt x="66" y="1554"/>
                  </a:lnTo>
                  <a:lnTo>
                    <a:pt x="62" y="1554"/>
                  </a:lnTo>
                  <a:lnTo>
                    <a:pt x="58" y="1556"/>
                  </a:lnTo>
                  <a:lnTo>
                    <a:pt x="56" y="1556"/>
                  </a:lnTo>
                  <a:lnTo>
                    <a:pt x="54" y="1554"/>
                  </a:lnTo>
                  <a:lnTo>
                    <a:pt x="52" y="1554"/>
                  </a:lnTo>
                  <a:lnTo>
                    <a:pt x="50" y="1554"/>
                  </a:lnTo>
                  <a:lnTo>
                    <a:pt x="54" y="1556"/>
                  </a:lnTo>
                  <a:lnTo>
                    <a:pt x="56" y="1556"/>
                  </a:lnTo>
                  <a:lnTo>
                    <a:pt x="58" y="1556"/>
                  </a:lnTo>
                  <a:lnTo>
                    <a:pt x="60" y="1556"/>
                  </a:lnTo>
                  <a:lnTo>
                    <a:pt x="64" y="1554"/>
                  </a:lnTo>
                  <a:lnTo>
                    <a:pt x="66" y="1554"/>
                  </a:lnTo>
                  <a:lnTo>
                    <a:pt x="68" y="1554"/>
                  </a:lnTo>
                  <a:lnTo>
                    <a:pt x="70" y="1558"/>
                  </a:lnTo>
                  <a:lnTo>
                    <a:pt x="76" y="1560"/>
                  </a:lnTo>
                  <a:lnTo>
                    <a:pt x="76" y="1562"/>
                  </a:lnTo>
                  <a:lnTo>
                    <a:pt x="78" y="1562"/>
                  </a:lnTo>
                  <a:lnTo>
                    <a:pt x="78" y="1560"/>
                  </a:lnTo>
                  <a:lnTo>
                    <a:pt x="76" y="1560"/>
                  </a:lnTo>
                  <a:lnTo>
                    <a:pt x="76" y="1558"/>
                  </a:lnTo>
                  <a:lnTo>
                    <a:pt x="74" y="1558"/>
                  </a:lnTo>
                  <a:lnTo>
                    <a:pt x="70" y="1554"/>
                  </a:lnTo>
                  <a:lnTo>
                    <a:pt x="72" y="1552"/>
                  </a:lnTo>
                  <a:lnTo>
                    <a:pt x="72" y="1550"/>
                  </a:lnTo>
                  <a:lnTo>
                    <a:pt x="76" y="1550"/>
                  </a:lnTo>
                  <a:lnTo>
                    <a:pt x="80" y="1556"/>
                  </a:lnTo>
                  <a:lnTo>
                    <a:pt x="80" y="1558"/>
                  </a:lnTo>
                  <a:lnTo>
                    <a:pt x="80" y="1560"/>
                  </a:lnTo>
                  <a:lnTo>
                    <a:pt x="80" y="1562"/>
                  </a:lnTo>
                  <a:lnTo>
                    <a:pt x="78" y="1564"/>
                  </a:lnTo>
                  <a:lnTo>
                    <a:pt x="76" y="1568"/>
                  </a:lnTo>
                  <a:lnTo>
                    <a:pt x="72" y="1572"/>
                  </a:lnTo>
                  <a:lnTo>
                    <a:pt x="76" y="1574"/>
                  </a:lnTo>
                  <a:lnTo>
                    <a:pt x="78" y="1574"/>
                  </a:lnTo>
                  <a:lnTo>
                    <a:pt x="80" y="1570"/>
                  </a:lnTo>
                  <a:lnTo>
                    <a:pt x="80" y="1568"/>
                  </a:lnTo>
                  <a:lnTo>
                    <a:pt x="82" y="1566"/>
                  </a:lnTo>
                  <a:lnTo>
                    <a:pt x="84" y="1564"/>
                  </a:lnTo>
                  <a:lnTo>
                    <a:pt x="88" y="1558"/>
                  </a:lnTo>
                  <a:lnTo>
                    <a:pt x="90" y="1554"/>
                  </a:lnTo>
                  <a:lnTo>
                    <a:pt x="96" y="1546"/>
                  </a:lnTo>
                  <a:lnTo>
                    <a:pt x="94" y="1546"/>
                  </a:lnTo>
                  <a:lnTo>
                    <a:pt x="90" y="1552"/>
                  </a:lnTo>
                  <a:lnTo>
                    <a:pt x="88" y="1554"/>
                  </a:lnTo>
                  <a:lnTo>
                    <a:pt x="88" y="1556"/>
                  </a:lnTo>
                  <a:lnTo>
                    <a:pt x="86" y="1558"/>
                  </a:lnTo>
                  <a:lnTo>
                    <a:pt x="84" y="1560"/>
                  </a:lnTo>
                  <a:lnTo>
                    <a:pt x="84" y="1556"/>
                  </a:lnTo>
                  <a:lnTo>
                    <a:pt x="84" y="1554"/>
                  </a:lnTo>
                  <a:lnTo>
                    <a:pt x="86" y="1554"/>
                  </a:lnTo>
                  <a:lnTo>
                    <a:pt x="86" y="1552"/>
                  </a:lnTo>
                  <a:lnTo>
                    <a:pt x="86" y="1550"/>
                  </a:lnTo>
                  <a:lnTo>
                    <a:pt x="86" y="1548"/>
                  </a:lnTo>
                  <a:lnTo>
                    <a:pt x="86" y="1544"/>
                  </a:lnTo>
                  <a:lnTo>
                    <a:pt x="84" y="1542"/>
                  </a:lnTo>
                  <a:lnTo>
                    <a:pt x="90" y="1532"/>
                  </a:lnTo>
                  <a:lnTo>
                    <a:pt x="94" y="1528"/>
                  </a:lnTo>
                  <a:lnTo>
                    <a:pt x="96" y="1528"/>
                  </a:lnTo>
                  <a:lnTo>
                    <a:pt x="96" y="1526"/>
                  </a:lnTo>
                  <a:lnTo>
                    <a:pt x="98" y="1526"/>
                  </a:lnTo>
                  <a:lnTo>
                    <a:pt x="100" y="1526"/>
                  </a:lnTo>
                  <a:lnTo>
                    <a:pt x="102" y="1526"/>
                  </a:lnTo>
                  <a:lnTo>
                    <a:pt x="104" y="1526"/>
                  </a:lnTo>
                  <a:lnTo>
                    <a:pt x="104" y="1524"/>
                  </a:lnTo>
                  <a:lnTo>
                    <a:pt x="98" y="1522"/>
                  </a:lnTo>
                  <a:lnTo>
                    <a:pt x="96" y="1522"/>
                  </a:lnTo>
                  <a:lnTo>
                    <a:pt x="96" y="1524"/>
                  </a:lnTo>
                  <a:lnTo>
                    <a:pt x="94" y="1524"/>
                  </a:lnTo>
                  <a:lnTo>
                    <a:pt x="94" y="1526"/>
                  </a:lnTo>
                  <a:lnTo>
                    <a:pt x="92" y="1528"/>
                  </a:lnTo>
                  <a:lnTo>
                    <a:pt x="90" y="1530"/>
                  </a:lnTo>
                  <a:lnTo>
                    <a:pt x="88" y="1530"/>
                  </a:lnTo>
                  <a:lnTo>
                    <a:pt x="88" y="1526"/>
                  </a:lnTo>
                  <a:lnTo>
                    <a:pt x="90" y="1514"/>
                  </a:lnTo>
                  <a:lnTo>
                    <a:pt x="96" y="1508"/>
                  </a:lnTo>
                  <a:lnTo>
                    <a:pt x="100" y="1506"/>
                  </a:lnTo>
                  <a:lnTo>
                    <a:pt x="104" y="1504"/>
                  </a:lnTo>
                  <a:lnTo>
                    <a:pt x="104" y="1506"/>
                  </a:lnTo>
                  <a:lnTo>
                    <a:pt x="104" y="1508"/>
                  </a:lnTo>
                  <a:lnTo>
                    <a:pt x="106" y="1508"/>
                  </a:lnTo>
                  <a:lnTo>
                    <a:pt x="108" y="1510"/>
                  </a:lnTo>
                  <a:lnTo>
                    <a:pt x="112" y="1512"/>
                  </a:lnTo>
                  <a:lnTo>
                    <a:pt x="114" y="1514"/>
                  </a:lnTo>
                  <a:lnTo>
                    <a:pt x="118" y="1514"/>
                  </a:lnTo>
                  <a:lnTo>
                    <a:pt x="120" y="1512"/>
                  </a:lnTo>
                  <a:lnTo>
                    <a:pt x="120" y="1510"/>
                  </a:lnTo>
                  <a:lnTo>
                    <a:pt x="116" y="1510"/>
                  </a:lnTo>
                  <a:lnTo>
                    <a:pt x="114" y="1510"/>
                  </a:lnTo>
                  <a:lnTo>
                    <a:pt x="110" y="1508"/>
                  </a:lnTo>
                  <a:lnTo>
                    <a:pt x="108" y="1506"/>
                  </a:lnTo>
                  <a:lnTo>
                    <a:pt x="106" y="1504"/>
                  </a:lnTo>
                  <a:lnTo>
                    <a:pt x="102" y="1502"/>
                  </a:lnTo>
                  <a:lnTo>
                    <a:pt x="100" y="1502"/>
                  </a:lnTo>
                  <a:lnTo>
                    <a:pt x="98" y="1502"/>
                  </a:lnTo>
                  <a:lnTo>
                    <a:pt x="98" y="1504"/>
                  </a:lnTo>
                  <a:lnTo>
                    <a:pt x="96" y="1504"/>
                  </a:lnTo>
                  <a:lnTo>
                    <a:pt x="94" y="1504"/>
                  </a:lnTo>
                  <a:lnTo>
                    <a:pt x="94" y="1502"/>
                  </a:lnTo>
                  <a:lnTo>
                    <a:pt x="94" y="1498"/>
                  </a:lnTo>
                  <a:lnTo>
                    <a:pt x="96" y="1498"/>
                  </a:lnTo>
                  <a:lnTo>
                    <a:pt x="98" y="1498"/>
                  </a:lnTo>
                  <a:lnTo>
                    <a:pt x="100" y="1496"/>
                  </a:lnTo>
                  <a:lnTo>
                    <a:pt x="98" y="1496"/>
                  </a:lnTo>
                  <a:lnTo>
                    <a:pt x="96" y="1492"/>
                  </a:lnTo>
                  <a:lnTo>
                    <a:pt x="96" y="1490"/>
                  </a:lnTo>
                  <a:lnTo>
                    <a:pt x="96" y="1488"/>
                  </a:lnTo>
                  <a:lnTo>
                    <a:pt x="96" y="1486"/>
                  </a:lnTo>
                  <a:lnTo>
                    <a:pt x="98" y="1486"/>
                  </a:lnTo>
                  <a:lnTo>
                    <a:pt x="100" y="1486"/>
                  </a:lnTo>
                  <a:lnTo>
                    <a:pt x="102" y="1486"/>
                  </a:lnTo>
                  <a:lnTo>
                    <a:pt x="106" y="1486"/>
                  </a:lnTo>
                  <a:lnTo>
                    <a:pt x="114" y="1480"/>
                  </a:lnTo>
                  <a:lnTo>
                    <a:pt x="116" y="1480"/>
                  </a:lnTo>
                  <a:lnTo>
                    <a:pt x="122" y="1476"/>
                  </a:lnTo>
                  <a:lnTo>
                    <a:pt x="124" y="1472"/>
                  </a:lnTo>
                  <a:lnTo>
                    <a:pt x="126" y="1468"/>
                  </a:lnTo>
                  <a:lnTo>
                    <a:pt x="130" y="1460"/>
                  </a:lnTo>
                  <a:lnTo>
                    <a:pt x="130" y="1454"/>
                  </a:lnTo>
                  <a:lnTo>
                    <a:pt x="126" y="1456"/>
                  </a:lnTo>
                  <a:lnTo>
                    <a:pt x="124" y="1460"/>
                  </a:lnTo>
                  <a:lnTo>
                    <a:pt x="118" y="1456"/>
                  </a:lnTo>
                  <a:lnTo>
                    <a:pt x="114" y="1452"/>
                  </a:lnTo>
                  <a:lnTo>
                    <a:pt x="112" y="1450"/>
                  </a:lnTo>
                  <a:lnTo>
                    <a:pt x="108" y="1448"/>
                  </a:lnTo>
                  <a:lnTo>
                    <a:pt x="106" y="1448"/>
                  </a:lnTo>
                  <a:lnTo>
                    <a:pt x="104" y="1448"/>
                  </a:lnTo>
                  <a:lnTo>
                    <a:pt x="100" y="1444"/>
                  </a:lnTo>
                  <a:lnTo>
                    <a:pt x="100" y="1442"/>
                  </a:lnTo>
                  <a:lnTo>
                    <a:pt x="100" y="1440"/>
                  </a:lnTo>
                  <a:lnTo>
                    <a:pt x="102" y="1438"/>
                  </a:lnTo>
                  <a:lnTo>
                    <a:pt x="106" y="1436"/>
                  </a:lnTo>
                  <a:lnTo>
                    <a:pt x="106" y="1434"/>
                  </a:lnTo>
                  <a:lnTo>
                    <a:pt x="108" y="1430"/>
                  </a:lnTo>
                  <a:lnTo>
                    <a:pt x="112" y="1424"/>
                  </a:lnTo>
                  <a:lnTo>
                    <a:pt x="114" y="1424"/>
                  </a:lnTo>
                  <a:lnTo>
                    <a:pt x="118" y="1422"/>
                  </a:lnTo>
                  <a:lnTo>
                    <a:pt x="118" y="1420"/>
                  </a:lnTo>
                  <a:lnTo>
                    <a:pt x="118" y="1418"/>
                  </a:lnTo>
                  <a:lnTo>
                    <a:pt x="118" y="1420"/>
                  </a:lnTo>
                  <a:lnTo>
                    <a:pt x="116" y="1422"/>
                  </a:lnTo>
                  <a:lnTo>
                    <a:pt x="114" y="1422"/>
                  </a:lnTo>
                  <a:lnTo>
                    <a:pt x="110" y="1420"/>
                  </a:lnTo>
                  <a:lnTo>
                    <a:pt x="110" y="1418"/>
                  </a:lnTo>
                  <a:lnTo>
                    <a:pt x="110" y="1412"/>
                  </a:lnTo>
                  <a:lnTo>
                    <a:pt x="108" y="1406"/>
                  </a:lnTo>
                  <a:lnTo>
                    <a:pt x="108" y="1404"/>
                  </a:lnTo>
                  <a:lnTo>
                    <a:pt x="108" y="1398"/>
                  </a:lnTo>
                  <a:lnTo>
                    <a:pt x="110" y="1396"/>
                  </a:lnTo>
                  <a:lnTo>
                    <a:pt x="112" y="1394"/>
                  </a:lnTo>
                  <a:lnTo>
                    <a:pt x="114" y="1394"/>
                  </a:lnTo>
                  <a:lnTo>
                    <a:pt x="116" y="1392"/>
                  </a:lnTo>
                  <a:lnTo>
                    <a:pt x="116" y="1388"/>
                  </a:lnTo>
                  <a:lnTo>
                    <a:pt x="114" y="1388"/>
                  </a:lnTo>
                  <a:lnTo>
                    <a:pt x="114" y="1386"/>
                  </a:lnTo>
                  <a:lnTo>
                    <a:pt x="116" y="1382"/>
                  </a:lnTo>
                  <a:lnTo>
                    <a:pt x="118" y="1380"/>
                  </a:lnTo>
                  <a:lnTo>
                    <a:pt x="120" y="1380"/>
                  </a:lnTo>
                  <a:lnTo>
                    <a:pt x="122" y="1382"/>
                  </a:lnTo>
                  <a:lnTo>
                    <a:pt x="124" y="1376"/>
                  </a:lnTo>
                  <a:lnTo>
                    <a:pt x="122" y="1374"/>
                  </a:lnTo>
                  <a:lnTo>
                    <a:pt x="120" y="1372"/>
                  </a:lnTo>
                  <a:lnTo>
                    <a:pt x="118" y="1372"/>
                  </a:lnTo>
                  <a:lnTo>
                    <a:pt x="118" y="1370"/>
                  </a:lnTo>
                  <a:lnTo>
                    <a:pt x="118" y="1368"/>
                  </a:lnTo>
                  <a:lnTo>
                    <a:pt x="118" y="1364"/>
                  </a:lnTo>
                  <a:lnTo>
                    <a:pt x="118" y="1356"/>
                  </a:lnTo>
                  <a:lnTo>
                    <a:pt x="120" y="1352"/>
                  </a:lnTo>
                  <a:lnTo>
                    <a:pt x="124" y="1352"/>
                  </a:lnTo>
                  <a:lnTo>
                    <a:pt x="126" y="1352"/>
                  </a:lnTo>
                  <a:lnTo>
                    <a:pt x="126" y="1354"/>
                  </a:lnTo>
                  <a:lnTo>
                    <a:pt x="130" y="1356"/>
                  </a:lnTo>
                  <a:lnTo>
                    <a:pt x="132" y="1356"/>
                  </a:lnTo>
                  <a:lnTo>
                    <a:pt x="132" y="1354"/>
                  </a:lnTo>
                  <a:lnTo>
                    <a:pt x="130" y="1354"/>
                  </a:lnTo>
                  <a:lnTo>
                    <a:pt x="128" y="1352"/>
                  </a:lnTo>
                  <a:lnTo>
                    <a:pt x="126" y="1352"/>
                  </a:lnTo>
                  <a:lnTo>
                    <a:pt x="118" y="1342"/>
                  </a:lnTo>
                  <a:lnTo>
                    <a:pt x="120" y="1340"/>
                  </a:lnTo>
                  <a:lnTo>
                    <a:pt x="122" y="1338"/>
                  </a:lnTo>
                  <a:lnTo>
                    <a:pt x="130" y="1336"/>
                  </a:lnTo>
                  <a:lnTo>
                    <a:pt x="132" y="1338"/>
                  </a:lnTo>
                  <a:lnTo>
                    <a:pt x="132" y="1340"/>
                  </a:lnTo>
                  <a:lnTo>
                    <a:pt x="136" y="1350"/>
                  </a:lnTo>
                  <a:lnTo>
                    <a:pt x="136" y="1346"/>
                  </a:lnTo>
                  <a:lnTo>
                    <a:pt x="134" y="1338"/>
                  </a:lnTo>
                  <a:lnTo>
                    <a:pt x="134" y="1336"/>
                  </a:lnTo>
                  <a:lnTo>
                    <a:pt x="134" y="1332"/>
                  </a:lnTo>
                  <a:lnTo>
                    <a:pt x="134" y="1330"/>
                  </a:lnTo>
                  <a:lnTo>
                    <a:pt x="134" y="1328"/>
                  </a:lnTo>
                  <a:lnTo>
                    <a:pt x="134" y="1326"/>
                  </a:lnTo>
                  <a:lnTo>
                    <a:pt x="134" y="1324"/>
                  </a:lnTo>
                  <a:lnTo>
                    <a:pt x="132" y="1326"/>
                  </a:lnTo>
                  <a:lnTo>
                    <a:pt x="128" y="1328"/>
                  </a:lnTo>
                  <a:lnTo>
                    <a:pt x="122" y="1326"/>
                  </a:lnTo>
                  <a:lnTo>
                    <a:pt x="120" y="1324"/>
                  </a:lnTo>
                  <a:lnTo>
                    <a:pt x="118" y="1322"/>
                  </a:lnTo>
                  <a:lnTo>
                    <a:pt x="118" y="1320"/>
                  </a:lnTo>
                  <a:lnTo>
                    <a:pt x="120" y="1318"/>
                  </a:lnTo>
                  <a:lnTo>
                    <a:pt x="126" y="1312"/>
                  </a:lnTo>
                  <a:lnTo>
                    <a:pt x="128" y="1312"/>
                  </a:lnTo>
                  <a:lnTo>
                    <a:pt x="130" y="1312"/>
                  </a:lnTo>
                  <a:lnTo>
                    <a:pt x="134" y="1310"/>
                  </a:lnTo>
                  <a:lnTo>
                    <a:pt x="138" y="1310"/>
                  </a:lnTo>
                  <a:lnTo>
                    <a:pt x="140" y="1308"/>
                  </a:lnTo>
                  <a:lnTo>
                    <a:pt x="142" y="1306"/>
                  </a:lnTo>
                  <a:lnTo>
                    <a:pt x="142" y="1296"/>
                  </a:lnTo>
                  <a:lnTo>
                    <a:pt x="140" y="1296"/>
                  </a:lnTo>
                  <a:lnTo>
                    <a:pt x="138" y="1306"/>
                  </a:lnTo>
                  <a:lnTo>
                    <a:pt x="138" y="1308"/>
                  </a:lnTo>
                  <a:lnTo>
                    <a:pt x="134" y="1308"/>
                  </a:lnTo>
                  <a:lnTo>
                    <a:pt x="130" y="1310"/>
                  </a:lnTo>
                  <a:lnTo>
                    <a:pt x="128" y="1310"/>
                  </a:lnTo>
                  <a:lnTo>
                    <a:pt x="126" y="1308"/>
                  </a:lnTo>
                  <a:lnTo>
                    <a:pt x="124" y="1304"/>
                  </a:lnTo>
                  <a:lnTo>
                    <a:pt x="124" y="1302"/>
                  </a:lnTo>
                  <a:lnTo>
                    <a:pt x="120" y="1300"/>
                  </a:lnTo>
                  <a:lnTo>
                    <a:pt x="118" y="1298"/>
                  </a:lnTo>
                  <a:lnTo>
                    <a:pt x="114" y="1298"/>
                  </a:lnTo>
                  <a:lnTo>
                    <a:pt x="112" y="1298"/>
                  </a:lnTo>
                  <a:lnTo>
                    <a:pt x="110" y="1300"/>
                  </a:lnTo>
                  <a:lnTo>
                    <a:pt x="106" y="1304"/>
                  </a:lnTo>
                  <a:lnTo>
                    <a:pt x="108" y="1306"/>
                  </a:lnTo>
                  <a:lnTo>
                    <a:pt x="110" y="1310"/>
                  </a:lnTo>
                  <a:lnTo>
                    <a:pt x="106" y="1312"/>
                  </a:lnTo>
                  <a:lnTo>
                    <a:pt x="102" y="1314"/>
                  </a:lnTo>
                  <a:lnTo>
                    <a:pt x="98" y="1314"/>
                  </a:lnTo>
                  <a:lnTo>
                    <a:pt x="96" y="1314"/>
                  </a:lnTo>
                  <a:lnTo>
                    <a:pt x="94" y="1314"/>
                  </a:lnTo>
                  <a:lnTo>
                    <a:pt x="92" y="1314"/>
                  </a:lnTo>
                  <a:lnTo>
                    <a:pt x="90" y="1314"/>
                  </a:lnTo>
                  <a:lnTo>
                    <a:pt x="86" y="1314"/>
                  </a:lnTo>
                  <a:lnTo>
                    <a:pt x="80" y="1314"/>
                  </a:lnTo>
                  <a:lnTo>
                    <a:pt x="78" y="1314"/>
                  </a:lnTo>
                  <a:lnTo>
                    <a:pt x="78" y="1308"/>
                  </a:lnTo>
                  <a:lnTo>
                    <a:pt x="80" y="1306"/>
                  </a:lnTo>
                  <a:lnTo>
                    <a:pt x="82" y="1306"/>
                  </a:lnTo>
                  <a:lnTo>
                    <a:pt x="84" y="1306"/>
                  </a:lnTo>
                  <a:lnTo>
                    <a:pt x="86" y="1304"/>
                  </a:lnTo>
                  <a:lnTo>
                    <a:pt x="90" y="1300"/>
                  </a:lnTo>
                  <a:lnTo>
                    <a:pt x="88" y="1300"/>
                  </a:lnTo>
                  <a:lnTo>
                    <a:pt x="88" y="1302"/>
                  </a:lnTo>
                  <a:lnTo>
                    <a:pt x="86" y="1304"/>
                  </a:lnTo>
                  <a:lnTo>
                    <a:pt x="84" y="1304"/>
                  </a:lnTo>
                  <a:lnTo>
                    <a:pt x="80" y="1304"/>
                  </a:lnTo>
                  <a:lnTo>
                    <a:pt x="78" y="1302"/>
                  </a:lnTo>
                  <a:lnTo>
                    <a:pt x="74" y="1298"/>
                  </a:lnTo>
                  <a:lnTo>
                    <a:pt x="74" y="1296"/>
                  </a:lnTo>
                  <a:lnTo>
                    <a:pt x="74" y="1294"/>
                  </a:lnTo>
                  <a:lnTo>
                    <a:pt x="74" y="1290"/>
                  </a:lnTo>
                  <a:lnTo>
                    <a:pt x="74" y="1288"/>
                  </a:lnTo>
                  <a:lnTo>
                    <a:pt x="72" y="1284"/>
                  </a:lnTo>
                  <a:lnTo>
                    <a:pt x="70" y="1284"/>
                  </a:lnTo>
                  <a:lnTo>
                    <a:pt x="70" y="1282"/>
                  </a:lnTo>
                  <a:lnTo>
                    <a:pt x="68" y="1276"/>
                  </a:lnTo>
                  <a:lnTo>
                    <a:pt x="66" y="1270"/>
                  </a:lnTo>
                  <a:lnTo>
                    <a:pt x="70" y="1264"/>
                  </a:lnTo>
                  <a:lnTo>
                    <a:pt x="74" y="1252"/>
                  </a:lnTo>
                  <a:lnTo>
                    <a:pt x="76" y="1248"/>
                  </a:lnTo>
                  <a:lnTo>
                    <a:pt x="78" y="1246"/>
                  </a:lnTo>
                  <a:lnTo>
                    <a:pt x="78" y="1242"/>
                  </a:lnTo>
                  <a:lnTo>
                    <a:pt x="76" y="1240"/>
                  </a:lnTo>
                  <a:lnTo>
                    <a:pt x="78" y="1226"/>
                  </a:lnTo>
                  <a:lnTo>
                    <a:pt x="80" y="1224"/>
                  </a:lnTo>
                  <a:lnTo>
                    <a:pt x="82" y="1224"/>
                  </a:lnTo>
                  <a:lnTo>
                    <a:pt x="80" y="1222"/>
                  </a:lnTo>
                  <a:lnTo>
                    <a:pt x="80" y="1220"/>
                  </a:lnTo>
                  <a:lnTo>
                    <a:pt x="80" y="1218"/>
                  </a:lnTo>
                  <a:lnTo>
                    <a:pt x="78" y="1216"/>
                  </a:lnTo>
                  <a:lnTo>
                    <a:pt x="80" y="1216"/>
                  </a:lnTo>
                  <a:lnTo>
                    <a:pt x="80" y="1214"/>
                  </a:lnTo>
                  <a:lnTo>
                    <a:pt x="90" y="1210"/>
                  </a:lnTo>
                  <a:lnTo>
                    <a:pt x="94" y="1212"/>
                  </a:lnTo>
                  <a:lnTo>
                    <a:pt x="94" y="1210"/>
                  </a:lnTo>
                  <a:lnTo>
                    <a:pt x="94" y="1204"/>
                  </a:lnTo>
                  <a:lnTo>
                    <a:pt x="96" y="1196"/>
                  </a:lnTo>
                  <a:lnTo>
                    <a:pt x="98" y="1194"/>
                  </a:lnTo>
                  <a:lnTo>
                    <a:pt x="100" y="1190"/>
                  </a:lnTo>
                  <a:lnTo>
                    <a:pt x="100" y="1186"/>
                  </a:lnTo>
                  <a:lnTo>
                    <a:pt x="100" y="1184"/>
                  </a:lnTo>
                  <a:lnTo>
                    <a:pt x="100" y="1182"/>
                  </a:lnTo>
                  <a:lnTo>
                    <a:pt x="100" y="1176"/>
                  </a:lnTo>
                  <a:lnTo>
                    <a:pt x="98" y="1168"/>
                  </a:lnTo>
                  <a:lnTo>
                    <a:pt x="96" y="1160"/>
                  </a:lnTo>
                  <a:lnTo>
                    <a:pt x="90" y="1148"/>
                  </a:lnTo>
                  <a:lnTo>
                    <a:pt x="88" y="1142"/>
                  </a:lnTo>
                  <a:lnTo>
                    <a:pt x="88" y="1138"/>
                  </a:lnTo>
                  <a:lnTo>
                    <a:pt x="86" y="1138"/>
                  </a:lnTo>
                  <a:lnTo>
                    <a:pt x="86" y="1132"/>
                  </a:lnTo>
                  <a:lnTo>
                    <a:pt x="86" y="1130"/>
                  </a:lnTo>
                  <a:lnTo>
                    <a:pt x="86" y="1128"/>
                  </a:lnTo>
                  <a:lnTo>
                    <a:pt x="88" y="1128"/>
                  </a:lnTo>
                  <a:lnTo>
                    <a:pt x="86" y="1124"/>
                  </a:lnTo>
                  <a:lnTo>
                    <a:pt x="88" y="1122"/>
                  </a:lnTo>
                  <a:lnTo>
                    <a:pt x="90" y="1120"/>
                  </a:lnTo>
                  <a:lnTo>
                    <a:pt x="90" y="1112"/>
                  </a:lnTo>
                  <a:lnTo>
                    <a:pt x="90" y="1110"/>
                  </a:lnTo>
                  <a:lnTo>
                    <a:pt x="88" y="1108"/>
                  </a:lnTo>
                  <a:lnTo>
                    <a:pt x="86" y="1102"/>
                  </a:lnTo>
                  <a:lnTo>
                    <a:pt x="82" y="1098"/>
                  </a:lnTo>
                  <a:lnTo>
                    <a:pt x="80" y="1094"/>
                  </a:lnTo>
                  <a:lnTo>
                    <a:pt x="78" y="1088"/>
                  </a:lnTo>
                  <a:lnTo>
                    <a:pt x="80" y="1086"/>
                  </a:lnTo>
                  <a:lnTo>
                    <a:pt x="82" y="1084"/>
                  </a:lnTo>
                  <a:lnTo>
                    <a:pt x="84" y="1080"/>
                  </a:lnTo>
                  <a:lnTo>
                    <a:pt x="82" y="1078"/>
                  </a:lnTo>
                  <a:lnTo>
                    <a:pt x="80" y="1076"/>
                  </a:lnTo>
                  <a:lnTo>
                    <a:pt x="80" y="1074"/>
                  </a:lnTo>
                  <a:lnTo>
                    <a:pt x="78" y="1074"/>
                  </a:lnTo>
                  <a:lnTo>
                    <a:pt x="80" y="1066"/>
                  </a:lnTo>
                  <a:lnTo>
                    <a:pt x="82" y="1064"/>
                  </a:lnTo>
                  <a:lnTo>
                    <a:pt x="84" y="1064"/>
                  </a:lnTo>
                  <a:lnTo>
                    <a:pt x="86" y="1066"/>
                  </a:lnTo>
                  <a:lnTo>
                    <a:pt x="90" y="1068"/>
                  </a:lnTo>
                  <a:lnTo>
                    <a:pt x="92" y="1068"/>
                  </a:lnTo>
                  <a:lnTo>
                    <a:pt x="94" y="1068"/>
                  </a:lnTo>
                  <a:lnTo>
                    <a:pt x="96" y="1068"/>
                  </a:lnTo>
                  <a:lnTo>
                    <a:pt x="98" y="1066"/>
                  </a:lnTo>
                  <a:lnTo>
                    <a:pt x="100" y="1066"/>
                  </a:lnTo>
                  <a:lnTo>
                    <a:pt x="100" y="1064"/>
                  </a:lnTo>
                  <a:lnTo>
                    <a:pt x="102" y="1062"/>
                  </a:lnTo>
                  <a:lnTo>
                    <a:pt x="102" y="1058"/>
                  </a:lnTo>
                  <a:lnTo>
                    <a:pt x="104" y="1048"/>
                  </a:lnTo>
                  <a:lnTo>
                    <a:pt x="104" y="1038"/>
                  </a:lnTo>
                  <a:lnTo>
                    <a:pt x="106" y="1038"/>
                  </a:lnTo>
                  <a:lnTo>
                    <a:pt x="108" y="1040"/>
                  </a:lnTo>
                  <a:lnTo>
                    <a:pt x="110" y="1040"/>
                  </a:lnTo>
                  <a:lnTo>
                    <a:pt x="112" y="1038"/>
                  </a:lnTo>
                  <a:lnTo>
                    <a:pt x="112" y="1036"/>
                  </a:lnTo>
                  <a:lnTo>
                    <a:pt x="114" y="1028"/>
                  </a:lnTo>
                  <a:lnTo>
                    <a:pt x="116" y="1024"/>
                  </a:lnTo>
                  <a:lnTo>
                    <a:pt x="118" y="1020"/>
                  </a:lnTo>
                  <a:lnTo>
                    <a:pt x="118" y="1008"/>
                  </a:lnTo>
                  <a:lnTo>
                    <a:pt x="120" y="1000"/>
                  </a:lnTo>
                  <a:lnTo>
                    <a:pt x="122" y="998"/>
                  </a:lnTo>
                  <a:lnTo>
                    <a:pt x="124" y="996"/>
                  </a:lnTo>
                  <a:lnTo>
                    <a:pt x="130" y="992"/>
                  </a:lnTo>
                  <a:lnTo>
                    <a:pt x="130" y="990"/>
                  </a:lnTo>
                  <a:lnTo>
                    <a:pt x="130" y="988"/>
                  </a:lnTo>
                  <a:lnTo>
                    <a:pt x="130" y="986"/>
                  </a:lnTo>
                  <a:lnTo>
                    <a:pt x="128" y="984"/>
                  </a:lnTo>
                  <a:lnTo>
                    <a:pt x="126" y="980"/>
                  </a:lnTo>
                  <a:lnTo>
                    <a:pt x="126" y="978"/>
                  </a:lnTo>
                  <a:lnTo>
                    <a:pt x="128" y="976"/>
                  </a:lnTo>
                  <a:lnTo>
                    <a:pt x="130" y="976"/>
                  </a:lnTo>
                  <a:lnTo>
                    <a:pt x="134" y="974"/>
                  </a:lnTo>
                  <a:lnTo>
                    <a:pt x="136" y="966"/>
                  </a:lnTo>
                  <a:lnTo>
                    <a:pt x="138" y="962"/>
                  </a:lnTo>
                  <a:lnTo>
                    <a:pt x="138" y="960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4" y="956"/>
                  </a:lnTo>
                  <a:lnTo>
                    <a:pt x="146" y="954"/>
                  </a:lnTo>
                  <a:lnTo>
                    <a:pt x="148" y="952"/>
                  </a:lnTo>
                  <a:lnTo>
                    <a:pt x="148" y="948"/>
                  </a:lnTo>
                  <a:lnTo>
                    <a:pt x="148" y="946"/>
                  </a:lnTo>
                  <a:lnTo>
                    <a:pt x="148" y="944"/>
                  </a:lnTo>
                  <a:lnTo>
                    <a:pt x="148" y="942"/>
                  </a:lnTo>
                  <a:lnTo>
                    <a:pt x="152" y="936"/>
                  </a:lnTo>
                  <a:lnTo>
                    <a:pt x="152" y="934"/>
                  </a:lnTo>
                  <a:lnTo>
                    <a:pt x="154" y="930"/>
                  </a:lnTo>
                  <a:lnTo>
                    <a:pt x="154" y="928"/>
                  </a:lnTo>
                  <a:lnTo>
                    <a:pt x="156" y="920"/>
                  </a:lnTo>
                  <a:lnTo>
                    <a:pt x="154" y="918"/>
                  </a:lnTo>
                  <a:lnTo>
                    <a:pt x="154" y="916"/>
                  </a:lnTo>
                  <a:lnTo>
                    <a:pt x="156" y="914"/>
                  </a:lnTo>
                  <a:lnTo>
                    <a:pt x="158" y="912"/>
                  </a:lnTo>
                  <a:lnTo>
                    <a:pt x="158" y="908"/>
                  </a:lnTo>
                  <a:lnTo>
                    <a:pt x="158" y="904"/>
                  </a:lnTo>
                  <a:lnTo>
                    <a:pt x="156" y="904"/>
                  </a:lnTo>
                  <a:lnTo>
                    <a:pt x="156" y="902"/>
                  </a:lnTo>
                  <a:lnTo>
                    <a:pt x="156" y="900"/>
                  </a:lnTo>
                  <a:lnTo>
                    <a:pt x="162" y="890"/>
                  </a:lnTo>
                  <a:lnTo>
                    <a:pt x="164" y="890"/>
                  </a:lnTo>
                  <a:lnTo>
                    <a:pt x="164" y="888"/>
                  </a:lnTo>
                  <a:lnTo>
                    <a:pt x="166" y="884"/>
                  </a:lnTo>
                  <a:lnTo>
                    <a:pt x="168" y="880"/>
                  </a:lnTo>
                  <a:lnTo>
                    <a:pt x="170" y="880"/>
                  </a:lnTo>
                  <a:lnTo>
                    <a:pt x="172" y="878"/>
                  </a:lnTo>
                  <a:lnTo>
                    <a:pt x="174" y="876"/>
                  </a:lnTo>
                  <a:lnTo>
                    <a:pt x="174" y="874"/>
                  </a:lnTo>
                  <a:lnTo>
                    <a:pt x="174" y="872"/>
                  </a:lnTo>
                  <a:lnTo>
                    <a:pt x="174" y="870"/>
                  </a:lnTo>
                  <a:lnTo>
                    <a:pt x="174" y="866"/>
                  </a:lnTo>
                  <a:lnTo>
                    <a:pt x="172" y="858"/>
                  </a:lnTo>
                  <a:lnTo>
                    <a:pt x="172" y="852"/>
                  </a:lnTo>
                  <a:lnTo>
                    <a:pt x="170" y="844"/>
                  </a:lnTo>
                  <a:lnTo>
                    <a:pt x="172" y="844"/>
                  </a:lnTo>
                  <a:lnTo>
                    <a:pt x="178" y="838"/>
                  </a:lnTo>
                  <a:lnTo>
                    <a:pt x="180" y="834"/>
                  </a:lnTo>
                  <a:lnTo>
                    <a:pt x="182" y="826"/>
                  </a:lnTo>
                  <a:lnTo>
                    <a:pt x="184" y="822"/>
                  </a:lnTo>
                  <a:lnTo>
                    <a:pt x="184" y="820"/>
                  </a:lnTo>
                  <a:lnTo>
                    <a:pt x="186" y="818"/>
                  </a:lnTo>
                  <a:lnTo>
                    <a:pt x="186" y="812"/>
                  </a:lnTo>
                  <a:lnTo>
                    <a:pt x="186" y="806"/>
                  </a:lnTo>
                  <a:lnTo>
                    <a:pt x="184" y="800"/>
                  </a:lnTo>
                  <a:lnTo>
                    <a:pt x="182" y="798"/>
                  </a:lnTo>
                  <a:lnTo>
                    <a:pt x="180" y="794"/>
                  </a:lnTo>
                  <a:lnTo>
                    <a:pt x="180" y="790"/>
                  </a:lnTo>
                  <a:lnTo>
                    <a:pt x="182" y="786"/>
                  </a:lnTo>
                  <a:lnTo>
                    <a:pt x="182" y="784"/>
                  </a:lnTo>
                  <a:lnTo>
                    <a:pt x="182" y="780"/>
                  </a:lnTo>
                  <a:lnTo>
                    <a:pt x="182" y="772"/>
                  </a:lnTo>
                  <a:lnTo>
                    <a:pt x="182" y="770"/>
                  </a:lnTo>
                  <a:lnTo>
                    <a:pt x="180" y="768"/>
                  </a:lnTo>
                  <a:lnTo>
                    <a:pt x="180" y="764"/>
                  </a:lnTo>
                  <a:lnTo>
                    <a:pt x="180" y="760"/>
                  </a:lnTo>
                  <a:lnTo>
                    <a:pt x="176" y="748"/>
                  </a:lnTo>
                  <a:lnTo>
                    <a:pt x="174" y="740"/>
                  </a:lnTo>
                  <a:lnTo>
                    <a:pt x="174" y="738"/>
                  </a:lnTo>
                  <a:lnTo>
                    <a:pt x="174" y="736"/>
                  </a:lnTo>
                  <a:lnTo>
                    <a:pt x="174" y="734"/>
                  </a:lnTo>
                  <a:lnTo>
                    <a:pt x="176" y="730"/>
                  </a:lnTo>
                  <a:lnTo>
                    <a:pt x="174" y="728"/>
                  </a:lnTo>
                  <a:lnTo>
                    <a:pt x="174" y="726"/>
                  </a:lnTo>
                  <a:lnTo>
                    <a:pt x="174" y="724"/>
                  </a:lnTo>
                  <a:lnTo>
                    <a:pt x="172" y="718"/>
                  </a:lnTo>
                  <a:lnTo>
                    <a:pt x="172" y="712"/>
                  </a:lnTo>
                  <a:lnTo>
                    <a:pt x="172" y="706"/>
                  </a:lnTo>
                  <a:lnTo>
                    <a:pt x="172" y="704"/>
                  </a:lnTo>
                  <a:lnTo>
                    <a:pt x="174" y="694"/>
                  </a:lnTo>
                  <a:lnTo>
                    <a:pt x="176" y="690"/>
                  </a:lnTo>
                  <a:lnTo>
                    <a:pt x="178" y="690"/>
                  </a:lnTo>
                  <a:lnTo>
                    <a:pt x="178" y="692"/>
                  </a:lnTo>
                  <a:lnTo>
                    <a:pt x="180" y="692"/>
                  </a:lnTo>
                  <a:lnTo>
                    <a:pt x="182" y="690"/>
                  </a:lnTo>
                  <a:lnTo>
                    <a:pt x="188" y="686"/>
                  </a:lnTo>
                  <a:lnTo>
                    <a:pt x="190" y="674"/>
                  </a:lnTo>
                  <a:lnTo>
                    <a:pt x="194" y="672"/>
                  </a:lnTo>
                  <a:lnTo>
                    <a:pt x="192" y="668"/>
                  </a:lnTo>
                  <a:lnTo>
                    <a:pt x="192" y="666"/>
                  </a:lnTo>
                  <a:lnTo>
                    <a:pt x="190" y="662"/>
                  </a:lnTo>
                  <a:lnTo>
                    <a:pt x="190" y="652"/>
                  </a:lnTo>
                  <a:lnTo>
                    <a:pt x="192" y="648"/>
                  </a:lnTo>
                  <a:lnTo>
                    <a:pt x="192" y="646"/>
                  </a:lnTo>
                  <a:lnTo>
                    <a:pt x="192" y="644"/>
                  </a:lnTo>
                  <a:lnTo>
                    <a:pt x="190" y="640"/>
                  </a:lnTo>
                  <a:lnTo>
                    <a:pt x="190" y="638"/>
                  </a:lnTo>
                  <a:lnTo>
                    <a:pt x="188" y="638"/>
                  </a:lnTo>
                  <a:lnTo>
                    <a:pt x="186" y="636"/>
                  </a:lnTo>
                  <a:lnTo>
                    <a:pt x="186" y="634"/>
                  </a:lnTo>
                  <a:lnTo>
                    <a:pt x="184" y="634"/>
                  </a:lnTo>
                  <a:lnTo>
                    <a:pt x="184" y="632"/>
                  </a:lnTo>
                  <a:lnTo>
                    <a:pt x="184" y="628"/>
                  </a:lnTo>
                  <a:lnTo>
                    <a:pt x="184" y="620"/>
                  </a:lnTo>
                  <a:lnTo>
                    <a:pt x="184" y="616"/>
                  </a:lnTo>
                  <a:lnTo>
                    <a:pt x="184" y="614"/>
                  </a:lnTo>
                  <a:lnTo>
                    <a:pt x="186" y="614"/>
                  </a:lnTo>
                  <a:lnTo>
                    <a:pt x="190" y="610"/>
                  </a:lnTo>
                  <a:lnTo>
                    <a:pt x="194" y="604"/>
                  </a:lnTo>
                  <a:lnTo>
                    <a:pt x="194" y="602"/>
                  </a:lnTo>
                  <a:lnTo>
                    <a:pt x="194" y="598"/>
                  </a:lnTo>
                  <a:lnTo>
                    <a:pt x="196" y="596"/>
                  </a:lnTo>
                  <a:lnTo>
                    <a:pt x="196" y="594"/>
                  </a:lnTo>
                  <a:lnTo>
                    <a:pt x="200" y="586"/>
                  </a:lnTo>
                  <a:lnTo>
                    <a:pt x="200" y="580"/>
                  </a:lnTo>
                  <a:lnTo>
                    <a:pt x="200" y="576"/>
                  </a:lnTo>
                  <a:lnTo>
                    <a:pt x="202" y="566"/>
                  </a:lnTo>
                  <a:lnTo>
                    <a:pt x="204" y="560"/>
                  </a:lnTo>
                  <a:lnTo>
                    <a:pt x="204" y="556"/>
                  </a:lnTo>
                  <a:lnTo>
                    <a:pt x="206" y="554"/>
                  </a:lnTo>
                  <a:lnTo>
                    <a:pt x="208" y="550"/>
                  </a:lnTo>
                  <a:lnTo>
                    <a:pt x="210" y="550"/>
                  </a:lnTo>
                  <a:lnTo>
                    <a:pt x="212" y="548"/>
                  </a:lnTo>
                  <a:lnTo>
                    <a:pt x="214" y="540"/>
                  </a:lnTo>
                  <a:lnTo>
                    <a:pt x="214" y="538"/>
                  </a:lnTo>
                  <a:lnTo>
                    <a:pt x="212" y="532"/>
                  </a:lnTo>
                  <a:lnTo>
                    <a:pt x="210" y="524"/>
                  </a:lnTo>
                  <a:lnTo>
                    <a:pt x="210" y="522"/>
                  </a:lnTo>
                  <a:lnTo>
                    <a:pt x="212" y="522"/>
                  </a:lnTo>
                  <a:lnTo>
                    <a:pt x="212" y="520"/>
                  </a:lnTo>
                  <a:lnTo>
                    <a:pt x="216" y="520"/>
                  </a:lnTo>
                  <a:lnTo>
                    <a:pt x="218" y="516"/>
                  </a:lnTo>
                  <a:lnTo>
                    <a:pt x="220" y="514"/>
                  </a:lnTo>
                  <a:lnTo>
                    <a:pt x="220" y="510"/>
                  </a:lnTo>
                  <a:lnTo>
                    <a:pt x="218" y="508"/>
                  </a:lnTo>
                  <a:lnTo>
                    <a:pt x="218" y="506"/>
                  </a:lnTo>
                  <a:lnTo>
                    <a:pt x="222" y="498"/>
                  </a:lnTo>
                  <a:lnTo>
                    <a:pt x="224" y="492"/>
                  </a:lnTo>
                  <a:lnTo>
                    <a:pt x="226" y="490"/>
                  </a:lnTo>
                  <a:lnTo>
                    <a:pt x="226" y="484"/>
                  </a:lnTo>
                  <a:lnTo>
                    <a:pt x="228" y="476"/>
                  </a:lnTo>
                  <a:lnTo>
                    <a:pt x="226" y="470"/>
                  </a:lnTo>
                  <a:lnTo>
                    <a:pt x="226" y="468"/>
                  </a:lnTo>
                  <a:lnTo>
                    <a:pt x="226" y="464"/>
                  </a:lnTo>
                  <a:lnTo>
                    <a:pt x="228" y="462"/>
                  </a:lnTo>
                  <a:lnTo>
                    <a:pt x="228" y="460"/>
                  </a:lnTo>
                  <a:lnTo>
                    <a:pt x="226" y="456"/>
                  </a:lnTo>
                  <a:lnTo>
                    <a:pt x="226" y="454"/>
                  </a:lnTo>
                  <a:lnTo>
                    <a:pt x="224" y="450"/>
                  </a:lnTo>
                  <a:lnTo>
                    <a:pt x="226" y="444"/>
                  </a:lnTo>
                  <a:lnTo>
                    <a:pt x="226" y="442"/>
                  </a:lnTo>
                  <a:lnTo>
                    <a:pt x="228" y="436"/>
                  </a:lnTo>
                  <a:lnTo>
                    <a:pt x="232" y="432"/>
                  </a:lnTo>
                  <a:lnTo>
                    <a:pt x="234" y="430"/>
                  </a:lnTo>
                  <a:lnTo>
                    <a:pt x="238" y="426"/>
                  </a:lnTo>
                  <a:lnTo>
                    <a:pt x="238" y="420"/>
                  </a:lnTo>
                  <a:lnTo>
                    <a:pt x="238" y="416"/>
                  </a:lnTo>
                  <a:lnTo>
                    <a:pt x="238" y="414"/>
                  </a:lnTo>
                  <a:lnTo>
                    <a:pt x="236" y="410"/>
                  </a:lnTo>
                  <a:lnTo>
                    <a:pt x="236" y="404"/>
                  </a:lnTo>
                  <a:lnTo>
                    <a:pt x="234" y="400"/>
                  </a:lnTo>
                  <a:lnTo>
                    <a:pt x="232" y="396"/>
                  </a:lnTo>
                  <a:lnTo>
                    <a:pt x="230" y="390"/>
                  </a:lnTo>
                  <a:lnTo>
                    <a:pt x="232" y="382"/>
                  </a:lnTo>
                  <a:lnTo>
                    <a:pt x="234" y="374"/>
                  </a:lnTo>
                  <a:lnTo>
                    <a:pt x="234" y="370"/>
                  </a:lnTo>
                  <a:lnTo>
                    <a:pt x="232" y="370"/>
                  </a:lnTo>
                  <a:lnTo>
                    <a:pt x="234" y="364"/>
                  </a:lnTo>
                  <a:lnTo>
                    <a:pt x="234" y="362"/>
                  </a:lnTo>
                  <a:lnTo>
                    <a:pt x="236" y="360"/>
                  </a:lnTo>
                  <a:lnTo>
                    <a:pt x="236" y="356"/>
                  </a:lnTo>
                  <a:lnTo>
                    <a:pt x="236" y="354"/>
                  </a:lnTo>
                  <a:lnTo>
                    <a:pt x="234" y="352"/>
                  </a:lnTo>
                  <a:lnTo>
                    <a:pt x="234" y="350"/>
                  </a:lnTo>
                  <a:lnTo>
                    <a:pt x="236" y="344"/>
                  </a:lnTo>
                  <a:lnTo>
                    <a:pt x="236" y="340"/>
                  </a:lnTo>
                  <a:lnTo>
                    <a:pt x="238" y="338"/>
                  </a:lnTo>
                  <a:lnTo>
                    <a:pt x="240" y="338"/>
                  </a:lnTo>
                  <a:lnTo>
                    <a:pt x="240" y="336"/>
                  </a:lnTo>
                  <a:lnTo>
                    <a:pt x="242" y="334"/>
                  </a:lnTo>
                  <a:lnTo>
                    <a:pt x="242" y="332"/>
                  </a:lnTo>
                  <a:lnTo>
                    <a:pt x="242" y="330"/>
                  </a:lnTo>
                  <a:lnTo>
                    <a:pt x="242" y="328"/>
                  </a:lnTo>
                  <a:lnTo>
                    <a:pt x="242" y="326"/>
                  </a:lnTo>
                  <a:lnTo>
                    <a:pt x="240" y="324"/>
                  </a:lnTo>
                  <a:lnTo>
                    <a:pt x="238" y="322"/>
                  </a:lnTo>
                  <a:lnTo>
                    <a:pt x="236" y="322"/>
                  </a:lnTo>
                  <a:lnTo>
                    <a:pt x="234" y="326"/>
                  </a:lnTo>
                  <a:lnTo>
                    <a:pt x="230" y="324"/>
                  </a:lnTo>
                  <a:lnTo>
                    <a:pt x="230" y="318"/>
                  </a:lnTo>
                  <a:lnTo>
                    <a:pt x="232" y="310"/>
                  </a:lnTo>
                  <a:lnTo>
                    <a:pt x="232" y="302"/>
                  </a:lnTo>
                  <a:lnTo>
                    <a:pt x="234" y="300"/>
                  </a:lnTo>
                  <a:lnTo>
                    <a:pt x="236" y="298"/>
                  </a:lnTo>
                  <a:lnTo>
                    <a:pt x="236" y="302"/>
                  </a:lnTo>
                  <a:lnTo>
                    <a:pt x="238" y="302"/>
                  </a:lnTo>
                  <a:lnTo>
                    <a:pt x="240" y="302"/>
                  </a:lnTo>
                  <a:lnTo>
                    <a:pt x="242" y="302"/>
                  </a:lnTo>
                  <a:lnTo>
                    <a:pt x="244" y="300"/>
                  </a:lnTo>
                  <a:lnTo>
                    <a:pt x="244" y="298"/>
                  </a:lnTo>
                  <a:lnTo>
                    <a:pt x="246" y="294"/>
                  </a:lnTo>
                  <a:lnTo>
                    <a:pt x="248" y="292"/>
                  </a:lnTo>
                  <a:lnTo>
                    <a:pt x="246" y="290"/>
                  </a:lnTo>
                  <a:lnTo>
                    <a:pt x="246" y="288"/>
                  </a:lnTo>
                  <a:lnTo>
                    <a:pt x="246" y="286"/>
                  </a:lnTo>
                  <a:lnTo>
                    <a:pt x="248" y="278"/>
                  </a:lnTo>
                  <a:lnTo>
                    <a:pt x="248" y="268"/>
                  </a:lnTo>
                  <a:lnTo>
                    <a:pt x="250" y="260"/>
                  </a:lnTo>
                  <a:lnTo>
                    <a:pt x="250" y="252"/>
                  </a:lnTo>
                  <a:lnTo>
                    <a:pt x="252" y="248"/>
                  </a:lnTo>
                  <a:lnTo>
                    <a:pt x="252" y="246"/>
                  </a:lnTo>
                  <a:lnTo>
                    <a:pt x="256" y="230"/>
                  </a:lnTo>
                  <a:lnTo>
                    <a:pt x="254" y="228"/>
                  </a:lnTo>
                  <a:lnTo>
                    <a:pt x="254" y="226"/>
                  </a:lnTo>
                  <a:lnTo>
                    <a:pt x="256" y="224"/>
                  </a:lnTo>
                  <a:lnTo>
                    <a:pt x="258" y="220"/>
                  </a:lnTo>
                  <a:lnTo>
                    <a:pt x="258" y="218"/>
                  </a:lnTo>
                  <a:lnTo>
                    <a:pt x="260" y="212"/>
                  </a:lnTo>
                  <a:lnTo>
                    <a:pt x="258" y="210"/>
                  </a:lnTo>
                  <a:lnTo>
                    <a:pt x="258" y="208"/>
                  </a:lnTo>
                  <a:lnTo>
                    <a:pt x="260" y="206"/>
                  </a:lnTo>
                  <a:lnTo>
                    <a:pt x="258" y="194"/>
                  </a:lnTo>
                  <a:lnTo>
                    <a:pt x="256" y="192"/>
                  </a:lnTo>
                  <a:lnTo>
                    <a:pt x="254" y="190"/>
                  </a:lnTo>
                  <a:lnTo>
                    <a:pt x="256" y="188"/>
                  </a:lnTo>
                  <a:lnTo>
                    <a:pt x="256" y="186"/>
                  </a:lnTo>
                  <a:lnTo>
                    <a:pt x="256" y="182"/>
                  </a:lnTo>
                  <a:lnTo>
                    <a:pt x="256" y="180"/>
                  </a:lnTo>
                  <a:lnTo>
                    <a:pt x="254" y="180"/>
                  </a:lnTo>
                  <a:lnTo>
                    <a:pt x="252" y="178"/>
                  </a:lnTo>
                  <a:lnTo>
                    <a:pt x="254" y="156"/>
                  </a:lnTo>
                  <a:lnTo>
                    <a:pt x="256" y="152"/>
                  </a:lnTo>
                  <a:lnTo>
                    <a:pt x="256" y="150"/>
                  </a:lnTo>
                  <a:lnTo>
                    <a:pt x="256" y="146"/>
                  </a:lnTo>
                  <a:lnTo>
                    <a:pt x="256" y="142"/>
                  </a:lnTo>
                  <a:lnTo>
                    <a:pt x="256" y="140"/>
                  </a:lnTo>
                  <a:lnTo>
                    <a:pt x="258" y="140"/>
                  </a:lnTo>
                  <a:lnTo>
                    <a:pt x="258" y="136"/>
                  </a:lnTo>
                  <a:lnTo>
                    <a:pt x="258" y="134"/>
                  </a:lnTo>
                  <a:lnTo>
                    <a:pt x="256" y="130"/>
                  </a:lnTo>
                  <a:lnTo>
                    <a:pt x="256" y="124"/>
                  </a:lnTo>
                  <a:lnTo>
                    <a:pt x="254" y="116"/>
                  </a:lnTo>
                  <a:lnTo>
                    <a:pt x="254" y="108"/>
                  </a:lnTo>
                  <a:lnTo>
                    <a:pt x="252" y="100"/>
                  </a:lnTo>
                  <a:lnTo>
                    <a:pt x="250" y="98"/>
                  </a:lnTo>
                  <a:lnTo>
                    <a:pt x="250" y="92"/>
                  </a:lnTo>
                  <a:lnTo>
                    <a:pt x="250" y="90"/>
                  </a:lnTo>
                  <a:lnTo>
                    <a:pt x="250" y="88"/>
                  </a:lnTo>
                  <a:lnTo>
                    <a:pt x="248" y="76"/>
                  </a:lnTo>
                  <a:lnTo>
                    <a:pt x="248" y="74"/>
                  </a:lnTo>
                  <a:lnTo>
                    <a:pt x="246" y="72"/>
                  </a:lnTo>
                  <a:lnTo>
                    <a:pt x="246" y="62"/>
                  </a:lnTo>
                  <a:lnTo>
                    <a:pt x="246" y="58"/>
                  </a:lnTo>
                  <a:lnTo>
                    <a:pt x="248" y="50"/>
                  </a:lnTo>
                  <a:lnTo>
                    <a:pt x="246" y="48"/>
                  </a:lnTo>
                  <a:lnTo>
                    <a:pt x="246" y="46"/>
                  </a:lnTo>
                  <a:lnTo>
                    <a:pt x="244" y="46"/>
                  </a:lnTo>
                  <a:lnTo>
                    <a:pt x="244" y="44"/>
                  </a:lnTo>
                  <a:lnTo>
                    <a:pt x="246" y="44"/>
                  </a:lnTo>
                  <a:lnTo>
                    <a:pt x="248" y="44"/>
                  </a:lnTo>
                  <a:lnTo>
                    <a:pt x="252" y="44"/>
                  </a:lnTo>
                  <a:lnTo>
                    <a:pt x="254" y="44"/>
                  </a:lnTo>
                  <a:lnTo>
                    <a:pt x="256" y="44"/>
                  </a:lnTo>
                  <a:lnTo>
                    <a:pt x="258" y="44"/>
                  </a:lnTo>
                  <a:lnTo>
                    <a:pt x="264" y="42"/>
                  </a:lnTo>
                  <a:lnTo>
                    <a:pt x="266" y="40"/>
                  </a:lnTo>
                  <a:lnTo>
                    <a:pt x="272" y="36"/>
                  </a:lnTo>
                  <a:lnTo>
                    <a:pt x="272" y="34"/>
                  </a:lnTo>
                  <a:lnTo>
                    <a:pt x="276" y="28"/>
                  </a:lnTo>
                  <a:lnTo>
                    <a:pt x="276" y="26"/>
                  </a:lnTo>
                  <a:lnTo>
                    <a:pt x="278" y="24"/>
                  </a:lnTo>
                  <a:lnTo>
                    <a:pt x="274" y="16"/>
                  </a:lnTo>
                  <a:lnTo>
                    <a:pt x="274" y="14"/>
                  </a:lnTo>
                  <a:lnTo>
                    <a:pt x="272" y="14"/>
                  </a:lnTo>
                  <a:lnTo>
                    <a:pt x="274" y="10"/>
                  </a:lnTo>
                  <a:lnTo>
                    <a:pt x="274" y="8"/>
                  </a:lnTo>
                  <a:lnTo>
                    <a:pt x="278" y="8"/>
                  </a:lnTo>
                  <a:lnTo>
                    <a:pt x="280" y="8"/>
                  </a:lnTo>
                  <a:lnTo>
                    <a:pt x="282" y="8"/>
                  </a:lnTo>
                  <a:lnTo>
                    <a:pt x="284" y="6"/>
                  </a:lnTo>
                  <a:lnTo>
                    <a:pt x="292" y="0"/>
                  </a:lnTo>
                  <a:lnTo>
                    <a:pt x="292" y="6"/>
                  </a:lnTo>
                  <a:lnTo>
                    <a:pt x="298" y="12"/>
                  </a:lnTo>
                  <a:lnTo>
                    <a:pt x="300" y="14"/>
                  </a:lnTo>
                  <a:lnTo>
                    <a:pt x="300" y="16"/>
                  </a:lnTo>
                  <a:lnTo>
                    <a:pt x="300" y="18"/>
                  </a:lnTo>
                  <a:lnTo>
                    <a:pt x="300" y="22"/>
                  </a:lnTo>
                  <a:lnTo>
                    <a:pt x="300" y="24"/>
                  </a:lnTo>
                  <a:lnTo>
                    <a:pt x="300" y="26"/>
                  </a:lnTo>
                  <a:lnTo>
                    <a:pt x="302" y="26"/>
                  </a:lnTo>
                  <a:lnTo>
                    <a:pt x="310" y="28"/>
                  </a:lnTo>
                  <a:lnTo>
                    <a:pt x="314" y="28"/>
                  </a:lnTo>
                  <a:lnTo>
                    <a:pt x="314" y="30"/>
                  </a:lnTo>
                  <a:lnTo>
                    <a:pt x="314" y="32"/>
                  </a:lnTo>
                  <a:lnTo>
                    <a:pt x="312" y="32"/>
                  </a:lnTo>
                  <a:lnTo>
                    <a:pt x="310" y="34"/>
                  </a:lnTo>
                  <a:lnTo>
                    <a:pt x="310" y="36"/>
                  </a:lnTo>
                  <a:lnTo>
                    <a:pt x="312" y="38"/>
                  </a:lnTo>
                  <a:lnTo>
                    <a:pt x="312" y="40"/>
                  </a:lnTo>
                  <a:lnTo>
                    <a:pt x="312" y="42"/>
                  </a:lnTo>
                  <a:lnTo>
                    <a:pt x="314" y="48"/>
                  </a:lnTo>
                  <a:lnTo>
                    <a:pt x="314" y="50"/>
                  </a:lnTo>
                  <a:lnTo>
                    <a:pt x="316" y="50"/>
                  </a:lnTo>
                  <a:lnTo>
                    <a:pt x="316" y="52"/>
                  </a:lnTo>
                  <a:lnTo>
                    <a:pt x="316" y="54"/>
                  </a:lnTo>
                  <a:lnTo>
                    <a:pt x="316" y="58"/>
                  </a:lnTo>
                  <a:lnTo>
                    <a:pt x="316" y="60"/>
                  </a:lnTo>
                  <a:lnTo>
                    <a:pt x="316" y="62"/>
                  </a:lnTo>
                  <a:lnTo>
                    <a:pt x="318" y="68"/>
                  </a:lnTo>
                  <a:lnTo>
                    <a:pt x="318" y="74"/>
                  </a:lnTo>
                  <a:lnTo>
                    <a:pt x="320" y="76"/>
                  </a:lnTo>
                  <a:lnTo>
                    <a:pt x="318" y="80"/>
                  </a:lnTo>
                  <a:lnTo>
                    <a:pt x="322" y="84"/>
                  </a:lnTo>
                  <a:lnTo>
                    <a:pt x="328" y="90"/>
                  </a:lnTo>
                  <a:lnTo>
                    <a:pt x="330" y="92"/>
                  </a:lnTo>
                  <a:lnTo>
                    <a:pt x="334" y="96"/>
                  </a:lnTo>
                  <a:lnTo>
                    <a:pt x="336" y="98"/>
                  </a:lnTo>
                  <a:lnTo>
                    <a:pt x="338" y="98"/>
                  </a:lnTo>
                  <a:lnTo>
                    <a:pt x="340" y="98"/>
                  </a:lnTo>
                  <a:lnTo>
                    <a:pt x="342" y="102"/>
                  </a:lnTo>
                  <a:lnTo>
                    <a:pt x="346" y="104"/>
                  </a:lnTo>
                  <a:lnTo>
                    <a:pt x="340" y="110"/>
                  </a:lnTo>
                  <a:lnTo>
                    <a:pt x="338" y="112"/>
                  </a:lnTo>
                  <a:lnTo>
                    <a:pt x="336" y="114"/>
                  </a:lnTo>
                  <a:lnTo>
                    <a:pt x="332" y="120"/>
                  </a:lnTo>
                  <a:lnTo>
                    <a:pt x="332" y="122"/>
                  </a:lnTo>
                  <a:lnTo>
                    <a:pt x="336" y="124"/>
                  </a:lnTo>
                  <a:lnTo>
                    <a:pt x="338" y="126"/>
                  </a:lnTo>
                  <a:lnTo>
                    <a:pt x="340" y="132"/>
                  </a:lnTo>
                  <a:lnTo>
                    <a:pt x="338" y="138"/>
                  </a:lnTo>
                  <a:lnTo>
                    <a:pt x="336" y="138"/>
                  </a:lnTo>
                  <a:lnTo>
                    <a:pt x="334" y="138"/>
                  </a:lnTo>
                  <a:lnTo>
                    <a:pt x="328" y="140"/>
                  </a:lnTo>
                  <a:lnTo>
                    <a:pt x="326" y="142"/>
                  </a:lnTo>
                  <a:lnTo>
                    <a:pt x="328" y="142"/>
                  </a:lnTo>
                  <a:lnTo>
                    <a:pt x="330" y="148"/>
                  </a:lnTo>
                  <a:lnTo>
                    <a:pt x="330" y="154"/>
                  </a:lnTo>
                  <a:lnTo>
                    <a:pt x="328" y="156"/>
                  </a:lnTo>
                  <a:lnTo>
                    <a:pt x="328" y="158"/>
                  </a:lnTo>
                  <a:lnTo>
                    <a:pt x="328" y="160"/>
                  </a:lnTo>
                  <a:lnTo>
                    <a:pt x="330" y="160"/>
                  </a:lnTo>
                  <a:lnTo>
                    <a:pt x="332" y="162"/>
                  </a:lnTo>
                  <a:lnTo>
                    <a:pt x="334" y="164"/>
                  </a:lnTo>
                  <a:lnTo>
                    <a:pt x="336" y="166"/>
                  </a:lnTo>
                  <a:lnTo>
                    <a:pt x="338" y="166"/>
                  </a:lnTo>
                  <a:lnTo>
                    <a:pt x="342" y="168"/>
                  </a:lnTo>
                  <a:lnTo>
                    <a:pt x="342" y="170"/>
                  </a:lnTo>
                  <a:lnTo>
                    <a:pt x="342" y="172"/>
                  </a:lnTo>
                  <a:lnTo>
                    <a:pt x="340" y="172"/>
                  </a:lnTo>
                  <a:lnTo>
                    <a:pt x="338" y="176"/>
                  </a:lnTo>
                  <a:lnTo>
                    <a:pt x="338" y="182"/>
                  </a:lnTo>
                  <a:lnTo>
                    <a:pt x="338" y="184"/>
                  </a:lnTo>
                  <a:lnTo>
                    <a:pt x="338" y="186"/>
                  </a:lnTo>
                  <a:lnTo>
                    <a:pt x="340" y="186"/>
                  </a:lnTo>
                  <a:lnTo>
                    <a:pt x="342" y="186"/>
                  </a:lnTo>
                  <a:lnTo>
                    <a:pt x="344" y="186"/>
                  </a:lnTo>
                  <a:lnTo>
                    <a:pt x="354" y="202"/>
                  </a:lnTo>
                  <a:lnTo>
                    <a:pt x="356" y="206"/>
                  </a:lnTo>
                  <a:lnTo>
                    <a:pt x="356" y="224"/>
                  </a:lnTo>
                  <a:lnTo>
                    <a:pt x="358" y="226"/>
                  </a:lnTo>
                  <a:lnTo>
                    <a:pt x="360" y="228"/>
                  </a:lnTo>
                  <a:lnTo>
                    <a:pt x="360" y="230"/>
                  </a:lnTo>
                  <a:lnTo>
                    <a:pt x="360" y="234"/>
                  </a:lnTo>
                  <a:lnTo>
                    <a:pt x="362" y="236"/>
                  </a:lnTo>
                  <a:lnTo>
                    <a:pt x="362" y="238"/>
                  </a:lnTo>
                  <a:lnTo>
                    <a:pt x="360" y="240"/>
                  </a:lnTo>
                  <a:lnTo>
                    <a:pt x="360" y="242"/>
                  </a:lnTo>
                  <a:lnTo>
                    <a:pt x="366" y="246"/>
                  </a:lnTo>
                  <a:lnTo>
                    <a:pt x="366" y="248"/>
                  </a:lnTo>
                  <a:lnTo>
                    <a:pt x="368" y="250"/>
                  </a:lnTo>
                  <a:lnTo>
                    <a:pt x="370" y="258"/>
                  </a:lnTo>
                  <a:lnTo>
                    <a:pt x="370" y="260"/>
                  </a:lnTo>
                  <a:lnTo>
                    <a:pt x="368" y="260"/>
                  </a:lnTo>
                  <a:lnTo>
                    <a:pt x="370" y="268"/>
                  </a:lnTo>
                  <a:lnTo>
                    <a:pt x="372" y="274"/>
                  </a:lnTo>
                  <a:lnTo>
                    <a:pt x="370" y="282"/>
                  </a:lnTo>
                  <a:lnTo>
                    <a:pt x="372" y="290"/>
                  </a:lnTo>
                  <a:lnTo>
                    <a:pt x="374" y="292"/>
                  </a:lnTo>
                  <a:lnTo>
                    <a:pt x="386" y="294"/>
                  </a:lnTo>
                  <a:lnTo>
                    <a:pt x="390" y="292"/>
                  </a:lnTo>
                  <a:lnTo>
                    <a:pt x="398" y="290"/>
                  </a:lnTo>
                  <a:lnTo>
                    <a:pt x="406" y="290"/>
                  </a:lnTo>
                  <a:lnTo>
                    <a:pt x="410" y="294"/>
                  </a:lnTo>
                  <a:lnTo>
                    <a:pt x="416" y="300"/>
                  </a:lnTo>
                  <a:lnTo>
                    <a:pt x="412" y="306"/>
                  </a:lnTo>
                  <a:lnTo>
                    <a:pt x="410" y="312"/>
                  </a:lnTo>
                  <a:lnTo>
                    <a:pt x="408" y="318"/>
                  </a:lnTo>
                  <a:lnTo>
                    <a:pt x="408" y="320"/>
                  </a:lnTo>
                  <a:lnTo>
                    <a:pt x="406" y="328"/>
                  </a:lnTo>
                  <a:lnTo>
                    <a:pt x="402" y="338"/>
                  </a:lnTo>
                  <a:lnTo>
                    <a:pt x="396" y="354"/>
                  </a:lnTo>
                  <a:lnTo>
                    <a:pt x="384" y="360"/>
                  </a:lnTo>
                  <a:lnTo>
                    <a:pt x="382" y="360"/>
                  </a:lnTo>
                  <a:lnTo>
                    <a:pt x="368" y="366"/>
                  </a:lnTo>
                  <a:lnTo>
                    <a:pt x="354" y="374"/>
                  </a:lnTo>
                  <a:lnTo>
                    <a:pt x="350" y="374"/>
                  </a:lnTo>
                  <a:lnTo>
                    <a:pt x="348" y="376"/>
                  </a:lnTo>
                  <a:lnTo>
                    <a:pt x="346" y="380"/>
                  </a:lnTo>
                  <a:lnTo>
                    <a:pt x="344" y="378"/>
                  </a:lnTo>
                  <a:lnTo>
                    <a:pt x="342" y="380"/>
                  </a:lnTo>
                  <a:lnTo>
                    <a:pt x="338" y="386"/>
                  </a:lnTo>
                  <a:lnTo>
                    <a:pt x="336" y="388"/>
                  </a:lnTo>
                  <a:lnTo>
                    <a:pt x="336" y="392"/>
                  </a:lnTo>
                  <a:lnTo>
                    <a:pt x="334" y="394"/>
                  </a:lnTo>
                  <a:lnTo>
                    <a:pt x="334" y="396"/>
                  </a:lnTo>
                  <a:lnTo>
                    <a:pt x="334" y="400"/>
                  </a:lnTo>
                  <a:lnTo>
                    <a:pt x="336" y="400"/>
                  </a:lnTo>
                  <a:lnTo>
                    <a:pt x="344" y="412"/>
                  </a:lnTo>
                  <a:lnTo>
                    <a:pt x="340" y="414"/>
                  </a:lnTo>
                  <a:lnTo>
                    <a:pt x="336" y="416"/>
                  </a:lnTo>
                  <a:lnTo>
                    <a:pt x="336" y="418"/>
                  </a:lnTo>
                  <a:lnTo>
                    <a:pt x="336" y="420"/>
                  </a:lnTo>
                  <a:lnTo>
                    <a:pt x="334" y="422"/>
                  </a:lnTo>
                  <a:lnTo>
                    <a:pt x="334" y="424"/>
                  </a:lnTo>
                  <a:lnTo>
                    <a:pt x="332" y="426"/>
                  </a:lnTo>
                  <a:lnTo>
                    <a:pt x="332" y="430"/>
                  </a:lnTo>
                  <a:lnTo>
                    <a:pt x="332" y="432"/>
                  </a:lnTo>
                  <a:lnTo>
                    <a:pt x="332" y="434"/>
                  </a:lnTo>
                  <a:lnTo>
                    <a:pt x="334" y="440"/>
                  </a:lnTo>
                  <a:lnTo>
                    <a:pt x="336" y="446"/>
                  </a:lnTo>
                  <a:lnTo>
                    <a:pt x="336" y="448"/>
                  </a:lnTo>
                  <a:lnTo>
                    <a:pt x="338" y="456"/>
                  </a:lnTo>
                  <a:lnTo>
                    <a:pt x="340" y="470"/>
                  </a:lnTo>
                  <a:lnTo>
                    <a:pt x="338" y="470"/>
                  </a:lnTo>
                  <a:lnTo>
                    <a:pt x="336" y="474"/>
                  </a:lnTo>
                  <a:lnTo>
                    <a:pt x="334" y="474"/>
                  </a:lnTo>
                  <a:lnTo>
                    <a:pt x="334" y="476"/>
                  </a:lnTo>
                  <a:lnTo>
                    <a:pt x="332" y="478"/>
                  </a:lnTo>
                  <a:lnTo>
                    <a:pt x="332" y="480"/>
                  </a:lnTo>
                  <a:lnTo>
                    <a:pt x="332" y="482"/>
                  </a:lnTo>
                  <a:lnTo>
                    <a:pt x="330" y="484"/>
                  </a:lnTo>
                  <a:lnTo>
                    <a:pt x="330" y="486"/>
                  </a:lnTo>
                  <a:lnTo>
                    <a:pt x="330" y="488"/>
                  </a:lnTo>
                  <a:lnTo>
                    <a:pt x="332" y="488"/>
                  </a:lnTo>
                  <a:lnTo>
                    <a:pt x="332" y="490"/>
                  </a:lnTo>
                  <a:lnTo>
                    <a:pt x="332" y="492"/>
                  </a:lnTo>
                  <a:lnTo>
                    <a:pt x="336" y="496"/>
                  </a:lnTo>
                  <a:lnTo>
                    <a:pt x="336" y="498"/>
                  </a:lnTo>
                  <a:lnTo>
                    <a:pt x="338" y="498"/>
                  </a:lnTo>
                  <a:lnTo>
                    <a:pt x="338" y="500"/>
                  </a:lnTo>
                  <a:lnTo>
                    <a:pt x="344" y="508"/>
                  </a:lnTo>
                  <a:lnTo>
                    <a:pt x="344" y="510"/>
                  </a:lnTo>
                  <a:lnTo>
                    <a:pt x="342" y="516"/>
                  </a:lnTo>
                  <a:lnTo>
                    <a:pt x="342" y="518"/>
                  </a:lnTo>
                  <a:lnTo>
                    <a:pt x="340" y="518"/>
                  </a:lnTo>
                  <a:lnTo>
                    <a:pt x="338" y="518"/>
                  </a:lnTo>
                  <a:lnTo>
                    <a:pt x="326" y="522"/>
                  </a:lnTo>
                  <a:lnTo>
                    <a:pt x="324" y="522"/>
                  </a:lnTo>
                  <a:lnTo>
                    <a:pt x="322" y="520"/>
                  </a:lnTo>
                  <a:lnTo>
                    <a:pt x="320" y="520"/>
                  </a:lnTo>
                  <a:lnTo>
                    <a:pt x="318" y="522"/>
                  </a:lnTo>
                  <a:lnTo>
                    <a:pt x="318" y="524"/>
                  </a:lnTo>
                  <a:lnTo>
                    <a:pt x="316" y="526"/>
                  </a:lnTo>
                  <a:lnTo>
                    <a:pt x="316" y="528"/>
                  </a:lnTo>
                  <a:lnTo>
                    <a:pt x="316" y="530"/>
                  </a:lnTo>
                  <a:lnTo>
                    <a:pt x="314" y="534"/>
                  </a:lnTo>
                  <a:lnTo>
                    <a:pt x="306" y="548"/>
                  </a:lnTo>
                  <a:lnTo>
                    <a:pt x="304" y="548"/>
                  </a:lnTo>
                  <a:lnTo>
                    <a:pt x="302" y="554"/>
                  </a:lnTo>
                  <a:lnTo>
                    <a:pt x="302" y="556"/>
                  </a:lnTo>
                  <a:lnTo>
                    <a:pt x="300" y="564"/>
                  </a:lnTo>
                  <a:lnTo>
                    <a:pt x="300" y="566"/>
                  </a:lnTo>
                  <a:lnTo>
                    <a:pt x="298" y="568"/>
                  </a:lnTo>
                  <a:lnTo>
                    <a:pt x="296" y="568"/>
                  </a:lnTo>
                  <a:lnTo>
                    <a:pt x="294" y="568"/>
                  </a:lnTo>
                  <a:lnTo>
                    <a:pt x="292" y="572"/>
                  </a:lnTo>
                  <a:lnTo>
                    <a:pt x="292" y="574"/>
                  </a:lnTo>
                  <a:lnTo>
                    <a:pt x="290" y="576"/>
                  </a:lnTo>
                  <a:lnTo>
                    <a:pt x="288" y="578"/>
                  </a:lnTo>
                  <a:lnTo>
                    <a:pt x="280" y="586"/>
                  </a:lnTo>
                  <a:lnTo>
                    <a:pt x="278" y="588"/>
                  </a:lnTo>
                  <a:lnTo>
                    <a:pt x="276" y="590"/>
                  </a:lnTo>
                  <a:lnTo>
                    <a:pt x="274" y="598"/>
                  </a:lnTo>
                  <a:lnTo>
                    <a:pt x="274" y="600"/>
                  </a:lnTo>
                  <a:lnTo>
                    <a:pt x="272" y="600"/>
                  </a:lnTo>
                  <a:lnTo>
                    <a:pt x="270" y="604"/>
                  </a:lnTo>
                  <a:lnTo>
                    <a:pt x="270" y="608"/>
                  </a:lnTo>
                  <a:lnTo>
                    <a:pt x="272" y="610"/>
                  </a:lnTo>
                  <a:lnTo>
                    <a:pt x="272" y="612"/>
                  </a:lnTo>
                  <a:lnTo>
                    <a:pt x="270" y="616"/>
                  </a:lnTo>
                  <a:lnTo>
                    <a:pt x="268" y="624"/>
                  </a:lnTo>
                  <a:lnTo>
                    <a:pt x="268" y="626"/>
                  </a:lnTo>
                  <a:lnTo>
                    <a:pt x="268" y="628"/>
                  </a:lnTo>
                  <a:lnTo>
                    <a:pt x="266" y="630"/>
                  </a:lnTo>
                  <a:lnTo>
                    <a:pt x="262" y="630"/>
                  </a:lnTo>
                  <a:lnTo>
                    <a:pt x="260" y="632"/>
                  </a:lnTo>
                  <a:lnTo>
                    <a:pt x="256" y="638"/>
                  </a:lnTo>
                  <a:lnTo>
                    <a:pt x="256" y="642"/>
                  </a:lnTo>
                  <a:lnTo>
                    <a:pt x="258" y="646"/>
                  </a:lnTo>
                  <a:lnTo>
                    <a:pt x="260" y="652"/>
                  </a:lnTo>
                  <a:lnTo>
                    <a:pt x="260" y="654"/>
                  </a:lnTo>
                  <a:lnTo>
                    <a:pt x="260" y="656"/>
                  </a:lnTo>
                  <a:lnTo>
                    <a:pt x="258" y="658"/>
                  </a:lnTo>
                  <a:lnTo>
                    <a:pt x="260" y="660"/>
                  </a:lnTo>
                  <a:lnTo>
                    <a:pt x="262" y="662"/>
                  </a:lnTo>
                  <a:lnTo>
                    <a:pt x="262" y="666"/>
                  </a:lnTo>
                  <a:lnTo>
                    <a:pt x="262" y="672"/>
                  </a:lnTo>
                  <a:lnTo>
                    <a:pt x="262" y="676"/>
                  </a:lnTo>
                  <a:lnTo>
                    <a:pt x="260" y="676"/>
                  </a:lnTo>
                  <a:lnTo>
                    <a:pt x="262" y="682"/>
                  </a:lnTo>
                  <a:lnTo>
                    <a:pt x="264" y="684"/>
                  </a:lnTo>
                  <a:lnTo>
                    <a:pt x="264" y="688"/>
                  </a:lnTo>
                  <a:lnTo>
                    <a:pt x="262" y="694"/>
                  </a:lnTo>
                  <a:lnTo>
                    <a:pt x="260" y="696"/>
                  </a:lnTo>
                  <a:lnTo>
                    <a:pt x="256" y="698"/>
                  </a:lnTo>
                  <a:lnTo>
                    <a:pt x="254" y="698"/>
                  </a:lnTo>
                  <a:lnTo>
                    <a:pt x="250" y="700"/>
                  </a:lnTo>
                  <a:lnTo>
                    <a:pt x="246" y="706"/>
                  </a:lnTo>
                  <a:lnTo>
                    <a:pt x="244" y="710"/>
                  </a:lnTo>
                  <a:lnTo>
                    <a:pt x="244" y="714"/>
                  </a:lnTo>
                  <a:lnTo>
                    <a:pt x="240" y="722"/>
                  </a:lnTo>
                  <a:lnTo>
                    <a:pt x="240" y="724"/>
                  </a:lnTo>
                  <a:lnTo>
                    <a:pt x="240" y="726"/>
                  </a:lnTo>
                  <a:lnTo>
                    <a:pt x="240" y="728"/>
                  </a:lnTo>
                  <a:lnTo>
                    <a:pt x="242" y="730"/>
                  </a:lnTo>
                  <a:lnTo>
                    <a:pt x="242" y="732"/>
                  </a:lnTo>
                  <a:lnTo>
                    <a:pt x="238" y="736"/>
                  </a:lnTo>
                  <a:lnTo>
                    <a:pt x="234" y="736"/>
                  </a:lnTo>
                  <a:lnTo>
                    <a:pt x="230" y="740"/>
                  </a:lnTo>
                  <a:lnTo>
                    <a:pt x="228" y="748"/>
                  </a:lnTo>
                  <a:lnTo>
                    <a:pt x="228" y="756"/>
                  </a:lnTo>
                  <a:lnTo>
                    <a:pt x="226" y="760"/>
                  </a:lnTo>
                  <a:lnTo>
                    <a:pt x="226" y="762"/>
                  </a:lnTo>
                  <a:lnTo>
                    <a:pt x="232" y="776"/>
                  </a:lnTo>
                  <a:lnTo>
                    <a:pt x="234" y="776"/>
                  </a:lnTo>
                  <a:lnTo>
                    <a:pt x="234" y="778"/>
                  </a:lnTo>
                  <a:lnTo>
                    <a:pt x="236" y="780"/>
                  </a:lnTo>
                  <a:lnTo>
                    <a:pt x="238" y="780"/>
                  </a:lnTo>
                  <a:lnTo>
                    <a:pt x="240" y="778"/>
                  </a:lnTo>
                  <a:lnTo>
                    <a:pt x="242" y="780"/>
                  </a:lnTo>
                  <a:lnTo>
                    <a:pt x="244" y="782"/>
                  </a:lnTo>
                  <a:lnTo>
                    <a:pt x="242" y="788"/>
                  </a:lnTo>
                  <a:lnTo>
                    <a:pt x="240" y="788"/>
                  </a:lnTo>
                  <a:lnTo>
                    <a:pt x="238" y="790"/>
                  </a:lnTo>
                  <a:lnTo>
                    <a:pt x="240" y="798"/>
                  </a:lnTo>
                  <a:lnTo>
                    <a:pt x="240" y="800"/>
                  </a:lnTo>
                  <a:lnTo>
                    <a:pt x="244" y="802"/>
                  </a:lnTo>
                  <a:lnTo>
                    <a:pt x="244" y="804"/>
                  </a:lnTo>
                  <a:lnTo>
                    <a:pt x="246" y="810"/>
                  </a:lnTo>
                  <a:lnTo>
                    <a:pt x="246" y="812"/>
                  </a:lnTo>
                  <a:lnTo>
                    <a:pt x="246" y="814"/>
                  </a:lnTo>
                  <a:lnTo>
                    <a:pt x="246" y="816"/>
                  </a:lnTo>
                  <a:lnTo>
                    <a:pt x="246" y="818"/>
                  </a:lnTo>
                  <a:lnTo>
                    <a:pt x="246" y="826"/>
                  </a:lnTo>
                  <a:lnTo>
                    <a:pt x="252" y="832"/>
                  </a:lnTo>
                  <a:lnTo>
                    <a:pt x="254" y="832"/>
                  </a:lnTo>
                  <a:lnTo>
                    <a:pt x="252" y="836"/>
                  </a:lnTo>
                  <a:lnTo>
                    <a:pt x="250" y="840"/>
                  </a:lnTo>
                  <a:lnTo>
                    <a:pt x="248" y="842"/>
                  </a:lnTo>
                  <a:lnTo>
                    <a:pt x="250" y="844"/>
                  </a:lnTo>
                  <a:lnTo>
                    <a:pt x="250" y="846"/>
                  </a:lnTo>
                  <a:lnTo>
                    <a:pt x="248" y="848"/>
                  </a:lnTo>
                  <a:lnTo>
                    <a:pt x="248" y="850"/>
                  </a:lnTo>
                  <a:lnTo>
                    <a:pt x="254" y="854"/>
                  </a:lnTo>
                  <a:lnTo>
                    <a:pt x="256" y="854"/>
                  </a:lnTo>
                  <a:lnTo>
                    <a:pt x="258" y="852"/>
                  </a:lnTo>
                  <a:lnTo>
                    <a:pt x="260" y="852"/>
                  </a:lnTo>
                  <a:lnTo>
                    <a:pt x="262" y="854"/>
                  </a:lnTo>
                  <a:lnTo>
                    <a:pt x="264" y="860"/>
                  </a:lnTo>
                  <a:lnTo>
                    <a:pt x="264" y="862"/>
                  </a:lnTo>
                  <a:lnTo>
                    <a:pt x="262" y="862"/>
                  </a:lnTo>
                  <a:lnTo>
                    <a:pt x="260" y="870"/>
                  </a:lnTo>
                  <a:lnTo>
                    <a:pt x="258" y="882"/>
                  </a:lnTo>
                  <a:lnTo>
                    <a:pt x="258" y="884"/>
                  </a:lnTo>
                  <a:lnTo>
                    <a:pt x="258" y="888"/>
                  </a:lnTo>
                  <a:lnTo>
                    <a:pt x="260" y="898"/>
                  </a:lnTo>
                  <a:lnTo>
                    <a:pt x="262" y="906"/>
                  </a:lnTo>
                  <a:lnTo>
                    <a:pt x="258" y="908"/>
                  </a:lnTo>
                  <a:lnTo>
                    <a:pt x="256" y="908"/>
                  </a:lnTo>
                  <a:lnTo>
                    <a:pt x="254" y="908"/>
                  </a:lnTo>
                  <a:lnTo>
                    <a:pt x="252" y="908"/>
                  </a:lnTo>
                  <a:lnTo>
                    <a:pt x="250" y="908"/>
                  </a:lnTo>
                  <a:lnTo>
                    <a:pt x="250" y="912"/>
                  </a:lnTo>
                  <a:lnTo>
                    <a:pt x="250" y="914"/>
                  </a:lnTo>
                  <a:lnTo>
                    <a:pt x="244" y="922"/>
                  </a:lnTo>
                  <a:lnTo>
                    <a:pt x="242" y="928"/>
                  </a:lnTo>
                  <a:lnTo>
                    <a:pt x="238" y="940"/>
                  </a:lnTo>
                  <a:lnTo>
                    <a:pt x="234" y="946"/>
                  </a:lnTo>
                  <a:lnTo>
                    <a:pt x="234" y="948"/>
                  </a:lnTo>
                  <a:lnTo>
                    <a:pt x="234" y="950"/>
                  </a:lnTo>
                  <a:lnTo>
                    <a:pt x="234" y="952"/>
                  </a:lnTo>
                  <a:lnTo>
                    <a:pt x="234" y="956"/>
                  </a:lnTo>
                  <a:lnTo>
                    <a:pt x="230" y="958"/>
                  </a:lnTo>
                  <a:lnTo>
                    <a:pt x="228" y="958"/>
                  </a:lnTo>
                  <a:lnTo>
                    <a:pt x="226" y="958"/>
                  </a:lnTo>
                  <a:lnTo>
                    <a:pt x="226" y="960"/>
                  </a:lnTo>
                  <a:lnTo>
                    <a:pt x="226" y="962"/>
                  </a:lnTo>
                  <a:lnTo>
                    <a:pt x="226" y="964"/>
                  </a:lnTo>
                  <a:lnTo>
                    <a:pt x="232" y="966"/>
                  </a:lnTo>
                  <a:lnTo>
                    <a:pt x="232" y="976"/>
                  </a:lnTo>
                  <a:lnTo>
                    <a:pt x="232" y="980"/>
                  </a:lnTo>
                  <a:lnTo>
                    <a:pt x="232" y="982"/>
                  </a:lnTo>
                  <a:lnTo>
                    <a:pt x="232" y="984"/>
                  </a:lnTo>
                  <a:lnTo>
                    <a:pt x="234" y="986"/>
                  </a:lnTo>
                  <a:lnTo>
                    <a:pt x="234" y="992"/>
                  </a:lnTo>
                  <a:lnTo>
                    <a:pt x="232" y="994"/>
                  </a:lnTo>
                  <a:lnTo>
                    <a:pt x="232" y="996"/>
                  </a:lnTo>
                  <a:lnTo>
                    <a:pt x="232" y="1000"/>
                  </a:lnTo>
                  <a:lnTo>
                    <a:pt x="232" y="1006"/>
                  </a:lnTo>
                  <a:lnTo>
                    <a:pt x="230" y="1008"/>
                  </a:lnTo>
                  <a:lnTo>
                    <a:pt x="230" y="1010"/>
                  </a:lnTo>
                  <a:lnTo>
                    <a:pt x="228" y="1010"/>
                  </a:lnTo>
                  <a:lnTo>
                    <a:pt x="226" y="1010"/>
                  </a:lnTo>
                  <a:lnTo>
                    <a:pt x="224" y="1010"/>
                  </a:lnTo>
                  <a:lnTo>
                    <a:pt x="218" y="1016"/>
                  </a:lnTo>
                  <a:lnTo>
                    <a:pt x="216" y="1020"/>
                  </a:lnTo>
                  <a:lnTo>
                    <a:pt x="218" y="1022"/>
                  </a:lnTo>
                  <a:lnTo>
                    <a:pt x="218" y="1024"/>
                  </a:lnTo>
                  <a:lnTo>
                    <a:pt x="206" y="1028"/>
                  </a:lnTo>
                  <a:lnTo>
                    <a:pt x="204" y="1028"/>
                  </a:lnTo>
                  <a:lnTo>
                    <a:pt x="204" y="1026"/>
                  </a:lnTo>
                  <a:lnTo>
                    <a:pt x="202" y="1028"/>
                  </a:lnTo>
                  <a:lnTo>
                    <a:pt x="202" y="1030"/>
                  </a:lnTo>
                  <a:lnTo>
                    <a:pt x="198" y="1042"/>
                  </a:lnTo>
                  <a:lnTo>
                    <a:pt x="194" y="1046"/>
                  </a:lnTo>
                  <a:lnTo>
                    <a:pt x="196" y="1054"/>
                  </a:lnTo>
                  <a:lnTo>
                    <a:pt x="198" y="1062"/>
                  </a:lnTo>
                  <a:lnTo>
                    <a:pt x="198" y="1066"/>
                  </a:lnTo>
                  <a:lnTo>
                    <a:pt x="196" y="1068"/>
                  </a:lnTo>
                  <a:lnTo>
                    <a:pt x="194" y="1070"/>
                  </a:lnTo>
                  <a:lnTo>
                    <a:pt x="194" y="1072"/>
                  </a:lnTo>
                  <a:lnTo>
                    <a:pt x="196" y="1076"/>
                  </a:lnTo>
                  <a:lnTo>
                    <a:pt x="198" y="1078"/>
                  </a:lnTo>
                  <a:lnTo>
                    <a:pt x="198" y="1080"/>
                  </a:lnTo>
                  <a:lnTo>
                    <a:pt x="198" y="1088"/>
                  </a:lnTo>
                  <a:lnTo>
                    <a:pt x="196" y="1088"/>
                  </a:lnTo>
                  <a:lnTo>
                    <a:pt x="194" y="1090"/>
                  </a:lnTo>
                  <a:lnTo>
                    <a:pt x="194" y="1092"/>
                  </a:lnTo>
                  <a:lnTo>
                    <a:pt x="196" y="1096"/>
                  </a:lnTo>
                  <a:lnTo>
                    <a:pt x="196" y="1098"/>
                  </a:lnTo>
                  <a:lnTo>
                    <a:pt x="196" y="1100"/>
                  </a:lnTo>
                  <a:lnTo>
                    <a:pt x="198" y="1100"/>
                  </a:lnTo>
                  <a:lnTo>
                    <a:pt x="198" y="1104"/>
                  </a:lnTo>
                  <a:lnTo>
                    <a:pt x="202" y="1112"/>
                  </a:lnTo>
                  <a:lnTo>
                    <a:pt x="202" y="1118"/>
                  </a:lnTo>
                  <a:lnTo>
                    <a:pt x="202" y="1120"/>
                  </a:lnTo>
                  <a:lnTo>
                    <a:pt x="202" y="1122"/>
                  </a:lnTo>
                  <a:lnTo>
                    <a:pt x="202" y="1126"/>
                  </a:lnTo>
                  <a:lnTo>
                    <a:pt x="204" y="1132"/>
                  </a:lnTo>
                  <a:lnTo>
                    <a:pt x="206" y="1134"/>
                  </a:lnTo>
                  <a:lnTo>
                    <a:pt x="206" y="1136"/>
                  </a:lnTo>
                  <a:lnTo>
                    <a:pt x="208" y="1136"/>
                  </a:lnTo>
                  <a:lnTo>
                    <a:pt x="210" y="1138"/>
                  </a:lnTo>
                  <a:lnTo>
                    <a:pt x="210" y="1140"/>
                  </a:lnTo>
                  <a:lnTo>
                    <a:pt x="210" y="1142"/>
                  </a:lnTo>
                  <a:lnTo>
                    <a:pt x="208" y="1148"/>
                  </a:lnTo>
                  <a:lnTo>
                    <a:pt x="206" y="1150"/>
                  </a:lnTo>
                  <a:lnTo>
                    <a:pt x="202" y="1150"/>
                  </a:lnTo>
                  <a:lnTo>
                    <a:pt x="200" y="1150"/>
                  </a:lnTo>
                  <a:lnTo>
                    <a:pt x="198" y="1150"/>
                  </a:lnTo>
                  <a:lnTo>
                    <a:pt x="190" y="1154"/>
                  </a:lnTo>
                  <a:lnTo>
                    <a:pt x="188" y="1156"/>
                  </a:lnTo>
                  <a:lnTo>
                    <a:pt x="186" y="1158"/>
                  </a:lnTo>
                  <a:lnTo>
                    <a:pt x="184" y="1158"/>
                  </a:lnTo>
                  <a:lnTo>
                    <a:pt x="184" y="1160"/>
                  </a:lnTo>
                  <a:lnTo>
                    <a:pt x="184" y="1162"/>
                  </a:lnTo>
                  <a:lnTo>
                    <a:pt x="182" y="1164"/>
                  </a:lnTo>
                  <a:lnTo>
                    <a:pt x="182" y="1166"/>
                  </a:lnTo>
                  <a:lnTo>
                    <a:pt x="184" y="1166"/>
                  </a:lnTo>
                  <a:lnTo>
                    <a:pt x="184" y="1170"/>
                  </a:lnTo>
                  <a:lnTo>
                    <a:pt x="184" y="1176"/>
                  </a:lnTo>
                  <a:lnTo>
                    <a:pt x="184" y="1182"/>
                  </a:lnTo>
                  <a:lnTo>
                    <a:pt x="182" y="1186"/>
                  </a:lnTo>
                  <a:lnTo>
                    <a:pt x="180" y="1194"/>
                  </a:lnTo>
                  <a:lnTo>
                    <a:pt x="180" y="1196"/>
                  </a:lnTo>
                  <a:lnTo>
                    <a:pt x="178" y="1198"/>
                  </a:lnTo>
                  <a:lnTo>
                    <a:pt x="174" y="1198"/>
                  </a:lnTo>
                  <a:lnTo>
                    <a:pt x="172" y="1196"/>
                  </a:lnTo>
                  <a:lnTo>
                    <a:pt x="170" y="1194"/>
                  </a:lnTo>
                  <a:lnTo>
                    <a:pt x="170" y="1198"/>
                  </a:lnTo>
                  <a:lnTo>
                    <a:pt x="170" y="1204"/>
                  </a:lnTo>
                  <a:lnTo>
                    <a:pt x="170" y="1210"/>
                  </a:lnTo>
                  <a:lnTo>
                    <a:pt x="172" y="1216"/>
                  </a:lnTo>
                  <a:lnTo>
                    <a:pt x="170" y="1220"/>
                  </a:lnTo>
                  <a:lnTo>
                    <a:pt x="168" y="1222"/>
                  </a:lnTo>
                  <a:lnTo>
                    <a:pt x="166" y="1224"/>
                  </a:lnTo>
                  <a:lnTo>
                    <a:pt x="164" y="1228"/>
                  </a:lnTo>
                  <a:lnTo>
                    <a:pt x="166" y="1230"/>
                  </a:lnTo>
                  <a:lnTo>
                    <a:pt x="170" y="1234"/>
                  </a:lnTo>
                  <a:lnTo>
                    <a:pt x="170" y="1232"/>
                  </a:lnTo>
                  <a:lnTo>
                    <a:pt x="170" y="1234"/>
                  </a:lnTo>
                  <a:lnTo>
                    <a:pt x="170" y="1236"/>
                  </a:lnTo>
                  <a:lnTo>
                    <a:pt x="170" y="1240"/>
                  </a:lnTo>
                  <a:lnTo>
                    <a:pt x="168" y="1240"/>
                  </a:lnTo>
                  <a:lnTo>
                    <a:pt x="166" y="1240"/>
                  </a:lnTo>
                  <a:lnTo>
                    <a:pt x="164" y="1246"/>
                  </a:lnTo>
                  <a:lnTo>
                    <a:pt x="164" y="1248"/>
                  </a:lnTo>
                  <a:lnTo>
                    <a:pt x="164" y="1250"/>
                  </a:lnTo>
                  <a:lnTo>
                    <a:pt x="162" y="1252"/>
                  </a:lnTo>
                  <a:lnTo>
                    <a:pt x="162" y="1254"/>
                  </a:lnTo>
                  <a:lnTo>
                    <a:pt x="160" y="1254"/>
                  </a:lnTo>
                  <a:lnTo>
                    <a:pt x="160" y="1256"/>
                  </a:lnTo>
                  <a:lnTo>
                    <a:pt x="158" y="1258"/>
                  </a:lnTo>
                  <a:lnTo>
                    <a:pt x="160" y="1260"/>
                  </a:lnTo>
                  <a:lnTo>
                    <a:pt x="162" y="1266"/>
                  </a:lnTo>
                  <a:lnTo>
                    <a:pt x="164" y="1270"/>
                  </a:lnTo>
                  <a:lnTo>
                    <a:pt x="162" y="1272"/>
                  </a:lnTo>
                  <a:lnTo>
                    <a:pt x="164" y="1276"/>
                  </a:lnTo>
                  <a:lnTo>
                    <a:pt x="162" y="1284"/>
                  </a:lnTo>
                  <a:lnTo>
                    <a:pt x="162" y="1286"/>
                  </a:lnTo>
                  <a:lnTo>
                    <a:pt x="162" y="1288"/>
                  </a:lnTo>
                  <a:lnTo>
                    <a:pt x="160" y="1292"/>
                  </a:lnTo>
                  <a:lnTo>
                    <a:pt x="160" y="1294"/>
                  </a:lnTo>
                  <a:lnTo>
                    <a:pt x="162" y="1294"/>
                  </a:lnTo>
                  <a:lnTo>
                    <a:pt x="162" y="1296"/>
                  </a:lnTo>
                  <a:lnTo>
                    <a:pt x="162" y="1302"/>
                  </a:lnTo>
                  <a:lnTo>
                    <a:pt x="160" y="1304"/>
                  </a:lnTo>
                  <a:lnTo>
                    <a:pt x="160" y="1306"/>
                  </a:lnTo>
                  <a:lnTo>
                    <a:pt x="160" y="1308"/>
                  </a:lnTo>
                  <a:lnTo>
                    <a:pt x="162" y="1314"/>
                  </a:lnTo>
                  <a:lnTo>
                    <a:pt x="166" y="1318"/>
                  </a:lnTo>
                  <a:lnTo>
                    <a:pt x="166" y="1320"/>
                  </a:lnTo>
                  <a:lnTo>
                    <a:pt x="166" y="1322"/>
                  </a:lnTo>
                  <a:lnTo>
                    <a:pt x="166" y="1326"/>
                  </a:lnTo>
                  <a:lnTo>
                    <a:pt x="168" y="1328"/>
                  </a:lnTo>
                  <a:lnTo>
                    <a:pt x="168" y="1332"/>
                  </a:lnTo>
                  <a:lnTo>
                    <a:pt x="166" y="1332"/>
                  </a:lnTo>
                  <a:lnTo>
                    <a:pt x="160" y="1336"/>
                  </a:lnTo>
                  <a:lnTo>
                    <a:pt x="158" y="1334"/>
                  </a:lnTo>
                  <a:lnTo>
                    <a:pt x="158" y="1332"/>
                  </a:lnTo>
                  <a:lnTo>
                    <a:pt x="156" y="1332"/>
                  </a:lnTo>
                  <a:lnTo>
                    <a:pt x="154" y="1332"/>
                  </a:lnTo>
                  <a:lnTo>
                    <a:pt x="154" y="1334"/>
                  </a:lnTo>
                  <a:lnTo>
                    <a:pt x="150" y="1342"/>
                  </a:lnTo>
                  <a:lnTo>
                    <a:pt x="152" y="1344"/>
                  </a:lnTo>
                  <a:lnTo>
                    <a:pt x="154" y="1346"/>
                  </a:lnTo>
                  <a:lnTo>
                    <a:pt x="152" y="1354"/>
                  </a:lnTo>
                  <a:lnTo>
                    <a:pt x="150" y="1356"/>
                  </a:lnTo>
                  <a:lnTo>
                    <a:pt x="150" y="1358"/>
                  </a:lnTo>
                  <a:lnTo>
                    <a:pt x="150" y="1362"/>
                  </a:lnTo>
                  <a:lnTo>
                    <a:pt x="152" y="1366"/>
                  </a:lnTo>
                  <a:lnTo>
                    <a:pt x="152" y="1368"/>
                  </a:lnTo>
                  <a:lnTo>
                    <a:pt x="152" y="1372"/>
                  </a:lnTo>
                  <a:lnTo>
                    <a:pt x="152" y="1374"/>
                  </a:lnTo>
                  <a:lnTo>
                    <a:pt x="150" y="1376"/>
                  </a:lnTo>
                  <a:lnTo>
                    <a:pt x="150" y="1378"/>
                  </a:lnTo>
                  <a:lnTo>
                    <a:pt x="150" y="1380"/>
                  </a:lnTo>
                  <a:lnTo>
                    <a:pt x="150" y="1382"/>
                  </a:lnTo>
                  <a:lnTo>
                    <a:pt x="152" y="1386"/>
                  </a:lnTo>
                  <a:lnTo>
                    <a:pt x="156" y="1388"/>
                  </a:lnTo>
                  <a:lnTo>
                    <a:pt x="158" y="1388"/>
                  </a:lnTo>
                  <a:lnTo>
                    <a:pt x="162" y="1388"/>
                  </a:lnTo>
                  <a:lnTo>
                    <a:pt x="168" y="1390"/>
                  </a:lnTo>
                  <a:lnTo>
                    <a:pt x="168" y="1396"/>
                  </a:lnTo>
                  <a:lnTo>
                    <a:pt x="166" y="1396"/>
                  </a:lnTo>
                  <a:lnTo>
                    <a:pt x="164" y="1396"/>
                  </a:lnTo>
                  <a:lnTo>
                    <a:pt x="160" y="1398"/>
                  </a:lnTo>
                  <a:lnTo>
                    <a:pt x="158" y="1402"/>
                  </a:lnTo>
                  <a:lnTo>
                    <a:pt x="158" y="1404"/>
                  </a:lnTo>
                  <a:lnTo>
                    <a:pt x="162" y="1406"/>
                  </a:lnTo>
                  <a:lnTo>
                    <a:pt x="168" y="1412"/>
                  </a:lnTo>
                  <a:lnTo>
                    <a:pt x="170" y="1416"/>
                  </a:lnTo>
                  <a:lnTo>
                    <a:pt x="168" y="1418"/>
                  </a:lnTo>
                  <a:lnTo>
                    <a:pt x="166" y="1420"/>
                  </a:lnTo>
                  <a:lnTo>
                    <a:pt x="164" y="1420"/>
                  </a:lnTo>
                  <a:lnTo>
                    <a:pt x="164" y="1422"/>
                  </a:lnTo>
                  <a:lnTo>
                    <a:pt x="166" y="1424"/>
                  </a:lnTo>
                  <a:lnTo>
                    <a:pt x="168" y="1426"/>
                  </a:lnTo>
                  <a:lnTo>
                    <a:pt x="170" y="1430"/>
                  </a:lnTo>
                  <a:lnTo>
                    <a:pt x="170" y="1432"/>
                  </a:lnTo>
                  <a:lnTo>
                    <a:pt x="166" y="1438"/>
                  </a:lnTo>
                  <a:lnTo>
                    <a:pt x="164" y="1440"/>
                  </a:lnTo>
                  <a:lnTo>
                    <a:pt x="164" y="1442"/>
                  </a:lnTo>
                  <a:lnTo>
                    <a:pt x="164" y="1444"/>
                  </a:lnTo>
                  <a:lnTo>
                    <a:pt x="164" y="1446"/>
                  </a:lnTo>
                  <a:lnTo>
                    <a:pt x="164" y="1452"/>
                  </a:lnTo>
                  <a:lnTo>
                    <a:pt x="162" y="1454"/>
                  </a:lnTo>
                  <a:lnTo>
                    <a:pt x="162" y="1456"/>
                  </a:lnTo>
                  <a:lnTo>
                    <a:pt x="164" y="1456"/>
                  </a:lnTo>
                  <a:lnTo>
                    <a:pt x="170" y="1456"/>
                  </a:lnTo>
                  <a:lnTo>
                    <a:pt x="174" y="1456"/>
                  </a:lnTo>
                  <a:lnTo>
                    <a:pt x="178" y="1456"/>
                  </a:lnTo>
                  <a:lnTo>
                    <a:pt x="180" y="1456"/>
                  </a:lnTo>
                  <a:lnTo>
                    <a:pt x="190" y="1458"/>
                  </a:lnTo>
                  <a:lnTo>
                    <a:pt x="190" y="1460"/>
                  </a:lnTo>
                  <a:lnTo>
                    <a:pt x="192" y="1462"/>
                  </a:lnTo>
                  <a:lnTo>
                    <a:pt x="192" y="1464"/>
                  </a:lnTo>
                  <a:lnTo>
                    <a:pt x="192" y="1466"/>
                  </a:lnTo>
                  <a:lnTo>
                    <a:pt x="190" y="1466"/>
                  </a:lnTo>
                  <a:lnTo>
                    <a:pt x="188" y="1470"/>
                  </a:lnTo>
                  <a:lnTo>
                    <a:pt x="188" y="1472"/>
                  </a:lnTo>
                  <a:lnTo>
                    <a:pt x="188" y="1474"/>
                  </a:lnTo>
                  <a:lnTo>
                    <a:pt x="186" y="1478"/>
                  </a:lnTo>
                  <a:lnTo>
                    <a:pt x="184" y="1478"/>
                  </a:lnTo>
                  <a:lnTo>
                    <a:pt x="182" y="1478"/>
                  </a:lnTo>
                  <a:lnTo>
                    <a:pt x="180" y="1478"/>
                  </a:lnTo>
                  <a:lnTo>
                    <a:pt x="178" y="1476"/>
                  </a:lnTo>
                  <a:lnTo>
                    <a:pt x="178" y="1474"/>
                  </a:lnTo>
                  <a:lnTo>
                    <a:pt x="176" y="1474"/>
                  </a:lnTo>
                  <a:lnTo>
                    <a:pt x="174" y="1476"/>
                  </a:lnTo>
                  <a:lnTo>
                    <a:pt x="172" y="1476"/>
                  </a:lnTo>
                  <a:lnTo>
                    <a:pt x="170" y="1476"/>
                  </a:lnTo>
                  <a:lnTo>
                    <a:pt x="168" y="1476"/>
                  </a:lnTo>
                  <a:lnTo>
                    <a:pt x="164" y="1476"/>
                  </a:lnTo>
                  <a:lnTo>
                    <a:pt x="164" y="1478"/>
                  </a:lnTo>
                  <a:lnTo>
                    <a:pt x="162" y="1478"/>
                  </a:lnTo>
                  <a:lnTo>
                    <a:pt x="156" y="1476"/>
                  </a:lnTo>
                  <a:lnTo>
                    <a:pt x="154" y="1476"/>
                  </a:lnTo>
                  <a:lnTo>
                    <a:pt x="152" y="1476"/>
                  </a:lnTo>
                  <a:lnTo>
                    <a:pt x="152" y="1478"/>
                  </a:lnTo>
                  <a:lnTo>
                    <a:pt x="152" y="1482"/>
                  </a:lnTo>
                  <a:lnTo>
                    <a:pt x="158" y="1484"/>
                  </a:lnTo>
                  <a:lnTo>
                    <a:pt x="164" y="1484"/>
                  </a:lnTo>
                  <a:lnTo>
                    <a:pt x="166" y="1484"/>
                  </a:lnTo>
                  <a:lnTo>
                    <a:pt x="172" y="1486"/>
                  </a:lnTo>
                  <a:lnTo>
                    <a:pt x="174" y="1488"/>
                  </a:lnTo>
                  <a:lnTo>
                    <a:pt x="176" y="1492"/>
                  </a:lnTo>
                  <a:lnTo>
                    <a:pt x="184" y="1500"/>
                  </a:lnTo>
                  <a:lnTo>
                    <a:pt x="184" y="1504"/>
                  </a:lnTo>
                  <a:lnTo>
                    <a:pt x="178" y="1514"/>
                  </a:lnTo>
                  <a:lnTo>
                    <a:pt x="170" y="1516"/>
                  </a:lnTo>
                  <a:lnTo>
                    <a:pt x="168" y="1516"/>
                  </a:lnTo>
                  <a:lnTo>
                    <a:pt x="168" y="1518"/>
                  </a:lnTo>
                  <a:lnTo>
                    <a:pt x="166" y="1518"/>
                  </a:lnTo>
                  <a:lnTo>
                    <a:pt x="164" y="1524"/>
                  </a:lnTo>
                  <a:lnTo>
                    <a:pt x="164" y="1528"/>
                  </a:lnTo>
                  <a:lnTo>
                    <a:pt x="166" y="1534"/>
                  </a:lnTo>
                  <a:lnTo>
                    <a:pt x="168" y="1534"/>
                  </a:lnTo>
                  <a:lnTo>
                    <a:pt x="170" y="1536"/>
                  </a:lnTo>
                  <a:lnTo>
                    <a:pt x="170" y="1542"/>
                  </a:lnTo>
                  <a:lnTo>
                    <a:pt x="170" y="1544"/>
                  </a:lnTo>
                  <a:lnTo>
                    <a:pt x="168" y="1544"/>
                  </a:lnTo>
                  <a:lnTo>
                    <a:pt x="166" y="1546"/>
                  </a:lnTo>
                  <a:lnTo>
                    <a:pt x="166" y="1548"/>
                  </a:lnTo>
                  <a:lnTo>
                    <a:pt x="164" y="1550"/>
                  </a:lnTo>
                  <a:lnTo>
                    <a:pt x="162" y="1550"/>
                  </a:lnTo>
                  <a:lnTo>
                    <a:pt x="160" y="1550"/>
                  </a:lnTo>
                  <a:lnTo>
                    <a:pt x="158" y="1550"/>
                  </a:lnTo>
                  <a:lnTo>
                    <a:pt x="162" y="1554"/>
                  </a:lnTo>
                  <a:lnTo>
                    <a:pt x="164" y="1554"/>
                  </a:lnTo>
                  <a:lnTo>
                    <a:pt x="166" y="1556"/>
                  </a:lnTo>
                  <a:lnTo>
                    <a:pt x="166" y="1566"/>
                  </a:lnTo>
                  <a:lnTo>
                    <a:pt x="168" y="1570"/>
                  </a:lnTo>
                  <a:lnTo>
                    <a:pt x="168" y="1572"/>
                  </a:lnTo>
                  <a:lnTo>
                    <a:pt x="168" y="1578"/>
                  </a:lnTo>
                  <a:lnTo>
                    <a:pt x="168" y="1580"/>
                  </a:lnTo>
                  <a:lnTo>
                    <a:pt x="162" y="1586"/>
                  </a:lnTo>
                  <a:lnTo>
                    <a:pt x="160" y="1586"/>
                  </a:lnTo>
                  <a:lnTo>
                    <a:pt x="158" y="1586"/>
                  </a:lnTo>
                  <a:lnTo>
                    <a:pt x="156" y="1586"/>
                  </a:lnTo>
                  <a:lnTo>
                    <a:pt x="154" y="1598"/>
                  </a:lnTo>
                  <a:lnTo>
                    <a:pt x="158" y="1604"/>
                  </a:lnTo>
                  <a:lnTo>
                    <a:pt x="160" y="1604"/>
                  </a:lnTo>
                  <a:lnTo>
                    <a:pt x="160" y="1606"/>
                  </a:lnTo>
                  <a:lnTo>
                    <a:pt x="160" y="1608"/>
                  </a:lnTo>
                  <a:lnTo>
                    <a:pt x="158" y="1608"/>
                  </a:lnTo>
                  <a:lnTo>
                    <a:pt x="154" y="1612"/>
                  </a:lnTo>
                  <a:lnTo>
                    <a:pt x="152" y="1616"/>
                  </a:lnTo>
                  <a:lnTo>
                    <a:pt x="148" y="1618"/>
                  </a:lnTo>
                  <a:lnTo>
                    <a:pt x="146" y="1620"/>
                  </a:lnTo>
                  <a:lnTo>
                    <a:pt x="144" y="1618"/>
                  </a:lnTo>
                  <a:lnTo>
                    <a:pt x="142" y="1620"/>
                  </a:lnTo>
                  <a:lnTo>
                    <a:pt x="140" y="1620"/>
                  </a:lnTo>
                  <a:lnTo>
                    <a:pt x="140" y="1622"/>
                  </a:lnTo>
                  <a:lnTo>
                    <a:pt x="140" y="1624"/>
                  </a:lnTo>
                  <a:lnTo>
                    <a:pt x="142" y="1624"/>
                  </a:lnTo>
                  <a:lnTo>
                    <a:pt x="140" y="1628"/>
                  </a:lnTo>
                  <a:lnTo>
                    <a:pt x="140" y="1630"/>
                  </a:lnTo>
                  <a:lnTo>
                    <a:pt x="138" y="1632"/>
                  </a:lnTo>
                  <a:lnTo>
                    <a:pt x="138" y="1634"/>
                  </a:lnTo>
                  <a:lnTo>
                    <a:pt x="136" y="1636"/>
                  </a:lnTo>
                  <a:lnTo>
                    <a:pt x="136" y="1638"/>
                  </a:lnTo>
                  <a:lnTo>
                    <a:pt x="132" y="1646"/>
                  </a:lnTo>
                  <a:lnTo>
                    <a:pt x="132" y="1648"/>
                  </a:lnTo>
                  <a:lnTo>
                    <a:pt x="134" y="1648"/>
                  </a:lnTo>
                  <a:lnTo>
                    <a:pt x="134" y="1650"/>
                  </a:lnTo>
                  <a:lnTo>
                    <a:pt x="136" y="1650"/>
                  </a:lnTo>
                  <a:lnTo>
                    <a:pt x="138" y="1650"/>
                  </a:lnTo>
                  <a:lnTo>
                    <a:pt x="140" y="1654"/>
                  </a:lnTo>
                  <a:lnTo>
                    <a:pt x="142" y="1662"/>
                  </a:lnTo>
                  <a:lnTo>
                    <a:pt x="142" y="1670"/>
                  </a:lnTo>
                  <a:lnTo>
                    <a:pt x="136" y="1672"/>
                  </a:lnTo>
                  <a:lnTo>
                    <a:pt x="134" y="1674"/>
                  </a:lnTo>
                  <a:lnTo>
                    <a:pt x="132" y="1674"/>
                  </a:lnTo>
                  <a:lnTo>
                    <a:pt x="130" y="1676"/>
                  </a:lnTo>
                  <a:lnTo>
                    <a:pt x="130" y="1678"/>
                  </a:lnTo>
                  <a:lnTo>
                    <a:pt x="130" y="1680"/>
                  </a:lnTo>
                  <a:lnTo>
                    <a:pt x="130" y="1682"/>
                  </a:lnTo>
                  <a:lnTo>
                    <a:pt x="132" y="1686"/>
                  </a:lnTo>
                  <a:lnTo>
                    <a:pt x="132" y="1688"/>
                  </a:lnTo>
                  <a:lnTo>
                    <a:pt x="132" y="1690"/>
                  </a:lnTo>
                  <a:lnTo>
                    <a:pt x="132" y="1692"/>
                  </a:lnTo>
                  <a:lnTo>
                    <a:pt x="132" y="1694"/>
                  </a:lnTo>
                  <a:lnTo>
                    <a:pt x="130" y="1696"/>
                  </a:lnTo>
                  <a:lnTo>
                    <a:pt x="126" y="1700"/>
                  </a:lnTo>
                  <a:lnTo>
                    <a:pt x="124" y="1700"/>
                  </a:lnTo>
                  <a:lnTo>
                    <a:pt x="122" y="1702"/>
                  </a:lnTo>
                  <a:lnTo>
                    <a:pt x="120" y="1702"/>
                  </a:lnTo>
                  <a:lnTo>
                    <a:pt x="118" y="1702"/>
                  </a:lnTo>
                  <a:lnTo>
                    <a:pt x="116" y="1702"/>
                  </a:lnTo>
                  <a:lnTo>
                    <a:pt x="114" y="1702"/>
                  </a:lnTo>
                  <a:lnTo>
                    <a:pt x="114" y="1704"/>
                  </a:lnTo>
                  <a:lnTo>
                    <a:pt x="110" y="1708"/>
                  </a:lnTo>
                  <a:lnTo>
                    <a:pt x="106" y="1718"/>
                  </a:lnTo>
                  <a:lnTo>
                    <a:pt x="110" y="1718"/>
                  </a:lnTo>
                  <a:lnTo>
                    <a:pt x="108" y="1720"/>
                  </a:lnTo>
                  <a:lnTo>
                    <a:pt x="106" y="1722"/>
                  </a:lnTo>
                  <a:lnTo>
                    <a:pt x="96" y="1722"/>
                  </a:lnTo>
                  <a:lnTo>
                    <a:pt x="92" y="1728"/>
                  </a:lnTo>
                  <a:lnTo>
                    <a:pt x="90" y="1734"/>
                  </a:lnTo>
                  <a:lnTo>
                    <a:pt x="92" y="1736"/>
                  </a:lnTo>
                  <a:lnTo>
                    <a:pt x="94" y="1738"/>
                  </a:lnTo>
                  <a:lnTo>
                    <a:pt x="96" y="1748"/>
                  </a:lnTo>
                  <a:lnTo>
                    <a:pt x="94" y="1750"/>
                  </a:lnTo>
                  <a:lnTo>
                    <a:pt x="92" y="1752"/>
                  </a:lnTo>
                  <a:lnTo>
                    <a:pt x="92" y="1756"/>
                  </a:lnTo>
                  <a:lnTo>
                    <a:pt x="94" y="1756"/>
                  </a:lnTo>
                  <a:lnTo>
                    <a:pt x="94" y="1758"/>
                  </a:lnTo>
                  <a:lnTo>
                    <a:pt x="96" y="1758"/>
                  </a:lnTo>
                  <a:lnTo>
                    <a:pt x="96" y="1760"/>
                  </a:lnTo>
                  <a:lnTo>
                    <a:pt x="94" y="1762"/>
                  </a:lnTo>
                  <a:lnTo>
                    <a:pt x="94" y="1764"/>
                  </a:lnTo>
                  <a:lnTo>
                    <a:pt x="92" y="1766"/>
                  </a:lnTo>
                  <a:lnTo>
                    <a:pt x="94" y="1768"/>
                  </a:lnTo>
                  <a:lnTo>
                    <a:pt x="96" y="1770"/>
                  </a:lnTo>
                  <a:lnTo>
                    <a:pt x="100" y="1772"/>
                  </a:lnTo>
                  <a:lnTo>
                    <a:pt x="102" y="1774"/>
                  </a:lnTo>
                  <a:lnTo>
                    <a:pt x="102" y="1776"/>
                  </a:lnTo>
                  <a:lnTo>
                    <a:pt x="104" y="1778"/>
                  </a:lnTo>
                  <a:lnTo>
                    <a:pt x="104" y="1786"/>
                  </a:lnTo>
                  <a:lnTo>
                    <a:pt x="104" y="1792"/>
                  </a:lnTo>
                  <a:lnTo>
                    <a:pt x="108" y="1798"/>
                  </a:lnTo>
                  <a:lnTo>
                    <a:pt x="108" y="1800"/>
                  </a:lnTo>
                  <a:lnTo>
                    <a:pt x="110" y="1800"/>
                  </a:lnTo>
                  <a:lnTo>
                    <a:pt x="112" y="1800"/>
                  </a:lnTo>
                  <a:lnTo>
                    <a:pt x="114" y="1800"/>
                  </a:lnTo>
                  <a:lnTo>
                    <a:pt x="114" y="1798"/>
                  </a:lnTo>
                  <a:lnTo>
                    <a:pt x="116" y="1796"/>
                  </a:lnTo>
                  <a:lnTo>
                    <a:pt x="118" y="1794"/>
                  </a:lnTo>
                  <a:lnTo>
                    <a:pt x="124" y="1792"/>
                  </a:lnTo>
                  <a:lnTo>
                    <a:pt x="126" y="1794"/>
                  </a:lnTo>
                  <a:lnTo>
                    <a:pt x="128" y="1794"/>
                  </a:lnTo>
                  <a:lnTo>
                    <a:pt x="130" y="1794"/>
                  </a:lnTo>
                  <a:lnTo>
                    <a:pt x="132" y="1792"/>
                  </a:lnTo>
                  <a:lnTo>
                    <a:pt x="134" y="1792"/>
                  </a:lnTo>
                  <a:lnTo>
                    <a:pt x="138" y="1792"/>
                  </a:lnTo>
                  <a:lnTo>
                    <a:pt x="142" y="1794"/>
                  </a:lnTo>
                  <a:lnTo>
                    <a:pt x="142" y="1796"/>
                  </a:lnTo>
                  <a:lnTo>
                    <a:pt x="140" y="1798"/>
                  </a:lnTo>
                  <a:lnTo>
                    <a:pt x="140" y="1800"/>
                  </a:lnTo>
                  <a:lnTo>
                    <a:pt x="142" y="1802"/>
                  </a:lnTo>
                  <a:lnTo>
                    <a:pt x="144" y="1804"/>
                  </a:lnTo>
                  <a:lnTo>
                    <a:pt x="144" y="1806"/>
                  </a:lnTo>
                  <a:lnTo>
                    <a:pt x="142" y="1814"/>
                  </a:lnTo>
                  <a:lnTo>
                    <a:pt x="140" y="1814"/>
                  </a:lnTo>
                  <a:lnTo>
                    <a:pt x="138" y="1818"/>
                  </a:lnTo>
                  <a:lnTo>
                    <a:pt x="138" y="1822"/>
                  </a:lnTo>
                  <a:lnTo>
                    <a:pt x="140" y="1824"/>
                  </a:lnTo>
                  <a:lnTo>
                    <a:pt x="142" y="1824"/>
                  </a:lnTo>
                  <a:lnTo>
                    <a:pt x="144" y="1826"/>
                  </a:lnTo>
                  <a:lnTo>
                    <a:pt x="142" y="1828"/>
                  </a:lnTo>
                  <a:lnTo>
                    <a:pt x="140" y="1830"/>
                  </a:lnTo>
                  <a:lnTo>
                    <a:pt x="140" y="1832"/>
                  </a:lnTo>
                  <a:lnTo>
                    <a:pt x="140" y="1834"/>
                  </a:lnTo>
                  <a:lnTo>
                    <a:pt x="140" y="1840"/>
                  </a:lnTo>
                  <a:lnTo>
                    <a:pt x="138" y="1840"/>
                  </a:lnTo>
                  <a:lnTo>
                    <a:pt x="138" y="1842"/>
                  </a:lnTo>
                  <a:lnTo>
                    <a:pt x="142" y="1850"/>
                  </a:lnTo>
                  <a:lnTo>
                    <a:pt x="142" y="1852"/>
                  </a:lnTo>
                  <a:lnTo>
                    <a:pt x="144" y="1852"/>
                  </a:lnTo>
                  <a:lnTo>
                    <a:pt x="146" y="1852"/>
                  </a:lnTo>
                  <a:lnTo>
                    <a:pt x="148" y="1852"/>
                  </a:lnTo>
                  <a:lnTo>
                    <a:pt x="150" y="1854"/>
                  </a:lnTo>
                  <a:lnTo>
                    <a:pt x="154" y="1860"/>
                  </a:lnTo>
                  <a:lnTo>
                    <a:pt x="154" y="1862"/>
                  </a:lnTo>
                  <a:lnTo>
                    <a:pt x="156" y="1866"/>
                  </a:lnTo>
                  <a:lnTo>
                    <a:pt x="164" y="1866"/>
                  </a:lnTo>
                  <a:lnTo>
                    <a:pt x="182" y="1866"/>
                  </a:lnTo>
                  <a:lnTo>
                    <a:pt x="204" y="1868"/>
                  </a:lnTo>
                  <a:lnTo>
                    <a:pt x="212" y="1868"/>
                  </a:lnTo>
                  <a:lnTo>
                    <a:pt x="226" y="1868"/>
                  </a:lnTo>
                  <a:lnTo>
                    <a:pt x="230" y="1868"/>
                  </a:lnTo>
                  <a:lnTo>
                    <a:pt x="232" y="1868"/>
                  </a:lnTo>
                  <a:lnTo>
                    <a:pt x="234" y="1870"/>
                  </a:lnTo>
                  <a:lnTo>
                    <a:pt x="238" y="1872"/>
                  </a:lnTo>
                  <a:lnTo>
                    <a:pt x="250" y="1876"/>
                  </a:lnTo>
                  <a:lnTo>
                    <a:pt x="256" y="1876"/>
                  </a:lnTo>
                  <a:lnTo>
                    <a:pt x="258" y="1876"/>
                  </a:lnTo>
                  <a:lnTo>
                    <a:pt x="266" y="1880"/>
                  </a:lnTo>
                  <a:lnTo>
                    <a:pt x="268" y="1880"/>
                  </a:lnTo>
                  <a:lnTo>
                    <a:pt x="270" y="1882"/>
                  </a:lnTo>
                  <a:lnTo>
                    <a:pt x="272" y="1882"/>
                  </a:lnTo>
                  <a:lnTo>
                    <a:pt x="274" y="1884"/>
                  </a:lnTo>
                  <a:lnTo>
                    <a:pt x="278" y="1884"/>
                  </a:lnTo>
                  <a:lnTo>
                    <a:pt x="280" y="1884"/>
                  </a:lnTo>
                  <a:lnTo>
                    <a:pt x="282" y="1886"/>
                  </a:lnTo>
                  <a:lnTo>
                    <a:pt x="288" y="1886"/>
                  </a:lnTo>
                  <a:lnTo>
                    <a:pt x="288" y="1890"/>
                  </a:lnTo>
                  <a:lnTo>
                    <a:pt x="286" y="1886"/>
                  </a:lnTo>
                  <a:lnTo>
                    <a:pt x="280" y="1886"/>
                  </a:lnTo>
                  <a:lnTo>
                    <a:pt x="276" y="1884"/>
                  </a:lnTo>
                  <a:lnTo>
                    <a:pt x="274" y="1884"/>
                  </a:lnTo>
                  <a:lnTo>
                    <a:pt x="270" y="1884"/>
                  </a:lnTo>
                  <a:lnTo>
                    <a:pt x="268" y="1884"/>
                  </a:lnTo>
                  <a:lnTo>
                    <a:pt x="266" y="1884"/>
                  </a:lnTo>
                  <a:lnTo>
                    <a:pt x="266" y="1882"/>
                  </a:lnTo>
                  <a:lnTo>
                    <a:pt x="264" y="1882"/>
                  </a:lnTo>
                  <a:lnTo>
                    <a:pt x="262" y="1880"/>
                  </a:lnTo>
                  <a:lnTo>
                    <a:pt x="260" y="1880"/>
                  </a:lnTo>
                  <a:lnTo>
                    <a:pt x="258" y="1880"/>
                  </a:lnTo>
                  <a:lnTo>
                    <a:pt x="250" y="1882"/>
                  </a:lnTo>
                  <a:lnTo>
                    <a:pt x="250" y="1884"/>
                  </a:lnTo>
                  <a:lnTo>
                    <a:pt x="248" y="1884"/>
                  </a:lnTo>
                  <a:lnTo>
                    <a:pt x="248" y="1888"/>
                  </a:lnTo>
                  <a:lnTo>
                    <a:pt x="246" y="1892"/>
                  </a:lnTo>
                  <a:lnTo>
                    <a:pt x="244" y="1894"/>
                  </a:lnTo>
                  <a:lnTo>
                    <a:pt x="242" y="1896"/>
                  </a:lnTo>
                  <a:lnTo>
                    <a:pt x="238" y="1896"/>
                  </a:lnTo>
                  <a:lnTo>
                    <a:pt x="236" y="1896"/>
                  </a:lnTo>
                  <a:lnTo>
                    <a:pt x="232" y="1896"/>
                  </a:lnTo>
                  <a:lnTo>
                    <a:pt x="224" y="1900"/>
                  </a:lnTo>
                  <a:lnTo>
                    <a:pt x="222" y="1900"/>
                  </a:lnTo>
                  <a:lnTo>
                    <a:pt x="210" y="1906"/>
                  </a:lnTo>
                  <a:lnTo>
                    <a:pt x="208" y="1906"/>
                  </a:lnTo>
                  <a:lnTo>
                    <a:pt x="202" y="1906"/>
                  </a:lnTo>
                  <a:lnTo>
                    <a:pt x="198" y="1908"/>
                  </a:lnTo>
                  <a:lnTo>
                    <a:pt x="196" y="19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2" name="Freeform 152"/>
            <p:cNvSpPr>
              <a:spLocks/>
            </p:cNvSpPr>
            <p:nvPr/>
          </p:nvSpPr>
          <p:spPr bwMode="auto">
            <a:xfrm>
              <a:off x="2300" y="3248"/>
              <a:ext cx="46" cy="88"/>
            </a:xfrm>
            <a:custGeom>
              <a:avLst/>
              <a:gdLst/>
              <a:ahLst/>
              <a:cxnLst>
                <a:cxn ang="0">
                  <a:pos x="38" y="70"/>
                </a:cxn>
                <a:cxn ang="0">
                  <a:pos x="40" y="74"/>
                </a:cxn>
                <a:cxn ang="0">
                  <a:pos x="28" y="74"/>
                </a:cxn>
                <a:cxn ang="0">
                  <a:pos x="30" y="78"/>
                </a:cxn>
                <a:cxn ang="0">
                  <a:pos x="32" y="82"/>
                </a:cxn>
                <a:cxn ang="0">
                  <a:pos x="24" y="88"/>
                </a:cxn>
                <a:cxn ang="0">
                  <a:pos x="22" y="86"/>
                </a:cxn>
                <a:cxn ang="0">
                  <a:pos x="16" y="86"/>
                </a:cxn>
                <a:cxn ang="0">
                  <a:pos x="6" y="84"/>
                </a:cxn>
                <a:cxn ang="0">
                  <a:pos x="2" y="80"/>
                </a:cxn>
                <a:cxn ang="0">
                  <a:pos x="4" y="72"/>
                </a:cxn>
                <a:cxn ang="0">
                  <a:pos x="8" y="66"/>
                </a:cxn>
                <a:cxn ang="0">
                  <a:pos x="10" y="60"/>
                </a:cxn>
                <a:cxn ang="0">
                  <a:pos x="12" y="44"/>
                </a:cxn>
                <a:cxn ang="0">
                  <a:pos x="10" y="38"/>
                </a:cxn>
                <a:cxn ang="0">
                  <a:pos x="10" y="24"/>
                </a:cxn>
                <a:cxn ang="0">
                  <a:pos x="12" y="22"/>
                </a:cxn>
                <a:cxn ang="0">
                  <a:pos x="14" y="20"/>
                </a:cxn>
                <a:cxn ang="0">
                  <a:pos x="16" y="8"/>
                </a:cxn>
                <a:cxn ang="0">
                  <a:pos x="14" y="2"/>
                </a:cxn>
                <a:cxn ang="0">
                  <a:pos x="22" y="0"/>
                </a:cxn>
                <a:cxn ang="0">
                  <a:pos x="22" y="4"/>
                </a:cxn>
                <a:cxn ang="0">
                  <a:pos x="20" y="2"/>
                </a:cxn>
                <a:cxn ang="0">
                  <a:pos x="18" y="4"/>
                </a:cxn>
                <a:cxn ang="0">
                  <a:pos x="24" y="6"/>
                </a:cxn>
                <a:cxn ang="0">
                  <a:pos x="30" y="2"/>
                </a:cxn>
                <a:cxn ang="0">
                  <a:pos x="36" y="2"/>
                </a:cxn>
                <a:cxn ang="0">
                  <a:pos x="38" y="10"/>
                </a:cxn>
                <a:cxn ang="0">
                  <a:pos x="42" y="18"/>
                </a:cxn>
                <a:cxn ang="0">
                  <a:pos x="40" y="20"/>
                </a:cxn>
                <a:cxn ang="0">
                  <a:pos x="46" y="26"/>
                </a:cxn>
                <a:cxn ang="0">
                  <a:pos x="44" y="28"/>
                </a:cxn>
                <a:cxn ang="0">
                  <a:pos x="38" y="30"/>
                </a:cxn>
                <a:cxn ang="0">
                  <a:pos x="34" y="32"/>
                </a:cxn>
                <a:cxn ang="0">
                  <a:pos x="32" y="36"/>
                </a:cxn>
                <a:cxn ang="0">
                  <a:pos x="34" y="38"/>
                </a:cxn>
                <a:cxn ang="0">
                  <a:pos x="30" y="42"/>
                </a:cxn>
                <a:cxn ang="0">
                  <a:pos x="28" y="36"/>
                </a:cxn>
                <a:cxn ang="0">
                  <a:pos x="26" y="40"/>
                </a:cxn>
                <a:cxn ang="0">
                  <a:pos x="34" y="52"/>
                </a:cxn>
                <a:cxn ang="0">
                  <a:pos x="40" y="54"/>
                </a:cxn>
                <a:cxn ang="0">
                  <a:pos x="40" y="60"/>
                </a:cxn>
                <a:cxn ang="0">
                  <a:pos x="34" y="60"/>
                </a:cxn>
                <a:cxn ang="0">
                  <a:pos x="34" y="64"/>
                </a:cxn>
              </a:cxnLst>
              <a:rect l="0" t="0" r="r" b="b"/>
              <a:pathLst>
                <a:path w="46" h="88">
                  <a:moveTo>
                    <a:pt x="38" y="66"/>
                  </a:moveTo>
                  <a:lnTo>
                    <a:pt x="38" y="70"/>
                  </a:lnTo>
                  <a:lnTo>
                    <a:pt x="40" y="72"/>
                  </a:lnTo>
                  <a:lnTo>
                    <a:pt x="40" y="74"/>
                  </a:lnTo>
                  <a:lnTo>
                    <a:pt x="30" y="72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30" y="78"/>
                  </a:lnTo>
                  <a:lnTo>
                    <a:pt x="30" y="80"/>
                  </a:lnTo>
                  <a:lnTo>
                    <a:pt x="32" y="82"/>
                  </a:lnTo>
                  <a:lnTo>
                    <a:pt x="30" y="86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2" y="86"/>
                  </a:lnTo>
                  <a:lnTo>
                    <a:pt x="20" y="86"/>
                  </a:lnTo>
                  <a:lnTo>
                    <a:pt x="16" y="86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2" y="82"/>
                  </a:lnTo>
                  <a:lnTo>
                    <a:pt x="2" y="80"/>
                  </a:lnTo>
                  <a:lnTo>
                    <a:pt x="0" y="80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6"/>
                  </a:lnTo>
                  <a:lnTo>
                    <a:pt x="10" y="64"/>
                  </a:lnTo>
                  <a:lnTo>
                    <a:pt x="10" y="60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24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6" y="16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20" y="6"/>
                  </a:lnTo>
                  <a:lnTo>
                    <a:pt x="24" y="6"/>
                  </a:lnTo>
                  <a:lnTo>
                    <a:pt x="26" y="4"/>
                  </a:lnTo>
                  <a:lnTo>
                    <a:pt x="30" y="2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40" y="4"/>
                  </a:lnTo>
                  <a:lnTo>
                    <a:pt x="38" y="10"/>
                  </a:lnTo>
                  <a:lnTo>
                    <a:pt x="42" y="16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44" y="22"/>
                  </a:lnTo>
                  <a:lnTo>
                    <a:pt x="46" y="26"/>
                  </a:lnTo>
                  <a:lnTo>
                    <a:pt x="46" y="28"/>
                  </a:lnTo>
                  <a:lnTo>
                    <a:pt x="44" y="28"/>
                  </a:lnTo>
                  <a:lnTo>
                    <a:pt x="40" y="30"/>
                  </a:lnTo>
                  <a:lnTo>
                    <a:pt x="38" y="30"/>
                  </a:lnTo>
                  <a:lnTo>
                    <a:pt x="36" y="30"/>
                  </a:lnTo>
                  <a:lnTo>
                    <a:pt x="34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8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0" y="42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6" y="40"/>
                  </a:lnTo>
                  <a:lnTo>
                    <a:pt x="26" y="44"/>
                  </a:lnTo>
                  <a:lnTo>
                    <a:pt x="34" y="52"/>
                  </a:lnTo>
                  <a:lnTo>
                    <a:pt x="36" y="54"/>
                  </a:lnTo>
                  <a:lnTo>
                    <a:pt x="40" y="54"/>
                  </a:lnTo>
                  <a:lnTo>
                    <a:pt x="40" y="58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4" y="60"/>
                  </a:lnTo>
                  <a:lnTo>
                    <a:pt x="34" y="62"/>
                  </a:lnTo>
                  <a:lnTo>
                    <a:pt x="34" y="64"/>
                  </a:lnTo>
                  <a:lnTo>
                    <a:pt x="38" y="6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3" name="Freeform 153"/>
            <p:cNvSpPr>
              <a:spLocks/>
            </p:cNvSpPr>
            <p:nvPr/>
          </p:nvSpPr>
          <p:spPr bwMode="auto">
            <a:xfrm>
              <a:off x="2332" y="3280"/>
              <a:ext cx="12" cy="10"/>
            </a:xfrm>
            <a:custGeom>
              <a:avLst/>
              <a:gdLst/>
              <a:ahLst/>
              <a:cxnLst>
                <a:cxn ang="0">
                  <a:pos x="10" y="10"/>
                </a:cxn>
                <a:cxn ang="0">
                  <a:pos x="10" y="8"/>
                </a:cxn>
                <a:cxn ang="0">
                  <a:pos x="10" y="6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12" y="8"/>
                </a:cxn>
                <a:cxn ang="0">
                  <a:pos x="12" y="10"/>
                </a:cxn>
                <a:cxn ang="0">
                  <a:pos x="10" y="10"/>
                </a:cxn>
              </a:cxnLst>
              <a:rect l="0" t="0" r="r" b="b"/>
              <a:pathLst>
                <a:path w="12" h="10">
                  <a:moveTo>
                    <a:pt x="10" y="10"/>
                  </a:moveTo>
                  <a:lnTo>
                    <a:pt x="10" y="8"/>
                  </a:lnTo>
                  <a:lnTo>
                    <a:pt x="10" y="6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4" name="Freeform 154"/>
            <p:cNvSpPr>
              <a:spLocks/>
            </p:cNvSpPr>
            <p:nvPr/>
          </p:nvSpPr>
          <p:spPr bwMode="auto">
            <a:xfrm>
              <a:off x="2282" y="3342"/>
              <a:ext cx="10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0" y="4"/>
                </a:cxn>
                <a:cxn ang="0">
                  <a:pos x="8" y="6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8"/>
                </a:cxn>
              </a:cxnLst>
              <a:rect l="0" t="0" r="r" b="b"/>
              <a:pathLst>
                <a:path w="10" h="8">
                  <a:moveTo>
                    <a:pt x="2" y="8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8" y="2"/>
                  </a:lnTo>
                  <a:lnTo>
                    <a:pt x="10" y="4"/>
                  </a:lnTo>
                  <a:lnTo>
                    <a:pt x="8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5" name="Freeform 155"/>
            <p:cNvSpPr>
              <a:spLocks/>
            </p:cNvSpPr>
            <p:nvPr/>
          </p:nvSpPr>
          <p:spPr bwMode="auto">
            <a:xfrm>
              <a:off x="2312" y="3356"/>
              <a:ext cx="16" cy="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6" y="8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10" y="2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6" y="4"/>
                </a:cxn>
                <a:cxn ang="0">
                  <a:pos x="16" y="6"/>
                </a:cxn>
                <a:cxn ang="0">
                  <a:pos x="14" y="6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4" y="4"/>
                </a:cxn>
                <a:cxn ang="0">
                  <a:pos x="12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8" y="8"/>
                </a:cxn>
              </a:cxnLst>
              <a:rect l="0" t="0" r="r" b="b"/>
              <a:pathLst>
                <a:path w="16" h="8">
                  <a:moveTo>
                    <a:pt x="8" y="8"/>
                  </a:moveTo>
                  <a:lnTo>
                    <a:pt x="6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6" name="Freeform 156"/>
            <p:cNvSpPr>
              <a:spLocks/>
            </p:cNvSpPr>
            <p:nvPr/>
          </p:nvSpPr>
          <p:spPr bwMode="auto">
            <a:xfrm>
              <a:off x="2350" y="3362"/>
              <a:ext cx="6" cy="8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8"/>
                </a:cxn>
                <a:cxn ang="0">
                  <a:pos x="4" y="8"/>
                </a:cxn>
              </a:cxnLst>
              <a:rect l="0" t="0" r="r" b="b"/>
              <a:pathLst>
                <a:path w="6" h="8">
                  <a:moveTo>
                    <a:pt x="4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7" name="Freeform 157"/>
            <p:cNvSpPr>
              <a:spLocks/>
            </p:cNvSpPr>
            <p:nvPr/>
          </p:nvSpPr>
          <p:spPr bwMode="auto">
            <a:xfrm>
              <a:off x="2330" y="3364"/>
              <a:ext cx="6" cy="12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4"/>
                </a:cxn>
                <a:cxn ang="0">
                  <a:pos x="6" y="8"/>
                </a:cxn>
                <a:cxn ang="0">
                  <a:pos x="6" y="10"/>
                </a:cxn>
                <a:cxn ang="0">
                  <a:pos x="4" y="12"/>
                </a:cxn>
              </a:cxnLst>
              <a:rect l="0" t="0" r="r" b="b"/>
              <a:pathLst>
                <a:path w="6" h="12">
                  <a:moveTo>
                    <a:pt x="4" y="12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4"/>
                  </a:lnTo>
                  <a:lnTo>
                    <a:pt x="6" y="8"/>
                  </a:lnTo>
                  <a:lnTo>
                    <a:pt x="6" y="10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8" name="Freeform 158"/>
            <p:cNvSpPr>
              <a:spLocks/>
            </p:cNvSpPr>
            <p:nvPr/>
          </p:nvSpPr>
          <p:spPr bwMode="auto">
            <a:xfrm>
              <a:off x="2318" y="3374"/>
              <a:ext cx="8" cy="4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8" y="4"/>
                </a:cxn>
              </a:cxnLst>
              <a:rect l="0" t="0" r="r" b="b"/>
              <a:pathLst>
                <a:path w="8" h="4">
                  <a:moveTo>
                    <a:pt x="8" y="4"/>
                  </a:moveTo>
                  <a:lnTo>
                    <a:pt x="4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9" name="Freeform 159"/>
            <p:cNvSpPr>
              <a:spLocks/>
            </p:cNvSpPr>
            <p:nvPr/>
          </p:nvSpPr>
          <p:spPr bwMode="auto">
            <a:xfrm>
              <a:off x="2314" y="3376"/>
              <a:ext cx="8" cy="10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10"/>
                </a:cxn>
                <a:cxn ang="0">
                  <a:pos x="2" y="8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6" y="10"/>
                </a:cxn>
              </a:cxnLst>
              <a:rect l="0" t="0" r="r" b="b"/>
              <a:pathLst>
                <a:path w="8" h="10">
                  <a:moveTo>
                    <a:pt x="6" y="10"/>
                  </a:moveTo>
                  <a:lnTo>
                    <a:pt x="4" y="10"/>
                  </a:lnTo>
                  <a:lnTo>
                    <a:pt x="2" y="8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4"/>
                  </a:lnTo>
                  <a:lnTo>
                    <a:pt x="8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0" name="Freeform 160"/>
            <p:cNvSpPr>
              <a:spLocks/>
            </p:cNvSpPr>
            <p:nvPr/>
          </p:nvSpPr>
          <p:spPr bwMode="auto">
            <a:xfrm>
              <a:off x="2320" y="3382"/>
              <a:ext cx="8" cy="4"/>
            </a:xfrm>
            <a:custGeom>
              <a:avLst/>
              <a:gdLst/>
              <a:ahLst/>
              <a:cxnLst>
                <a:cxn ang="0">
                  <a:pos x="6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6" y="4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8" y="0"/>
                  </a:lnTo>
                  <a:lnTo>
                    <a:pt x="8" y="4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1" name="Freeform 161"/>
            <p:cNvSpPr>
              <a:spLocks/>
            </p:cNvSpPr>
            <p:nvPr/>
          </p:nvSpPr>
          <p:spPr bwMode="auto">
            <a:xfrm>
              <a:off x="2314" y="3386"/>
              <a:ext cx="8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2"/>
                </a:cxn>
                <a:cxn ang="0">
                  <a:pos x="8" y="6"/>
                </a:cxn>
                <a:cxn ang="0">
                  <a:pos x="6" y="6"/>
                </a:cxn>
              </a:cxnLst>
              <a:rect l="0" t="0" r="r" b="b"/>
              <a:pathLst>
                <a:path w="8" h="6">
                  <a:moveTo>
                    <a:pt x="6" y="6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2"/>
                  </a:lnTo>
                  <a:lnTo>
                    <a:pt x="8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2" name="Freeform 162"/>
            <p:cNvSpPr>
              <a:spLocks/>
            </p:cNvSpPr>
            <p:nvPr/>
          </p:nvSpPr>
          <p:spPr bwMode="auto">
            <a:xfrm>
              <a:off x="2342" y="3388"/>
              <a:ext cx="32" cy="32"/>
            </a:xfrm>
            <a:custGeom>
              <a:avLst/>
              <a:gdLst/>
              <a:ahLst/>
              <a:cxnLst>
                <a:cxn ang="0">
                  <a:pos x="26" y="20"/>
                </a:cxn>
                <a:cxn ang="0">
                  <a:pos x="24" y="22"/>
                </a:cxn>
                <a:cxn ang="0">
                  <a:pos x="22" y="24"/>
                </a:cxn>
                <a:cxn ang="0">
                  <a:pos x="18" y="26"/>
                </a:cxn>
                <a:cxn ang="0">
                  <a:pos x="18" y="28"/>
                </a:cxn>
                <a:cxn ang="0">
                  <a:pos x="14" y="30"/>
                </a:cxn>
                <a:cxn ang="0">
                  <a:pos x="12" y="30"/>
                </a:cxn>
                <a:cxn ang="0">
                  <a:pos x="10" y="30"/>
                </a:cxn>
                <a:cxn ang="0">
                  <a:pos x="10" y="32"/>
                </a:cxn>
                <a:cxn ang="0">
                  <a:pos x="8" y="30"/>
                </a:cxn>
                <a:cxn ang="0">
                  <a:pos x="4" y="26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0" y="24"/>
                </a:cxn>
                <a:cxn ang="0">
                  <a:pos x="12" y="24"/>
                </a:cxn>
                <a:cxn ang="0">
                  <a:pos x="10" y="22"/>
                </a:cxn>
                <a:cxn ang="0">
                  <a:pos x="8" y="22"/>
                </a:cxn>
                <a:cxn ang="0">
                  <a:pos x="6" y="22"/>
                </a:cxn>
                <a:cxn ang="0">
                  <a:pos x="4" y="24"/>
                </a:cxn>
                <a:cxn ang="0">
                  <a:pos x="4" y="22"/>
                </a:cxn>
                <a:cxn ang="0">
                  <a:pos x="2" y="20"/>
                </a:cxn>
                <a:cxn ang="0">
                  <a:pos x="2" y="18"/>
                </a:cxn>
                <a:cxn ang="0">
                  <a:pos x="0" y="16"/>
                </a:cxn>
                <a:cxn ang="0">
                  <a:pos x="2" y="12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6" y="2"/>
                </a:cxn>
                <a:cxn ang="0">
                  <a:pos x="20" y="0"/>
                </a:cxn>
                <a:cxn ang="0">
                  <a:pos x="22" y="0"/>
                </a:cxn>
                <a:cxn ang="0">
                  <a:pos x="26" y="4"/>
                </a:cxn>
                <a:cxn ang="0">
                  <a:pos x="30" y="6"/>
                </a:cxn>
                <a:cxn ang="0">
                  <a:pos x="32" y="8"/>
                </a:cxn>
                <a:cxn ang="0">
                  <a:pos x="32" y="10"/>
                </a:cxn>
                <a:cxn ang="0">
                  <a:pos x="28" y="14"/>
                </a:cxn>
                <a:cxn ang="0">
                  <a:pos x="26" y="14"/>
                </a:cxn>
                <a:cxn ang="0">
                  <a:pos x="24" y="14"/>
                </a:cxn>
                <a:cxn ang="0">
                  <a:pos x="22" y="14"/>
                </a:cxn>
                <a:cxn ang="0">
                  <a:pos x="22" y="12"/>
                </a:cxn>
                <a:cxn ang="0">
                  <a:pos x="22" y="14"/>
                </a:cxn>
                <a:cxn ang="0">
                  <a:pos x="24" y="16"/>
                </a:cxn>
                <a:cxn ang="0">
                  <a:pos x="26" y="16"/>
                </a:cxn>
                <a:cxn ang="0">
                  <a:pos x="28" y="18"/>
                </a:cxn>
                <a:cxn ang="0">
                  <a:pos x="26" y="18"/>
                </a:cxn>
                <a:cxn ang="0">
                  <a:pos x="26" y="20"/>
                </a:cxn>
              </a:cxnLst>
              <a:rect l="0" t="0" r="r" b="b"/>
              <a:pathLst>
                <a:path w="32" h="32">
                  <a:moveTo>
                    <a:pt x="26" y="20"/>
                  </a:moveTo>
                  <a:lnTo>
                    <a:pt x="24" y="22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8" y="28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10" y="32"/>
                  </a:lnTo>
                  <a:lnTo>
                    <a:pt x="8" y="30"/>
                  </a:lnTo>
                  <a:lnTo>
                    <a:pt x="4" y="26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0" y="24"/>
                  </a:lnTo>
                  <a:lnTo>
                    <a:pt x="12" y="2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6" y="22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6" y="4"/>
                  </a:lnTo>
                  <a:lnTo>
                    <a:pt x="30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28" y="14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4" y="16"/>
                  </a:lnTo>
                  <a:lnTo>
                    <a:pt x="26" y="16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6" y="2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3" name="Freeform 163"/>
            <p:cNvSpPr>
              <a:spLocks/>
            </p:cNvSpPr>
            <p:nvPr/>
          </p:nvSpPr>
          <p:spPr bwMode="auto">
            <a:xfrm>
              <a:off x="2296" y="3390"/>
              <a:ext cx="14" cy="8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14" y="4"/>
                </a:cxn>
                <a:cxn ang="0">
                  <a:pos x="10" y="6"/>
                </a:cxn>
                <a:cxn ang="0">
                  <a:pos x="6" y="6"/>
                </a:cxn>
                <a:cxn ang="0">
                  <a:pos x="6" y="8"/>
                </a:cxn>
              </a:cxnLst>
              <a:rect l="0" t="0" r="r" b="b"/>
              <a:pathLst>
                <a:path w="14" h="8">
                  <a:moveTo>
                    <a:pt x="6" y="8"/>
                  </a:move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4"/>
                  </a:lnTo>
                  <a:lnTo>
                    <a:pt x="10" y="6"/>
                  </a:lnTo>
                  <a:lnTo>
                    <a:pt x="6" y="6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4" name="Freeform 164"/>
            <p:cNvSpPr>
              <a:spLocks/>
            </p:cNvSpPr>
            <p:nvPr/>
          </p:nvSpPr>
          <p:spPr bwMode="auto">
            <a:xfrm>
              <a:off x="2314" y="3394"/>
              <a:ext cx="8" cy="4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4" y="4"/>
                </a:cxn>
              </a:cxnLst>
              <a:rect l="0" t="0" r="r" b="b"/>
              <a:pathLst>
                <a:path w="8" h="4">
                  <a:moveTo>
                    <a:pt x="4" y="4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5" name="Freeform 165"/>
            <p:cNvSpPr>
              <a:spLocks/>
            </p:cNvSpPr>
            <p:nvPr/>
          </p:nvSpPr>
          <p:spPr bwMode="auto">
            <a:xfrm>
              <a:off x="2304" y="3396"/>
              <a:ext cx="10" cy="4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2" y="4"/>
                </a:cxn>
              </a:cxnLst>
              <a:rect l="0" t="0" r="r" b="b"/>
              <a:pathLst>
                <a:path w="10" h="4">
                  <a:moveTo>
                    <a:pt x="2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2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6" name="Freeform 166"/>
            <p:cNvSpPr>
              <a:spLocks/>
            </p:cNvSpPr>
            <p:nvPr/>
          </p:nvSpPr>
          <p:spPr bwMode="auto">
            <a:xfrm>
              <a:off x="2328" y="3398"/>
              <a:ext cx="10" cy="10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0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4"/>
                </a:cxn>
                <a:cxn ang="0">
                  <a:pos x="10" y="8"/>
                </a:cxn>
                <a:cxn ang="0">
                  <a:pos x="8" y="10"/>
                </a:cxn>
                <a:cxn ang="0">
                  <a:pos x="4" y="10"/>
                </a:cxn>
                <a:cxn ang="0">
                  <a:pos x="2" y="10"/>
                </a:cxn>
              </a:cxnLst>
              <a:rect l="0" t="0" r="r" b="b"/>
              <a:pathLst>
                <a:path w="10" h="10">
                  <a:moveTo>
                    <a:pt x="2" y="10"/>
                  </a:moveTo>
                  <a:lnTo>
                    <a:pt x="0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4"/>
                  </a:lnTo>
                  <a:lnTo>
                    <a:pt x="10" y="8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7" name="Freeform 167"/>
            <p:cNvSpPr>
              <a:spLocks/>
            </p:cNvSpPr>
            <p:nvPr/>
          </p:nvSpPr>
          <p:spPr bwMode="auto">
            <a:xfrm>
              <a:off x="2284" y="3398"/>
              <a:ext cx="4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2" y="8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8" name="Freeform 168"/>
            <p:cNvSpPr>
              <a:spLocks/>
            </p:cNvSpPr>
            <p:nvPr/>
          </p:nvSpPr>
          <p:spPr bwMode="auto">
            <a:xfrm>
              <a:off x="2302" y="3400"/>
              <a:ext cx="24" cy="12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4" y="12"/>
                </a:cxn>
                <a:cxn ang="0">
                  <a:pos x="2" y="10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8" y="2"/>
                </a:cxn>
                <a:cxn ang="0">
                  <a:pos x="20" y="2"/>
                </a:cxn>
                <a:cxn ang="0">
                  <a:pos x="22" y="2"/>
                </a:cxn>
                <a:cxn ang="0">
                  <a:pos x="22" y="4"/>
                </a:cxn>
                <a:cxn ang="0">
                  <a:pos x="24" y="6"/>
                </a:cxn>
                <a:cxn ang="0">
                  <a:pos x="16" y="8"/>
                </a:cxn>
                <a:cxn ang="0">
                  <a:pos x="10" y="10"/>
                </a:cxn>
                <a:cxn ang="0">
                  <a:pos x="8" y="12"/>
                </a:cxn>
                <a:cxn ang="0">
                  <a:pos x="6" y="12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lnTo>
                    <a:pt x="4" y="12"/>
                  </a:lnTo>
                  <a:lnTo>
                    <a:pt x="2" y="10"/>
                  </a:lnTo>
                  <a:lnTo>
                    <a:pt x="0" y="6"/>
                  </a:lnTo>
                  <a:lnTo>
                    <a:pt x="0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9" name="Freeform 169"/>
            <p:cNvSpPr>
              <a:spLocks/>
            </p:cNvSpPr>
            <p:nvPr/>
          </p:nvSpPr>
          <p:spPr bwMode="auto">
            <a:xfrm>
              <a:off x="2292" y="3402"/>
              <a:ext cx="8" cy="4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6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</a:cxnLst>
              <a:rect l="0" t="0" r="r" b="b"/>
              <a:pathLst>
                <a:path w="8" h="4">
                  <a:moveTo>
                    <a:pt x="8" y="4"/>
                  </a:moveTo>
                  <a:lnTo>
                    <a:pt x="6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0" name="Freeform 170"/>
            <p:cNvSpPr>
              <a:spLocks/>
            </p:cNvSpPr>
            <p:nvPr/>
          </p:nvSpPr>
          <p:spPr bwMode="auto">
            <a:xfrm>
              <a:off x="2296" y="3408"/>
              <a:ext cx="10" cy="6"/>
            </a:xfrm>
            <a:custGeom>
              <a:avLst/>
              <a:gdLst/>
              <a:ahLst/>
              <a:cxnLst>
                <a:cxn ang="0">
                  <a:pos x="8" y="6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10" y="6"/>
                </a:cxn>
                <a:cxn ang="0">
                  <a:pos x="8" y="6"/>
                </a:cxn>
              </a:cxnLst>
              <a:rect l="0" t="0" r="r" b="b"/>
              <a:pathLst>
                <a:path w="10" h="6">
                  <a:moveTo>
                    <a:pt x="8" y="6"/>
                  </a:moveTo>
                  <a:lnTo>
                    <a:pt x="6" y="6"/>
                  </a:lnTo>
                  <a:lnTo>
                    <a:pt x="4" y="6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1" name="Freeform 171"/>
            <p:cNvSpPr>
              <a:spLocks/>
            </p:cNvSpPr>
            <p:nvPr/>
          </p:nvSpPr>
          <p:spPr bwMode="auto">
            <a:xfrm>
              <a:off x="2330" y="3408"/>
              <a:ext cx="6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6"/>
                </a:cxn>
              </a:cxnLst>
              <a:rect l="0" t="0" r="r" b="b"/>
              <a:pathLst>
                <a:path w="6" h="6">
                  <a:moveTo>
                    <a:pt x="2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2" name="Freeform 172"/>
            <p:cNvSpPr>
              <a:spLocks/>
            </p:cNvSpPr>
            <p:nvPr/>
          </p:nvSpPr>
          <p:spPr bwMode="auto">
            <a:xfrm>
              <a:off x="2322" y="3410"/>
              <a:ext cx="8" cy="10"/>
            </a:xfrm>
            <a:custGeom>
              <a:avLst/>
              <a:gdLst/>
              <a:ahLst/>
              <a:cxnLst>
                <a:cxn ang="0">
                  <a:pos x="4" y="10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8" y="6"/>
                </a:cxn>
                <a:cxn ang="0">
                  <a:pos x="8" y="8"/>
                </a:cxn>
                <a:cxn ang="0">
                  <a:pos x="8" y="10"/>
                </a:cxn>
                <a:cxn ang="0">
                  <a:pos x="6" y="10"/>
                </a:cxn>
                <a:cxn ang="0">
                  <a:pos x="4" y="10"/>
                </a:cxn>
              </a:cxnLst>
              <a:rect l="0" t="0" r="r" b="b"/>
              <a:pathLst>
                <a:path w="8" h="10">
                  <a:moveTo>
                    <a:pt x="4" y="10"/>
                  </a:moveTo>
                  <a:lnTo>
                    <a:pt x="4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8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3" name="Freeform 173"/>
            <p:cNvSpPr>
              <a:spLocks/>
            </p:cNvSpPr>
            <p:nvPr/>
          </p:nvSpPr>
          <p:spPr bwMode="auto">
            <a:xfrm>
              <a:off x="2312" y="3410"/>
              <a:ext cx="10" cy="4"/>
            </a:xfrm>
            <a:custGeom>
              <a:avLst/>
              <a:gdLst/>
              <a:ahLst/>
              <a:cxnLst>
                <a:cxn ang="0">
                  <a:pos x="6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8" y="4"/>
                </a:cxn>
                <a:cxn ang="0">
                  <a:pos x="6" y="4"/>
                </a:cxn>
              </a:cxnLst>
              <a:rect l="0" t="0" r="r" b="b"/>
              <a:pathLst>
                <a:path w="10" h="4">
                  <a:moveTo>
                    <a:pt x="6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4" name="Freeform 174"/>
            <p:cNvSpPr>
              <a:spLocks/>
            </p:cNvSpPr>
            <p:nvPr/>
          </p:nvSpPr>
          <p:spPr bwMode="auto">
            <a:xfrm>
              <a:off x="2272" y="3412"/>
              <a:ext cx="4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2" y="6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5" name="Freeform 175"/>
            <p:cNvSpPr>
              <a:spLocks/>
            </p:cNvSpPr>
            <p:nvPr/>
          </p:nvSpPr>
          <p:spPr bwMode="auto">
            <a:xfrm>
              <a:off x="2304" y="3414"/>
              <a:ext cx="20" cy="10"/>
            </a:xfrm>
            <a:custGeom>
              <a:avLst/>
              <a:gdLst/>
              <a:ahLst/>
              <a:cxnLst>
                <a:cxn ang="0">
                  <a:pos x="4" y="10"/>
                </a:cxn>
                <a:cxn ang="0">
                  <a:pos x="0" y="10"/>
                </a:cxn>
                <a:cxn ang="0">
                  <a:pos x="2" y="8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8" y="2"/>
                </a:cxn>
                <a:cxn ang="0">
                  <a:pos x="18" y="4"/>
                </a:cxn>
                <a:cxn ang="0">
                  <a:pos x="20" y="6"/>
                </a:cxn>
                <a:cxn ang="0">
                  <a:pos x="18" y="8"/>
                </a:cxn>
                <a:cxn ang="0">
                  <a:pos x="16" y="8"/>
                </a:cxn>
                <a:cxn ang="0">
                  <a:pos x="14" y="8"/>
                </a:cxn>
                <a:cxn ang="0">
                  <a:pos x="10" y="8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4" y="10"/>
                </a:cxn>
              </a:cxnLst>
              <a:rect l="0" t="0" r="r" b="b"/>
              <a:pathLst>
                <a:path w="20" h="10">
                  <a:moveTo>
                    <a:pt x="4" y="10"/>
                  </a:moveTo>
                  <a:lnTo>
                    <a:pt x="0" y="10"/>
                  </a:lnTo>
                  <a:lnTo>
                    <a:pt x="2" y="8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20" y="6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6" name="Freeform 176"/>
            <p:cNvSpPr>
              <a:spLocks/>
            </p:cNvSpPr>
            <p:nvPr/>
          </p:nvSpPr>
          <p:spPr bwMode="auto">
            <a:xfrm>
              <a:off x="2310" y="3422"/>
              <a:ext cx="22" cy="16"/>
            </a:xfrm>
            <a:custGeom>
              <a:avLst/>
              <a:gdLst/>
              <a:ahLst/>
              <a:cxnLst>
                <a:cxn ang="0">
                  <a:pos x="22" y="16"/>
                </a:cxn>
                <a:cxn ang="0">
                  <a:pos x="18" y="14"/>
                </a:cxn>
                <a:cxn ang="0">
                  <a:pos x="16" y="14"/>
                </a:cxn>
                <a:cxn ang="0">
                  <a:pos x="14" y="14"/>
                </a:cxn>
                <a:cxn ang="0">
                  <a:pos x="12" y="14"/>
                </a:cxn>
                <a:cxn ang="0">
                  <a:pos x="10" y="14"/>
                </a:cxn>
                <a:cxn ang="0">
                  <a:pos x="10" y="12"/>
                </a:cxn>
                <a:cxn ang="0">
                  <a:pos x="6" y="10"/>
                </a:cxn>
                <a:cxn ang="0">
                  <a:pos x="4" y="10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2"/>
                </a:cxn>
                <a:cxn ang="0">
                  <a:pos x="20" y="4"/>
                </a:cxn>
                <a:cxn ang="0">
                  <a:pos x="22" y="6"/>
                </a:cxn>
                <a:cxn ang="0">
                  <a:pos x="22" y="8"/>
                </a:cxn>
                <a:cxn ang="0">
                  <a:pos x="22" y="10"/>
                </a:cxn>
                <a:cxn ang="0">
                  <a:pos x="22" y="16"/>
                </a:cxn>
              </a:cxnLst>
              <a:rect l="0" t="0" r="r" b="b"/>
              <a:pathLst>
                <a:path w="22" h="16">
                  <a:moveTo>
                    <a:pt x="22" y="16"/>
                  </a:moveTo>
                  <a:lnTo>
                    <a:pt x="18" y="14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0" y="14"/>
                  </a:lnTo>
                  <a:lnTo>
                    <a:pt x="10" y="12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22" y="10"/>
                  </a:lnTo>
                  <a:lnTo>
                    <a:pt x="22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7" name="Freeform 177"/>
            <p:cNvSpPr>
              <a:spLocks/>
            </p:cNvSpPr>
            <p:nvPr/>
          </p:nvSpPr>
          <p:spPr bwMode="auto">
            <a:xfrm>
              <a:off x="2302" y="3432"/>
              <a:ext cx="6" cy="8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6" y="6"/>
                </a:cxn>
                <a:cxn ang="0">
                  <a:pos x="6" y="8"/>
                </a:cxn>
                <a:cxn ang="0">
                  <a:pos x="4" y="6"/>
                </a:cxn>
              </a:cxnLst>
              <a:rect l="0" t="0" r="r" b="b"/>
              <a:pathLst>
                <a:path w="6" h="8">
                  <a:moveTo>
                    <a:pt x="4" y="6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8" name="Freeform 178"/>
            <p:cNvSpPr>
              <a:spLocks/>
            </p:cNvSpPr>
            <p:nvPr/>
          </p:nvSpPr>
          <p:spPr bwMode="auto">
            <a:xfrm>
              <a:off x="2312" y="3434"/>
              <a:ext cx="16" cy="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2" y="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6" y="2"/>
                </a:cxn>
                <a:cxn ang="0">
                  <a:pos x="16" y="4"/>
                </a:cxn>
                <a:cxn ang="0">
                  <a:pos x="16" y="6"/>
                </a:cxn>
                <a:cxn ang="0">
                  <a:pos x="16" y="8"/>
                </a:cxn>
                <a:cxn ang="0">
                  <a:pos x="14" y="8"/>
                </a:cxn>
                <a:cxn ang="0">
                  <a:pos x="10" y="8"/>
                </a:cxn>
                <a:cxn ang="0">
                  <a:pos x="8" y="8"/>
                </a:cxn>
              </a:cxnLst>
              <a:rect l="0" t="0" r="r" b="b"/>
              <a:pathLst>
                <a:path w="16" h="8">
                  <a:moveTo>
                    <a:pt x="8" y="8"/>
                  </a:moveTo>
                  <a:lnTo>
                    <a:pt x="2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9" name="Freeform 179"/>
            <p:cNvSpPr>
              <a:spLocks/>
            </p:cNvSpPr>
            <p:nvPr/>
          </p:nvSpPr>
          <p:spPr bwMode="auto">
            <a:xfrm>
              <a:off x="2298" y="3438"/>
              <a:ext cx="10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10" y="6"/>
                </a:cxn>
                <a:cxn ang="0">
                  <a:pos x="8" y="6"/>
                </a:cxn>
                <a:cxn ang="0">
                  <a:pos x="6" y="6"/>
                </a:cxn>
              </a:cxnLst>
              <a:rect l="0" t="0" r="r" b="b"/>
              <a:pathLst>
                <a:path w="10" h="6">
                  <a:moveTo>
                    <a:pt x="6" y="6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10" y="6"/>
                  </a:lnTo>
                  <a:lnTo>
                    <a:pt x="8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0" name="Freeform 180"/>
            <p:cNvSpPr>
              <a:spLocks/>
            </p:cNvSpPr>
            <p:nvPr/>
          </p:nvSpPr>
          <p:spPr bwMode="auto">
            <a:xfrm>
              <a:off x="2320" y="3442"/>
              <a:ext cx="8" cy="4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6" y="4"/>
                </a:cxn>
                <a:cxn ang="0">
                  <a:pos x="4" y="4"/>
                </a:cxn>
              </a:cxnLst>
              <a:rect l="0" t="0" r="r" b="b"/>
              <a:pathLst>
                <a:path w="8" h="4">
                  <a:moveTo>
                    <a:pt x="4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6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1" name="Freeform 181"/>
            <p:cNvSpPr>
              <a:spLocks/>
            </p:cNvSpPr>
            <p:nvPr/>
          </p:nvSpPr>
          <p:spPr bwMode="auto">
            <a:xfrm>
              <a:off x="2314" y="3446"/>
              <a:ext cx="14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4" y="4"/>
                </a:cxn>
                <a:cxn ang="0">
                  <a:pos x="12" y="6"/>
                </a:cxn>
                <a:cxn ang="0">
                  <a:pos x="10" y="6"/>
                </a:cxn>
                <a:cxn ang="0">
                  <a:pos x="8" y="6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0" y="8"/>
                </a:cxn>
              </a:cxnLst>
              <a:rect l="0" t="0" r="r" b="b"/>
              <a:pathLst>
                <a:path w="14" h="8">
                  <a:moveTo>
                    <a:pt x="0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2" name="Freeform 182"/>
            <p:cNvSpPr>
              <a:spLocks/>
            </p:cNvSpPr>
            <p:nvPr/>
          </p:nvSpPr>
          <p:spPr bwMode="auto">
            <a:xfrm>
              <a:off x="2328" y="3446"/>
              <a:ext cx="10" cy="18"/>
            </a:xfrm>
            <a:custGeom>
              <a:avLst/>
              <a:gdLst/>
              <a:ahLst/>
              <a:cxnLst>
                <a:cxn ang="0">
                  <a:pos x="6" y="18"/>
                </a:cxn>
                <a:cxn ang="0">
                  <a:pos x="2" y="12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8" y="14"/>
                </a:cxn>
                <a:cxn ang="0">
                  <a:pos x="8" y="16"/>
                </a:cxn>
                <a:cxn ang="0">
                  <a:pos x="8" y="18"/>
                </a:cxn>
                <a:cxn ang="0">
                  <a:pos x="6" y="18"/>
                </a:cxn>
              </a:cxnLst>
              <a:rect l="0" t="0" r="r" b="b"/>
              <a:pathLst>
                <a:path w="10" h="18">
                  <a:moveTo>
                    <a:pt x="6" y="18"/>
                  </a:moveTo>
                  <a:lnTo>
                    <a:pt x="2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3" name="Freeform 183"/>
            <p:cNvSpPr>
              <a:spLocks/>
            </p:cNvSpPr>
            <p:nvPr/>
          </p:nvSpPr>
          <p:spPr bwMode="auto">
            <a:xfrm>
              <a:off x="2300" y="3446"/>
              <a:ext cx="12" cy="20"/>
            </a:xfrm>
            <a:custGeom>
              <a:avLst/>
              <a:gdLst/>
              <a:ahLst/>
              <a:cxnLst>
                <a:cxn ang="0">
                  <a:pos x="2" y="20"/>
                </a:cxn>
                <a:cxn ang="0">
                  <a:pos x="0" y="18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2" y="14"/>
                </a:cxn>
                <a:cxn ang="0">
                  <a:pos x="2" y="12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10" y="4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12" y="10"/>
                </a:cxn>
                <a:cxn ang="0">
                  <a:pos x="10" y="12"/>
                </a:cxn>
                <a:cxn ang="0">
                  <a:pos x="10" y="14"/>
                </a:cxn>
                <a:cxn ang="0">
                  <a:pos x="4" y="18"/>
                </a:cxn>
                <a:cxn ang="0">
                  <a:pos x="2" y="20"/>
                </a:cxn>
              </a:cxnLst>
              <a:rect l="0" t="0" r="r" b="b"/>
              <a:pathLst>
                <a:path w="12" h="20">
                  <a:moveTo>
                    <a:pt x="2" y="20"/>
                  </a:moveTo>
                  <a:lnTo>
                    <a:pt x="0" y="18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4" y="18"/>
                  </a:lnTo>
                  <a:lnTo>
                    <a:pt x="2" y="2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4" name="Freeform 184"/>
            <p:cNvSpPr>
              <a:spLocks/>
            </p:cNvSpPr>
            <p:nvPr/>
          </p:nvSpPr>
          <p:spPr bwMode="auto">
            <a:xfrm>
              <a:off x="2316" y="3452"/>
              <a:ext cx="10" cy="10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10" y="4"/>
                </a:cxn>
                <a:cxn ang="0">
                  <a:pos x="8" y="6"/>
                </a:cxn>
                <a:cxn ang="0">
                  <a:pos x="8" y="8"/>
                </a:cxn>
                <a:cxn ang="0">
                  <a:pos x="6" y="10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lnTo>
                    <a:pt x="4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10" y="4"/>
                  </a:lnTo>
                  <a:lnTo>
                    <a:pt x="8" y="6"/>
                  </a:lnTo>
                  <a:lnTo>
                    <a:pt x="8" y="8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5" name="Freeform 185"/>
            <p:cNvSpPr>
              <a:spLocks/>
            </p:cNvSpPr>
            <p:nvPr/>
          </p:nvSpPr>
          <p:spPr bwMode="auto">
            <a:xfrm>
              <a:off x="2292" y="3454"/>
              <a:ext cx="6" cy="1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0" y="10"/>
                </a:cxn>
                <a:cxn ang="0">
                  <a:pos x="0" y="8"/>
                </a:cxn>
              </a:cxnLst>
              <a:rect l="0" t="0" r="r" b="b"/>
              <a:pathLst>
                <a:path w="6" h="10">
                  <a:moveTo>
                    <a:pt x="0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6" name="Freeform 186"/>
            <p:cNvSpPr>
              <a:spLocks/>
            </p:cNvSpPr>
            <p:nvPr/>
          </p:nvSpPr>
          <p:spPr bwMode="auto">
            <a:xfrm>
              <a:off x="2316" y="3462"/>
              <a:ext cx="6" cy="10"/>
            </a:xfrm>
            <a:custGeom>
              <a:avLst/>
              <a:gdLst/>
              <a:ahLst/>
              <a:cxnLst>
                <a:cxn ang="0">
                  <a:pos x="4" y="10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6" y="8"/>
                </a:cxn>
                <a:cxn ang="0">
                  <a:pos x="4" y="10"/>
                </a:cxn>
              </a:cxnLst>
              <a:rect l="0" t="0" r="r" b="b"/>
              <a:pathLst>
                <a:path w="6" h="10">
                  <a:moveTo>
                    <a:pt x="4" y="10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7" name="Freeform 187"/>
            <p:cNvSpPr>
              <a:spLocks/>
            </p:cNvSpPr>
            <p:nvPr/>
          </p:nvSpPr>
          <p:spPr bwMode="auto">
            <a:xfrm>
              <a:off x="2324" y="3466"/>
              <a:ext cx="8" cy="1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4" y="6"/>
                </a:cxn>
                <a:cxn ang="0">
                  <a:pos x="4" y="10"/>
                </a:cxn>
                <a:cxn ang="0">
                  <a:pos x="0" y="10"/>
                </a:cxn>
              </a:cxnLst>
              <a:rect l="0" t="0" r="r" b="b"/>
              <a:pathLst>
                <a:path w="8" h="10">
                  <a:moveTo>
                    <a:pt x="0" y="10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8" name="Freeform 188"/>
            <p:cNvSpPr>
              <a:spLocks/>
            </p:cNvSpPr>
            <p:nvPr/>
          </p:nvSpPr>
          <p:spPr bwMode="auto">
            <a:xfrm>
              <a:off x="2274" y="3466"/>
              <a:ext cx="18" cy="18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6" y="12"/>
                </a:cxn>
                <a:cxn ang="0">
                  <a:pos x="6" y="10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10" y="4"/>
                </a:cxn>
                <a:cxn ang="0">
                  <a:pos x="14" y="2"/>
                </a:cxn>
                <a:cxn ang="0">
                  <a:pos x="16" y="0"/>
                </a:cxn>
                <a:cxn ang="0">
                  <a:pos x="18" y="2"/>
                </a:cxn>
                <a:cxn ang="0">
                  <a:pos x="16" y="2"/>
                </a:cxn>
                <a:cxn ang="0">
                  <a:pos x="16" y="10"/>
                </a:cxn>
                <a:cxn ang="0">
                  <a:pos x="14" y="10"/>
                </a:cxn>
                <a:cxn ang="0">
                  <a:pos x="14" y="12"/>
                </a:cxn>
                <a:cxn ang="0">
                  <a:pos x="8" y="16"/>
                </a:cxn>
                <a:cxn ang="0">
                  <a:pos x="8" y="18"/>
                </a:cxn>
                <a:cxn ang="0">
                  <a:pos x="4" y="18"/>
                </a:cxn>
                <a:cxn ang="0">
                  <a:pos x="2" y="16"/>
                </a:cxn>
              </a:cxnLst>
              <a:rect l="0" t="0" r="r" b="b"/>
              <a:pathLst>
                <a:path w="18" h="18">
                  <a:moveTo>
                    <a:pt x="2" y="16"/>
                  </a:move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0" y="4"/>
                  </a:lnTo>
                  <a:lnTo>
                    <a:pt x="2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2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9" name="Freeform 189"/>
            <p:cNvSpPr>
              <a:spLocks/>
            </p:cNvSpPr>
            <p:nvPr/>
          </p:nvSpPr>
          <p:spPr bwMode="auto">
            <a:xfrm>
              <a:off x="2328" y="3470"/>
              <a:ext cx="6" cy="8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6" y="8"/>
                </a:cxn>
              </a:cxnLst>
              <a:rect l="0" t="0" r="r" b="b"/>
              <a:pathLst>
                <a:path w="6" h="8">
                  <a:moveTo>
                    <a:pt x="6" y="8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0" name="Freeform 190"/>
            <p:cNvSpPr>
              <a:spLocks/>
            </p:cNvSpPr>
            <p:nvPr/>
          </p:nvSpPr>
          <p:spPr bwMode="auto">
            <a:xfrm>
              <a:off x="2324" y="3478"/>
              <a:ext cx="10" cy="10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10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8" y="10"/>
                </a:cxn>
                <a:cxn ang="0">
                  <a:pos x="6" y="10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lnTo>
                    <a:pt x="4" y="10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8" y="10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1" name="Freeform 191"/>
            <p:cNvSpPr>
              <a:spLocks/>
            </p:cNvSpPr>
            <p:nvPr/>
          </p:nvSpPr>
          <p:spPr bwMode="auto">
            <a:xfrm>
              <a:off x="2312" y="3532"/>
              <a:ext cx="10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8" y="6"/>
                </a:cxn>
                <a:cxn ang="0">
                  <a:pos x="6" y="8"/>
                </a:cxn>
                <a:cxn ang="0">
                  <a:pos x="4" y="8"/>
                </a:cxn>
                <a:cxn ang="0">
                  <a:pos x="2" y="8"/>
                </a:cxn>
              </a:cxnLst>
              <a:rect l="0" t="0" r="r" b="b"/>
              <a:pathLst>
                <a:path w="10" h="8">
                  <a:moveTo>
                    <a:pt x="2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8" y="0"/>
                  </a:lnTo>
                  <a:lnTo>
                    <a:pt x="10" y="2"/>
                  </a:lnTo>
                  <a:lnTo>
                    <a:pt x="8" y="6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2" name="Freeform 192"/>
            <p:cNvSpPr>
              <a:spLocks/>
            </p:cNvSpPr>
            <p:nvPr/>
          </p:nvSpPr>
          <p:spPr bwMode="auto">
            <a:xfrm>
              <a:off x="2302" y="3534"/>
              <a:ext cx="8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6" y="2"/>
                </a:cxn>
                <a:cxn ang="0">
                  <a:pos x="2" y="6"/>
                </a:cxn>
                <a:cxn ang="0">
                  <a:pos x="0" y="6"/>
                </a:cxn>
              </a:cxnLst>
              <a:rect l="0" t="0" r="r" b="b"/>
              <a:pathLst>
                <a:path w="8" h="6">
                  <a:moveTo>
                    <a:pt x="0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3" name="Freeform 193"/>
            <p:cNvSpPr>
              <a:spLocks/>
            </p:cNvSpPr>
            <p:nvPr/>
          </p:nvSpPr>
          <p:spPr bwMode="auto">
            <a:xfrm>
              <a:off x="2278" y="3568"/>
              <a:ext cx="8" cy="6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2" y="6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6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lnTo>
                    <a:pt x="2" y="6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4" name="Freeform 194"/>
            <p:cNvSpPr>
              <a:spLocks/>
            </p:cNvSpPr>
            <p:nvPr/>
          </p:nvSpPr>
          <p:spPr bwMode="auto">
            <a:xfrm>
              <a:off x="2270" y="3570"/>
              <a:ext cx="8" cy="8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6" y="6"/>
                </a:cxn>
                <a:cxn ang="0">
                  <a:pos x="6" y="8"/>
                </a:cxn>
                <a:cxn ang="0">
                  <a:pos x="2" y="8"/>
                </a:cxn>
                <a:cxn ang="0">
                  <a:pos x="4" y="6"/>
                </a:cxn>
              </a:cxnLst>
              <a:rect l="0" t="0" r="r" b="b"/>
              <a:pathLst>
                <a:path w="8" h="8">
                  <a:moveTo>
                    <a:pt x="4" y="6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2" y="8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5" name="Freeform 195"/>
            <p:cNvSpPr>
              <a:spLocks/>
            </p:cNvSpPr>
            <p:nvPr/>
          </p:nvSpPr>
          <p:spPr bwMode="auto">
            <a:xfrm>
              <a:off x="2302" y="3574"/>
              <a:ext cx="28" cy="10"/>
            </a:xfrm>
            <a:custGeom>
              <a:avLst/>
              <a:gdLst/>
              <a:ahLst/>
              <a:cxnLst>
                <a:cxn ang="0">
                  <a:pos x="8" y="10"/>
                </a:cxn>
                <a:cxn ang="0">
                  <a:pos x="6" y="10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8" y="0"/>
                </a:cxn>
                <a:cxn ang="0">
                  <a:pos x="18" y="4"/>
                </a:cxn>
                <a:cxn ang="0">
                  <a:pos x="24" y="6"/>
                </a:cxn>
                <a:cxn ang="0">
                  <a:pos x="26" y="6"/>
                </a:cxn>
                <a:cxn ang="0">
                  <a:pos x="26" y="4"/>
                </a:cxn>
                <a:cxn ang="0">
                  <a:pos x="28" y="4"/>
                </a:cxn>
                <a:cxn ang="0">
                  <a:pos x="28" y="6"/>
                </a:cxn>
                <a:cxn ang="0">
                  <a:pos x="26" y="8"/>
                </a:cxn>
                <a:cxn ang="0">
                  <a:pos x="24" y="8"/>
                </a:cxn>
                <a:cxn ang="0">
                  <a:pos x="18" y="8"/>
                </a:cxn>
                <a:cxn ang="0">
                  <a:pos x="16" y="8"/>
                </a:cxn>
                <a:cxn ang="0">
                  <a:pos x="8" y="10"/>
                </a:cxn>
              </a:cxnLst>
              <a:rect l="0" t="0" r="r" b="b"/>
              <a:pathLst>
                <a:path w="28" h="10">
                  <a:moveTo>
                    <a:pt x="8" y="10"/>
                  </a:moveTo>
                  <a:lnTo>
                    <a:pt x="6" y="10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8" y="0"/>
                  </a:lnTo>
                  <a:lnTo>
                    <a:pt x="18" y="4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8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6" name="Freeform 196"/>
            <p:cNvSpPr>
              <a:spLocks/>
            </p:cNvSpPr>
            <p:nvPr/>
          </p:nvSpPr>
          <p:spPr bwMode="auto">
            <a:xfrm>
              <a:off x="2272" y="3576"/>
              <a:ext cx="18" cy="14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4" y="10"/>
                </a:cxn>
                <a:cxn ang="0">
                  <a:pos x="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8" y="6"/>
                </a:cxn>
                <a:cxn ang="0">
                  <a:pos x="12" y="4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18" y="4"/>
                </a:cxn>
                <a:cxn ang="0">
                  <a:pos x="18" y="12"/>
                </a:cxn>
                <a:cxn ang="0">
                  <a:pos x="16" y="12"/>
                </a:cxn>
                <a:cxn ang="0">
                  <a:pos x="16" y="14"/>
                </a:cxn>
                <a:cxn ang="0">
                  <a:pos x="14" y="14"/>
                </a:cxn>
              </a:cxnLst>
              <a:rect l="0" t="0" r="r" b="b"/>
              <a:pathLst>
                <a:path w="18" h="14">
                  <a:moveTo>
                    <a:pt x="14" y="14"/>
                  </a:moveTo>
                  <a:lnTo>
                    <a:pt x="12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6"/>
                  </a:lnTo>
                  <a:lnTo>
                    <a:pt x="6" y="6"/>
                  </a:lnTo>
                  <a:lnTo>
                    <a:pt x="8" y="6"/>
                  </a:lnTo>
                  <a:lnTo>
                    <a:pt x="12" y="4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8" y="12"/>
                  </a:lnTo>
                  <a:lnTo>
                    <a:pt x="16" y="12"/>
                  </a:lnTo>
                  <a:lnTo>
                    <a:pt x="16" y="14"/>
                  </a:lnTo>
                  <a:lnTo>
                    <a:pt x="14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7" name="Freeform 197"/>
            <p:cNvSpPr>
              <a:spLocks/>
            </p:cNvSpPr>
            <p:nvPr/>
          </p:nvSpPr>
          <p:spPr bwMode="auto">
            <a:xfrm>
              <a:off x="2258" y="3586"/>
              <a:ext cx="22" cy="38"/>
            </a:xfrm>
            <a:custGeom>
              <a:avLst/>
              <a:gdLst/>
              <a:ahLst/>
              <a:cxnLst>
                <a:cxn ang="0">
                  <a:pos x="16" y="38"/>
                </a:cxn>
                <a:cxn ang="0">
                  <a:pos x="14" y="38"/>
                </a:cxn>
                <a:cxn ang="0">
                  <a:pos x="14" y="34"/>
                </a:cxn>
                <a:cxn ang="0">
                  <a:pos x="12" y="30"/>
                </a:cxn>
                <a:cxn ang="0">
                  <a:pos x="12" y="26"/>
                </a:cxn>
                <a:cxn ang="0">
                  <a:pos x="12" y="24"/>
                </a:cxn>
                <a:cxn ang="0">
                  <a:pos x="8" y="22"/>
                </a:cxn>
                <a:cxn ang="0">
                  <a:pos x="6" y="22"/>
                </a:cxn>
                <a:cxn ang="0">
                  <a:pos x="4" y="22"/>
                </a:cxn>
                <a:cxn ang="0">
                  <a:pos x="2" y="22"/>
                </a:cxn>
                <a:cxn ang="0">
                  <a:pos x="2" y="20"/>
                </a:cxn>
                <a:cxn ang="0">
                  <a:pos x="4" y="18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8" y="16"/>
                </a:cxn>
                <a:cxn ang="0">
                  <a:pos x="2" y="18"/>
                </a:cxn>
                <a:cxn ang="0">
                  <a:pos x="2" y="1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2" y="8"/>
                </a:cxn>
                <a:cxn ang="0">
                  <a:pos x="14" y="8"/>
                </a:cxn>
                <a:cxn ang="0">
                  <a:pos x="14" y="12"/>
                </a:cxn>
                <a:cxn ang="0">
                  <a:pos x="14" y="14"/>
                </a:cxn>
                <a:cxn ang="0">
                  <a:pos x="14" y="16"/>
                </a:cxn>
                <a:cxn ang="0">
                  <a:pos x="16" y="18"/>
                </a:cxn>
                <a:cxn ang="0">
                  <a:pos x="16" y="20"/>
                </a:cxn>
                <a:cxn ang="0">
                  <a:pos x="18" y="22"/>
                </a:cxn>
                <a:cxn ang="0">
                  <a:pos x="20" y="28"/>
                </a:cxn>
                <a:cxn ang="0">
                  <a:pos x="22" y="32"/>
                </a:cxn>
                <a:cxn ang="0">
                  <a:pos x="20" y="32"/>
                </a:cxn>
                <a:cxn ang="0">
                  <a:pos x="16" y="36"/>
                </a:cxn>
                <a:cxn ang="0">
                  <a:pos x="16" y="38"/>
                </a:cxn>
              </a:cxnLst>
              <a:rect l="0" t="0" r="r" b="b"/>
              <a:pathLst>
                <a:path w="22" h="38">
                  <a:moveTo>
                    <a:pt x="16" y="38"/>
                  </a:moveTo>
                  <a:lnTo>
                    <a:pt x="14" y="38"/>
                  </a:lnTo>
                  <a:lnTo>
                    <a:pt x="14" y="34"/>
                  </a:lnTo>
                  <a:lnTo>
                    <a:pt x="12" y="30"/>
                  </a:lnTo>
                  <a:lnTo>
                    <a:pt x="12" y="26"/>
                  </a:lnTo>
                  <a:lnTo>
                    <a:pt x="12" y="24"/>
                  </a:lnTo>
                  <a:lnTo>
                    <a:pt x="8" y="22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0" y="4"/>
                  </a:lnTo>
                  <a:lnTo>
                    <a:pt x="2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6" y="18"/>
                  </a:lnTo>
                  <a:lnTo>
                    <a:pt x="16" y="20"/>
                  </a:lnTo>
                  <a:lnTo>
                    <a:pt x="18" y="22"/>
                  </a:lnTo>
                  <a:lnTo>
                    <a:pt x="20" y="28"/>
                  </a:lnTo>
                  <a:lnTo>
                    <a:pt x="22" y="32"/>
                  </a:lnTo>
                  <a:lnTo>
                    <a:pt x="20" y="32"/>
                  </a:lnTo>
                  <a:lnTo>
                    <a:pt x="16" y="36"/>
                  </a:lnTo>
                  <a:lnTo>
                    <a:pt x="16" y="3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8" name="Freeform 198"/>
            <p:cNvSpPr>
              <a:spLocks/>
            </p:cNvSpPr>
            <p:nvPr/>
          </p:nvSpPr>
          <p:spPr bwMode="auto">
            <a:xfrm>
              <a:off x="2272" y="3590"/>
              <a:ext cx="18" cy="20"/>
            </a:xfrm>
            <a:custGeom>
              <a:avLst/>
              <a:gdLst/>
              <a:ahLst/>
              <a:cxnLst>
                <a:cxn ang="0">
                  <a:pos x="10" y="20"/>
                </a:cxn>
                <a:cxn ang="0">
                  <a:pos x="8" y="20"/>
                </a:cxn>
                <a:cxn ang="0">
                  <a:pos x="2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12" y="4"/>
                </a:cxn>
                <a:cxn ang="0">
                  <a:pos x="18" y="4"/>
                </a:cxn>
                <a:cxn ang="0">
                  <a:pos x="18" y="6"/>
                </a:cxn>
                <a:cxn ang="0">
                  <a:pos x="18" y="8"/>
                </a:cxn>
                <a:cxn ang="0">
                  <a:pos x="16" y="14"/>
                </a:cxn>
                <a:cxn ang="0">
                  <a:pos x="16" y="16"/>
                </a:cxn>
                <a:cxn ang="0">
                  <a:pos x="14" y="16"/>
                </a:cxn>
                <a:cxn ang="0">
                  <a:pos x="12" y="16"/>
                </a:cxn>
                <a:cxn ang="0">
                  <a:pos x="12" y="18"/>
                </a:cxn>
                <a:cxn ang="0">
                  <a:pos x="10" y="18"/>
                </a:cxn>
                <a:cxn ang="0">
                  <a:pos x="10" y="20"/>
                </a:cxn>
              </a:cxnLst>
              <a:rect l="0" t="0" r="r" b="b"/>
              <a:pathLst>
                <a:path w="18" h="20">
                  <a:moveTo>
                    <a:pt x="10" y="20"/>
                  </a:moveTo>
                  <a:lnTo>
                    <a:pt x="8" y="20"/>
                  </a:lnTo>
                  <a:lnTo>
                    <a:pt x="2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0"/>
                  </a:lnTo>
                  <a:lnTo>
                    <a:pt x="10" y="2"/>
                  </a:lnTo>
                  <a:lnTo>
                    <a:pt x="12" y="4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8" y="8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9" name="Freeform 199"/>
            <p:cNvSpPr>
              <a:spLocks/>
            </p:cNvSpPr>
            <p:nvPr/>
          </p:nvSpPr>
          <p:spPr bwMode="auto">
            <a:xfrm>
              <a:off x="2298" y="3592"/>
              <a:ext cx="10" cy="12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2" y="12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8" y="6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8" y="10"/>
                </a:cxn>
                <a:cxn ang="0">
                  <a:pos x="4" y="12"/>
                </a:cxn>
              </a:cxnLst>
              <a:rect l="0" t="0" r="r" b="b"/>
              <a:pathLst>
                <a:path w="10" h="12">
                  <a:moveTo>
                    <a:pt x="4" y="12"/>
                  </a:moveTo>
                  <a:lnTo>
                    <a:pt x="2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8" y="6"/>
                  </a:lnTo>
                  <a:lnTo>
                    <a:pt x="10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0" name="Freeform 200"/>
            <p:cNvSpPr>
              <a:spLocks/>
            </p:cNvSpPr>
            <p:nvPr/>
          </p:nvSpPr>
          <p:spPr bwMode="auto">
            <a:xfrm>
              <a:off x="2280" y="3592"/>
              <a:ext cx="24" cy="30"/>
            </a:xfrm>
            <a:custGeom>
              <a:avLst/>
              <a:gdLst/>
              <a:ahLst/>
              <a:cxnLst>
                <a:cxn ang="0">
                  <a:pos x="18" y="30"/>
                </a:cxn>
                <a:cxn ang="0">
                  <a:pos x="12" y="28"/>
                </a:cxn>
                <a:cxn ang="0">
                  <a:pos x="10" y="28"/>
                </a:cxn>
                <a:cxn ang="0">
                  <a:pos x="6" y="26"/>
                </a:cxn>
                <a:cxn ang="0">
                  <a:pos x="2" y="26"/>
                </a:cxn>
                <a:cxn ang="0">
                  <a:pos x="2" y="24"/>
                </a:cxn>
                <a:cxn ang="0">
                  <a:pos x="0" y="22"/>
                </a:cxn>
                <a:cxn ang="0">
                  <a:pos x="2" y="20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8" y="16"/>
                </a:cxn>
                <a:cxn ang="0">
                  <a:pos x="10" y="16"/>
                </a:cxn>
                <a:cxn ang="0">
                  <a:pos x="10" y="18"/>
                </a:cxn>
                <a:cxn ang="0">
                  <a:pos x="12" y="20"/>
                </a:cxn>
                <a:cxn ang="0">
                  <a:pos x="14" y="18"/>
                </a:cxn>
                <a:cxn ang="0">
                  <a:pos x="14" y="16"/>
                </a:cxn>
                <a:cxn ang="0">
                  <a:pos x="12" y="16"/>
                </a:cxn>
                <a:cxn ang="0">
                  <a:pos x="10" y="14"/>
                </a:cxn>
                <a:cxn ang="0">
                  <a:pos x="10" y="10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4" y="2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14" y="10"/>
                </a:cxn>
                <a:cxn ang="0">
                  <a:pos x="18" y="16"/>
                </a:cxn>
                <a:cxn ang="0">
                  <a:pos x="18" y="18"/>
                </a:cxn>
                <a:cxn ang="0">
                  <a:pos x="18" y="22"/>
                </a:cxn>
                <a:cxn ang="0">
                  <a:pos x="18" y="24"/>
                </a:cxn>
                <a:cxn ang="0">
                  <a:pos x="20" y="26"/>
                </a:cxn>
                <a:cxn ang="0">
                  <a:pos x="22" y="26"/>
                </a:cxn>
                <a:cxn ang="0">
                  <a:pos x="22" y="24"/>
                </a:cxn>
                <a:cxn ang="0">
                  <a:pos x="24" y="24"/>
                </a:cxn>
                <a:cxn ang="0">
                  <a:pos x="24" y="26"/>
                </a:cxn>
                <a:cxn ang="0">
                  <a:pos x="24" y="28"/>
                </a:cxn>
                <a:cxn ang="0">
                  <a:pos x="22" y="28"/>
                </a:cxn>
                <a:cxn ang="0">
                  <a:pos x="22" y="30"/>
                </a:cxn>
                <a:cxn ang="0">
                  <a:pos x="20" y="30"/>
                </a:cxn>
                <a:cxn ang="0">
                  <a:pos x="18" y="30"/>
                </a:cxn>
              </a:cxnLst>
              <a:rect l="0" t="0" r="r" b="b"/>
              <a:pathLst>
                <a:path w="24" h="30">
                  <a:moveTo>
                    <a:pt x="18" y="30"/>
                  </a:moveTo>
                  <a:lnTo>
                    <a:pt x="12" y="28"/>
                  </a:lnTo>
                  <a:lnTo>
                    <a:pt x="10" y="28"/>
                  </a:lnTo>
                  <a:lnTo>
                    <a:pt x="6" y="26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2" y="20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0" y="14"/>
                  </a:lnTo>
                  <a:lnTo>
                    <a:pt x="10" y="10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4" y="10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2" y="24"/>
                  </a:lnTo>
                  <a:lnTo>
                    <a:pt x="24" y="24"/>
                  </a:lnTo>
                  <a:lnTo>
                    <a:pt x="24" y="26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18" y="3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1" name="Freeform 201"/>
            <p:cNvSpPr>
              <a:spLocks/>
            </p:cNvSpPr>
            <p:nvPr/>
          </p:nvSpPr>
          <p:spPr bwMode="auto">
            <a:xfrm>
              <a:off x="2302" y="3600"/>
              <a:ext cx="12" cy="10"/>
            </a:xfrm>
            <a:custGeom>
              <a:avLst/>
              <a:gdLst/>
              <a:ahLst/>
              <a:cxnLst>
                <a:cxn ang="0">
                  <a:pos x="10" y="10"/>
                </a:cxn>
                <a:cxn ang="0">
                  <a:pos x="8" y="10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12" y="8"/>
                </a:cxn>
                <a:cxn ang="0">
                  <a:pos x="12" y="10"/>
                </a:cxn>
                <a:cxn ang="0">
                  <a:pos x="10" y="10"/>
                </a:cxn>
              </a:cxnLst>
              <a:rect l="0" t="0" r="r" b="b"/>
              <a:pathLst>
                <a:path w="12" h="10">
                  <a:moveTo>
                    <a:pt x="10" y="10"/>
                  </a:moveTo>
                  <a:lnTo>
                    <a:pt x="8" y="10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2" name="Freeform 202"/>
            <p:cNvSpPr>
              <a:spLocks/>
            </p:cNvSpPr>
            <p:nvPr/>
          </p:nvSpPr>
          <p:spPr bwMode="auto">
            <a:xfrm>
              <a:off x="2312" y="3604"/>
              <a:ext cx="8" cy="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6" y="8"/>
                </a:cxn>
                <a:cxn ang="0">
                  <a:pos x="4" y="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8" y="8"/>
                </a:cxn>
              </a:cxnLst>
              <a:rect l="0" t="0" r="r" b="b"/>
              <a:pathLst>
                <a:path w="8" h="8">
                  <a:moveTo>
                    <a:pt x="8" y="8"/>
                  </a:moveTo>
                  <a:lnTo>
                    <a:pt x="6" y="8"/>
                  </a:lnTo>
                  <a:lnTo>
                    <a:pt x="4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3" name="Freeform 203"/>
            <p:cNvSpPr>
              <a:spLocks/>
            </p:cNvSpPr>
            <p:nvPr/>
          </p:nvSpPr>
          <p:spPr bwMode="auto">
            <a:xfrm>
              <a:off x="2302" y="3606"/>
              <a:ext cx="8" cy="8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6" y="2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6" y="8"/>
                </a:cxn>
                <a:cxn ang="0">
                  <a:pos x="4" y="8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6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6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4" name="Freeform 204"/>
            <p:cNvSpPr>
              <a:spLocks/>
            </p:cNvSpPr>
            <p:nvPr/>
          </p:nvSpPr>
          <p:spPr bwMode="auto">
            <a:xfrm>
              <a:off x="2254" y="3608"/>
              <a:ext cx="16" cy="16"/>
            </a:xfrm>
            <a:custGeom>
              <a:avLst/>
              <a:gdLst/>
              <a:ahLst/>
              <a:cxnLst>
                <a:cxn ang="0">
                  <a:pos x="4" y="14"/>
                </a:cxn>
                <a:cxn ang="0">
                  <a:pos x="6" y="14"/>
                </a:cxn>
                <a:cxn ang="0">
                  <a:pos x="8" y="14"/>
                </a:cxn>
                <a:cxn ang="0">
                  <a:pos x="10" y="12"/>
                </a:cxn>
                <a:cxn ang="0">
                  <a:pos x="10" y="10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2" y="10"/>
                </a:cxn>
                <a:cxn ang="0">
                  <a:pos x="0" y="10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12" y="0"/>
                </a:cxn>
                <a:cxn ang="0">
                  <a:pos x="14" y="2"/>
                </a:cxn>
                <a:cxn ang="0">
                  <a:pos x="16" y="10"/>
                </a:cxn>
                <a:cxn ang="0">
                  <a:pos x="14" y="12"/>
                </a:cxn>
                <a:cxn ang="0">
                  <a:pos x="12" y="12"/>
                </a:cxn>
                <a:cxn ang="0">
                  <a:pos x="10" y="14"/>
                </a:cxn>
                <a:cxn ang="0">
                  <a:pos x="8" y="14"/>
                </a:cxn>
                <a:cxn ang="0">
                  <a:pos x="8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4" y="14"/>
                </a:cxn>
              </a:cxnLst>
              <a:rect l="0" t="0" r="r" b="b"/>
              <a:pathLst>
                <a:path w="16" h="16">
                  <a:moveTo>
                    <a:pt x="4" y="14"/>
                  </a:moveTo>
                  <a:lnTo>
                    <a:pt x="6" y="14"/>
                  </a:lnTo>
                  <a:lnTo>
                    <a:pt x="8" y="14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2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5" name="Freeform 205"/>
            <p:cNvSpPr>
              <a:spLocks/>
            </p:cNvSpPr>
            <p:nvPr/>
          </p:nvSpPr>
          <p:spPr bwMode="auto">
            <a:xfrm>
              <a:off x="2256" y="3620"/>
              <a:ext cx="16" cy="10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10" y="2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6" y="4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6" y="8"/>
                </a:cxn>
                <a:cxn ang="0">
                  <a:pos x="2" y="10"/>
                </a:cxn>
              </a:cxnLst>
              <a:rect l="0" t="0" r="r" b="b"/>
              <a:pathLst>
                <a:path w="16" h="10">
                  <a:moveTo>
                    <a:pt x="2" y="10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6" y="8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6" name="Freeform 206"/>
            <p:cNvSpPr>
              <a:spLocks/>
            </p:cNvSpPr>
            <p:nvPr/>
          </p:nvSpPr>
          <p:spPr bwMode="auto">
            <a:xfrm>
              <a:off x="2272" y="3620"/>
              <a:ext cx="8" cy="10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2" y="4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6" y="10"/>
                </a:cxn>
              </a:cxnLst>
              <a:rect l="0" t="0" r="r" b="b"/>
              <a:pathLst>
                <a:path w="8" h="10">
                  <a:moveTo>
                    <a:pt x="6" y="10"/>
                  </a:moveTo>
                  <a:lnTo>
                    <a:pt x="4" y="10"/>
                  </a:lnTo>
                  <a:lnTo>
                    <a:pt x="0" y="8"/>
                  </a:lnTo>
                  <a:lnTo>
                    <a:pt x="2" y="4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8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7" name="Freeform 207"/>
            <p:cNvSpPr>
              <a:spLocks/>
            </p:cNvSpPr>
            <p:nvPr/>
          </p:nvSpPr>
          <p:spPr bwMode="auto">
            <a:xfrm>
              <a:off x="2280" y="3620"/>
              <a:ext cx="10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2" y="6"/>
                </a:cxn>
              </a:cxnLst>
              <a:rect l="0" t="0" r="r" b="b"/>
              <a:pathLst>
                <a:path w="10" h="6">
                  <a:moveTo>
                    <a:pt x="2" y="6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6" y="4"/>
                  </a:lnTo>
                  <a:lnTo>
                    <a:pt x="4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8" name="Freeform 208"/>
            <p:cNvSpPr>
              <a:spLocks/>
            </p:cNvSpPr>
            <p:nvPr/>
          </p:nvSpPr>
          <p:spPr bwMode="auto">
            <a:xfrm>
              <a:off x="2264" y="3622"/>
              <a:ext cx="44" cy="74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10" y="40"/>
                </a:cxn>
                <a:cxn ang="0">
                  <a:pos x="8" y="38"/>
                </a:cxn>
                <a:cxn ang="0">
                  <a:pos x="6" y="32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20" y="32"/>
                </a:cxn>
                <a:cxn ang="0">
                  <a:pos x="24" y="32"/>
                </a:cxn>
                <a:cxn ang="0">
                  <a:pos x="24" y="20"/>
                </a:cxn>
                <a:cxn ang="0">
                  <a:pos x="20" y="16"/>
                </a:cxn>
                <a:cxn ang="0">
                  <a:pos x="16" y="10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8" y="4"/>
                </a:cxn>
                <a:cxn ang="0">
                  <a:pos x="40" y="14"/>
                </a:cxn>
                <a:cxn ang="0">
                  <a:pos x="40" y="22"/>
                </a:cxn>
                <a:cxn ang="0">
                  <a:pos x="42" y="30"/>
                </a:cxn>
                <a:cxn ang="0">
                  <a:pos x="42" y="40"/>
                </a:cxn>
                <a:cxn ang="0">
                  <a:pos x="38" y="46"/>
                </a:cxn>
                <a:cxn ang="0">
                  <a:pos x="38" y="50"/>
                </a:cxn>
                <a:cxn ang="0">
                  <a:pos x="36" y="56"/>
                </a:cxn>
                <a:cxn ang="0">
                  <a:pos x="38" y="52"/>
                </a:cxn>
                <a:cxn ang="0">
                  <a:pos x="42" y="52"/>
                </a:cxn>
                <a:cxn ang="0">
                  <a:pos x="44" y="58"/>
                </a:cxn>
                <a:cxn ang="0">
                  <a:pos x="38" y="70"/>
                </a:cxn>
                <a:cxn ang="0">
                  <a:pos x="34" y="74"/>
                </a:cxn>
                <a:cxn ang="0">
                  <a:pos x="26" y="72"/>
                </a:cxn>
                <a:cxn ang="0">
                  <a:pos x="28" y="68"/>
                </a:cxn>
                <a:cxn ang="0">
                  <a:pos x="32" y="68"/>
                </a:cxn>
                <a:cxn ang="0">
                  <a:pos x="32" y="66"/>
                </a:cxn>
                <a:cxn ang="0">
                  <a:pos x="30" y="68"/>
                </a:cxn>
                <a:cxn ang="0">
                  <a:pos x="24" y="68"/>
                </a:cxn>
                <a:cxn ang="0">
                  <a:pos x="26" y="60"/>
                </a:cxn>
                <a:cxn ang="0">
                  <a:pos x="24" y="46"/>
                </a:cxn>
                <a:cxn ang="0">
                  <a:pos x="28" y="44"/>
                </a:cxn>
                <a:cxn ang="0">
                  <a:pos x="32" y="38"/>
                </a:cxn>
                <a:cxn ang="0">
                  <a:pos x="26" y="46"/>
                </a:cxn>
                <a:cxn ang="0">
                  <a:pos x="22" y="46"/>
                </a:cxn>
                <a:cxn ang="0">
                  <a:pos x="20" y="46"/>
                </a:cxn>
                <a:cxn ang="0">
                  <a:pos x="20" y="52"/>
                </a:cxn>
                <a:cxn ang="0">
                  <a:pos x="20" y="62"/>
                </a:cxn>
                <a:cxn ang="0">
                  <a:pos x="18" y="66"/>
                </a:cxn>
                <a:cxn ang="0">
                  <a:pos x="12" y="58"/>
                </a:cxn>
                <a:cxn ang="0">
                  <a:pos x="8" y="50"/>
                </a:cxn>
                <a:cxn ang="0">
                  <a:pos x="6" y="42"/>
                </a:cxn>
                <a:cxn ang="0">
                  <a:pos x="2" y="42"/>
                </a:cxn>
                <a:cxn ang="0">
                  <a:pos x="0" y="38"/>
                </a:cxn>
                <a:cxn ang="0">
                  <a:pos x="2" y="32"/>
                </a:cxn>
                <a:cxn ang="0">
                  <a:pos x="6" y="36"/>
                </a:cxn>
                <a:cxn ang="0">
                  <a:pos x="8" y="40"/>
                </a:cxn>
                <a:cxn ang="0">
                  <a:pos x="12" y="46"/>
                </a:cxn>
              </a:cxnLst>
              <a:rect l="0" t="0" r="r" b="b"/>
              <a:pathLst>
                <a:path w="44" h="74">
                  <a:moveTo>
                    <a:pt x="12" y="46"/>
                  </a:moveTo>
                  <a:lnTo>
                    <a:pt x="12" y="44"/>
                  </a:lnTo>
                  <a:lnTo>
                    <a:pt x="12" y="42"/>
                  </a:lnTo>
                  <a:lnTo>
                    <a:pt x="10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6" y="34"/>
                  </a:lnTo>
                  <a:lnTo>
                    <a:pt x="6" y="32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14" y="34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6" y="30"/>
                  </a:lnTo>
                  <a:lnTo>
                    <a:pt x="20" y="32"/>
                  </a:lnTo>
                  <a:lnTo>
                    <a:pt x="22" y="36"/>
                  </a:lnTo>
                  <a:lnTo>
                    <a:pt x="24" y="32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2" y="18"/>
                  </a:lnTo>
                  <a:lnTo>
                    <a:pt x="20" y="16"/>
                  </a:lnTo>
                  <a:lnTo>
                    <a:pt x="18" y="12"/>
                  </a:lnTo>
                  <a:lnTo>
                    <a:pt x="16" y="10"/>
                  </a:lnTo>
                  <a:lnTo>
                    <a:pt x="16" y="6"/>
                  </a:lnTo>
                  <a:lnTo>
                    <a:pt x="20" y="4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40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0" y="22"/>
                  </a:lnTo>
                  <a:lnTo>
                    <a:pt x="42" y="28"/>
                  </a:lnTo>
                  <a:lnTo>
                    <a:pt x="42" y="30"/>
                  </a:lnTo>
                  <a:lnTo>
                    <a:pt x="42" y="34"/>
                  </a:lnTo>
                  <a:lnTo>
                    <a:pt x="42" y="40"/>
                  </a:lnTo>
                  <a:lnTo>
                    <a:pt x="40" y="44"/>
                  </a:lnTo>
                  <a:lnTo>
                    <a:pt x="38" y="46"/>
                  </a:lnTo>
                  <a:lnTo>
                    <a:pt x="40" y="50"/>
                  </a:lnTo>
                  <a:lnTo>
                    <a:pt x="38" y="50"/>
                  </a:lnTo>
                  <a:lnTo>
                    <a:pt x="36" y="54"/>
                  </a:lnTo>
                  <a:lnTo>
                    <a:pt x="36" y="56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4" y="54"/>
                  </a:lnTo>
                  <a:lnTo>
                    <a:pt x="44" y="58"/>
                  </a:lnTo>
                  <a:lnTo>
                    <a:pt x="42" y="68"/>
                  </a:lnTo>
                  <a:lnTo>
                    <a:pt x="38" y="70"/>
                  </a:lnTo>
                  <a:lnTo>
                    <a:pt x="36" y="74"/>
                  </a:lnTo>
                  <a:lnTo>
                    <a:pt x="34" y="74"/>
                  </a:lnTo>
                  <a:lnTo>
                    <a:pt x="30" y="74"/>
                  </a:lnTo>
                  <a:lnTo>
                    <a:pt x="26" y="72"/>
                  </a:lnTo>
                  <a:lnTo>
                    <a:pt x="28" y="70"/>
                  </a:lnTo>
                  <a:lnTo>
                    <a:pt x="28" y="68"/>
                  </a:lnTo>
                  <a:lnTo>
                    <a:pt x="30" y="68"/>
                  </a:lnTo>
                  <a:lnTo>
                    <a:pt x="32" y="68"/>
                  </a:lnTo>
                  <a:lnTo>
                    <a:pt x="34" y="68"/>
                  </a:lnTo>
                  <a:lnTo>
                    <a:pt x="32" y="66"/>
                  </a:lnTo>
                  <a:lnTo>
                    <a:pt x="30" y="66"/>
                  </a:lnTo>
                  <a:lnTo>
                    <a:pt x="30" y="68"/>
                  </a:lnTo>
                  <a:lnTo>
                    <a:pt x="26" y="68"/>
                  </a:lnTo>
                  <a:lnTo>
                    <a:pt x="24" y="68"/>
                  </a:lnTo>
                  <a:lnTo>
                    <a:pt x="24" y="66"/>
                  </a:lnTo>
                  <a:lnTo>
                    <a:pt x="26" y="60"/>
                  </a:lnTo>
                  <a:lnTo>
                    <a:pt x="24" y="54"/>
                  </a:lnTo>
                  <a:lnTo>
                    <a:pt x="24" y="46"/>
                  </a:lnTo>
                  <a:lnTo>
                    <a:pt x="26" y="46"/>
                  </a:lnTo>
                  <a:lnTo>
                    <a:pt x="28" y="44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28" y="40"/>
                  </a:lnTo>
                  <a:lnTo>
                    <a:pt x="26" y="46"/>
                  </a:lnTo>
                  <a:lnTo>
                    <a:pt x="22" y="48"/>
                  </a:lnTo>
                  <a:lnTo>
                    <a:pt x="22" y="46"/>
                  </a:lnTo>
                  <a:lnTo>
                    <a:pt x="20" y="44"/>
                  </a:lnTo>
                  <a:lnTo>
                    <a:pt x="20" y="46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2" y="54"/>
                  </a:lnTo>
                  <a:lnTo>
                    <a:pt x="20" y="62"/>
                  </a:lnTo>
                  <a:lnTo>
                    <a:pt x="20" y="66"/>
                  </a:lnTo>
                  <a:lnTo>
                    <a:pt x="18" y="66"/>
                  </a:lnTo>
                  <a:lnTo>
                    <a:pt x="14" y="64"/>
                  </a:lnTo>
                  <a:lnTo>
                    <a:pt x="12" y="58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8" y="46"/>
                  </a:lnTo>
                  <a:lnTo>
                    <a:pt x="6" y="42"/>
                  </a:lnTo>
                  <a:lnTo>
                    <a:pt x="4" y="42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2"/>
                  </a:lnTo>
                  <a:lnTo>
                    <a:pt x="4" y="32"/>
                  </a:lnTo>
                  <a:lnTo>
                    <a:pt x="6" y="36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2" y="4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9" name="Freeform 209"/>
            <p:cNvSpPr>
              <a:spLocks/>
            </p:cNvSpPr>
            <p:nvPr/>
          </p:nvSpPr>
          <p:spPr bwMode="auto">
            <a:xfrm>
              <a:off x="2270" y="3628"/>
              <a:ext cx="10" cy="12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4" y="10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</a:cxnLst>
              <a:rect l="0" t="0" r="r" b="b"/>
              <a:pathLst>
                <a:path w="10" h="12">
                  <a:moveTo>
                    <a:pt x="4" y="12"/>
                  </a:moveTo>
                  <a:lnTo>
                    <a:pt x="4" y="1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6" y="12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0" name="Freeform 210"/>
            <p:cNvSpPr>
              <a:spLocks/>
            </p:cNvSpPr>
            <p:nvPr/>
          </p:nvSpPr>
          <p:spPr bwMode="auto">
            <a:xfrm>
              <a:off x="2256" y="3632"/>
              <a:ext cx="18" cy="12"/>
            </a:xfrm>
            <a:custGeom>
              <a:avLst/>
              <a:gdLst/>
              <a:ahLst/>
              <a:cxnLst>
                <a:cxn ang="0">
                  <a:pos x="16" y="12"/>
                </a:cxn>
                <a:cxn ang="0">
                  <a:pos x="14" y="6"/>
                </a:cxn>
                <a:cxn ang="0">
                  <a:pos x="14" y="4"/>
                </a:cxn>
                <a:cxn ang="0">
                  <a:pos x="10" y="6"/>
                </a:cxn>
                <a:cxn ang="0">
                  <a:pos x="8" y="10"/>
                </a:cxn>
                <a:cxn ang="0">
                  <a:pos x="6" y="10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8" y="10"/>
                </a:cxn>
                <a:cxn ang="0">
                  <a:pos x="16" y="12"/>
                </a:cxn>
              </a:cxnLst>
              <a:rect l="0" t="0" r="r" b="b"/>
              <a:pathLst>
                <a:path w="18" h="12">
                  <a:moveTo>
                    <a:pt x="16" y="12"/>
                  </a:moveTo>
                  <a:lnTo>
                    <a:pt x="14" y="6"/>
                  </a:lnTo>
                  <a:lnTo>
                    <a:pt x="14" y="4"/>
                  </a:lnTo>
                  <a:lnTo>
                    <a:pt x="10" y="6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8" y="10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1" name="Freeform 211"/>
            <p:cNvSpPr>
              <a:spLocks/>
            </p:cNvSpPr>
            <p:nvPr/>
          </p:nvSpPr>
          <p:spPr bwMode="auto">
            <a:xfrm>
              <a:off x="2256" y="3638"/>
              <a:ext cx="16" cy="16"/>
            </a:xfrm>
            <a:custGeom>
              <a:avLst/>
              <a:gdLst/>
              <a:ahLst/>
              <a:cxnLst>
                <a:cxn ang="0">
                  <a:pos x="6" y="16"/>
                </a:cxn>
                <a:cxn ang="0">
                  <a:pos x="2" y="14"/>
                </a:cxn>
                <a:cxn ang="0">
                  <a:pos x="0" y="14"/>
                </a:cxn>
                <a:cxn ang="0">
                  <a:pos x="2" y="10"/>
                </a:cxn>
                <a:cxn ang="0">
                  <a:pos x="4" y="8"/>
                </a:cxn>
                <a:cxn ang="0">
                  <a:pos x="6" y="8"/>
                </a:cxn>
                <a:cxn ang="0">
                  <a:pos x="8" y="6"/>
                </a:cxn>
                <a:cxn ang="0">
                  <a:pos x="10" y="4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4" y="2"/>
                </a:cxn>
                <a:cxn ang="0">
                  <a:pos x="16" y="6"/>
                </a:cxn>
                <a:cxn ang="0">
                  <a:pos x="16" y="8"/>
                </a:cxn>
                <a:cxn ang="0">
                  <a:pos x="14" y="10"/>
                </a:cxn>
                <a:cxn ang="0">
                  <a:pos x="8" y="14"/>
                </a:cxn>
                <a:cxn ang="0">
                  <a:pos x="6" y="16"/>
                </a:cxn>
              </a:cxnLst>
              <a:rect l="0" t="0" r="r" b="b"/>
              <a:pathLst>
                <a:path w="16" h="16">
                  <a:moveTo>
                    <a:pt x="6" y="16"/>
                  </a:moveTo>
                  <a:lnTo>
                    <a:pt x="2" y="14"/>
                  </a:lnTo>
                  <a:lnTo>
                    <a:pt x="0" y="14"/>
                  </a:lnTo>
                  <a:lnTo>
                    <a:pt x="2" y="10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6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4" y="10"/>
                  </a:lnTo>
                  <a:lnTo>
                    <a:pt x="8" y="14"/>
                  </a:lnTo>
                  <a:lnTo>
                    <a:pt x="6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2" name="Freeform 212"/>
            <p:cNvSpPr>
              <a:spLocks/>
            </p:cNvSpPr>
            <p:nvPr/>
          </p:nvSpPr>
          <p:spPr bwMode="auto">
            <a:xfrm>
              <a:off x="2274" y="3640"/>
              <a:ext cx="14" cy="16"/>
            </a:xfrm>
            <a:custGeom>
              <a:avLst/>
              <a:gdLst/>
              <a:ahLst/>
              <a:cxnLst>
                <a:cxn ang="0">
                  <a:pos x="12" y="14"/>
                </a:cxn>
                <a:cxn ang="0">
                  <a:pos x="8" y="10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0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12" y="16"/>
                </a:cxn>
                <a:cxn ang="0">
                  <a:pos x="12" y="14"/>
                </a:cxn>
              </a:cxnLst>
              <a:rect l="0" t="0" r="r" b="b"/>
              <a:pathLst>
                <a:path w="14" h="16">
                  <a:moveTo>
                    <a:pt x="12" y="14"/>
                  </a:moveTo>
                  <a:lnTo>
                    <a:pt x="8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2" y="16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3" name="Freeform 213"/>
            <p:cNvSpPr>
              <a:spLocks/>
            </p:cNvSpPr>
            <p:nvPr/>
          </p:nvSpPr>
          <p:spPr bwMode="auto">
            <a:xfrm>
              <a:off x="2306" y="3662"/>
              <a:ext cx="6" cy="1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6" y="8"/>
                </a:cxn>
                <a:cxn ang="0">
                  <a:pos x="2" y="10"/>
                </a:cxn>
                <a:cxn ang="0">
                  <a:pos x="0" y="10"/>
                </a:cxn>
              </a:cxnLst>
              <a:rect l="0" t="0" r="r" b="b"/>
              <a:pathLst>
                <a:path w="6" h="10">
                  <a:moveTo>
                    <a:pt x="0" y="10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6" y="8"/>
                  </a:lnTo>
                  <a:lnTo>
                    <a:pt x="2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4" name="Freeform 214"/>
            <p:cNvSpPr>
              <a:spLocks/>
            </p:cNvSpPr>
            <p:nvPr/>
          </p:nvSpPr>
          <p:spPr bwMode="auto">
            <a:xfrm>
              <a:off x="2260" y="3672"/>
              <a:ext cx="18" cy="16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4" y="14"/>
                </a:cxn>
                <a:cxn ang="0">
                  <a:pos x="12" y="14"/>
                </a:cxn>
                <a:cxn ang="0">
                  <a:pos x="14" y="14"/>
                </a:cxn>
                <a:cxn ang="0">
                  <a:pos x="14" y="16"/>
                </a:cxn>
                <a:cxn ang="0">
                  <a:pos x="12" y="16"/>
                </a:cxn>
                <a:cxn ang="0">
                  <a:pos x="10" y="14"/>
                </a:cxn>
                <a:cxn ang="0">
                  <a:pos x="10" y="12"/>
                </a:cxn>
                <a:cxn ang="0">
                  <a:pos x="8" y="10"/>
                </a:cxn>
                <a:cxn ang="0">
                  <a:pos x="2" y="14"/>
                </a:cxn>
                <a:cxn ang="0">
                  <a:pos x="0" y="10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0" y="2"/>
                </a:cxn>
                <a:cxn ang="0">
                  <a:pos x="12" y="4"/>
                </a:cxn>
                <a:cxn ang="0">
                  <a:pos x="16" y="12"/>
                </a:cxn>
                <a:cxn ang="0">
                  <a:pos x="18" y="16"/>
                </a:cxn>
                <a:cxn ang="0">
                  <a:pos x="16" y="16"/>
                </a:cxn>
              </a:cxnLst>
              <a:rect l="0" t="0" r="r" b="b"/>
              <a:pathLst>
                <a:path w="18" h="16">
                  <a:moveTo>
                    <a:pt x="16" y="16"/>
                  </a:moveTo>
                  <a:lnTo>
                    <a:pt x="14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0" y="14"/>
                  </a:lnTo>
                  <a:lnTo>
                    <a:pt x="10" y="12"/>
                  </a:lnTo>
                  <a:lnTo>
                    <a:pt x="8" y="10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0" y="4"/>
                  </a:lnTo>
                  <a:lnTo>
                    <a:pt x="2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2" y="4"/>
                  </a:lnTo>
                  <a:lnTo>
                    <a:pt x="16" y="12"/>
                  </a:lnTo>
                  <a:lnTo>
                    <a:pt x="18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5" name="Freeform 215"/>
            <p:cNvSpPr>
              <a:spLocks/>
            </p:cNvSpPr>
            <p:nvPr/>
          </p:nvSpPr>
          <p:spPr bwMode="auto">
            <a:xfrm>
              <a:off x="2268" y="3694"/>
              <a:ext cx="24" cy="24"/>
            </a:xfrm>
            <a:custGeom>
              <a:avLst/>
              <a:gdLst/>
              <a:ahLst/>
              <a:cxnLst>
                <a:cxn ang="0">
                  <a:pos x="14" y="16"/>
                </a:cxn>
                <a:cxn ang="0">
                  <a:pos x="10" y="22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2"/>
                </a:cxn>
                <a:cxn ang="0">
                  <a:pos x="6" y="20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6" y="16"/>
                </a:cxn>
                <a:cxn ang="0">
                  <a:pos x="4" y="18"/>
                </a:cxn>
                <a:cxn ang="0">
                  <a:pos x="0" y="20"/>
                </a:cxn>
                <a:cxn ang="0">
                  <a:pos x="0" y="18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2" y="10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8"/>
                </a:cxn>
                <a:cxn ang="0">
                  <a:pos x="6" y="10"/>
                </a:cxn>
                <a:cxn ang="0">
                  <a:pos x="4" y="10"/>
                </a:cxn>
                <a:cxn ang="0">
                  <a:pos x="4" y="12"/>
                </a:cxn>
                <a:cxn ang="0">
                  <a:pos x="6" y="14"/>
                </a:cxn>
                <a:cxn ang="0">
                  <a:pos x="8" y="14"/>
                </a:cxn>
                <a:cxn ang="0">
                  <a:pos x="10" y="14"/>
                </a:cxn>
                <a:cxn ang="0">
                  <a:pos x="10" y="10"/>
                </a:cxn>
                <a:cxn ang="0">
                  <a:pos x="8" y="8"/>
                </a:cxn>
                <a:cxn ang="0">
                  <a:pos x="4" y="6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6" y="8"/>
                </a:cxn>
                <a:cxn ang="0">
                  <a:pos x="14" y="8"/>
                </a:cxn>
                <a:cxn ang="0">
                  <a:pos x="14" y="10"/>
                </a:cxn>
                <a:cxn ang="0">
                  <a:pos x="16" y="10"/>
                </a:cxn>
                <a:cxn ang="0">
                  <a:pos x="22" y="8"/>
                </a:cxn>
                <a:cxn ang="0">
                  <a:pos x="24" y="8"/>
                </a:cxn>
                <a:cxn ang="0">
                  <a:pos x="22" y="6"/>
                </a:cxn>
                <a:cxn ang="0">
                  <a:pos x="24" y="6"/>
                </a:cxn>
                <a:cxn ang="0">
                  <a:pos x="24" y="8"/>
                </a:cxn>
                <a:cxn ang="0">
                  <a:pos x="24" y="10"/>
                </a:cxn>
                <a:cxn ang="0">
                  <a:pos x="24" y="12"/>
                </a:cxn>
                <a:cxn ang="0">
                  <a:pos x="16" y="14"/>
                </a:cxn>
                <a:cxn ang="0">
                  <a:pos x="14" y="16"/>
                </a:cxn>
              </a:cxnLst>
              <a:rect l="0" t="0" r="r" b="b"/>
              <a:pathLst>
                <a:path w="24" h="24">
                  <a:moveTo>
                    <a:pt x="14" y="16"/>
                  </a:moveTo>
                  <a:lnTo>
                    <a:pt x="10" y="22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0" y="14"/>
                  </a:lnTo>
                  <a:lnTo>
                    <a:pt x="10" y="10"/>
                  </a:lnTo>
                  <a:lnTo>
                    <a:pt x="8" y="8"/>
                  </a:lnTo>
                  <a:lnTo>
                    <a:pt x="4" y="6"/>
                  </a:lnTo>
                  <a:lnTo>
                    <a:pt x="2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22" y="8"/>
                  </a:lnTo>
                  <a:lnTo>
                    <a:pt x="24" y="8"/>
                  </a:lnTo>
                  <a:lnTo>
                    <a:pt x="22" y="6"/>
                  </a:lnTo>
                  <a:lnTo>
                    <a:pt x="24" y="6"/>
                  </a:lnTo>
                  <a:lnTo>
                    <a:pt x="24" y="8"/>
                  </a:lnTo>
                  <a:lnTo>
                    <a:pt x="24" y="10"/>
                  </a:lnTo>
                  <a:lnTo>
                    <a:pt x="24" y="12"/>
                  </a:lnTo>
                  <a:lnTo>
                    <a:pt x="16" y="14"/>
                  </a:lnTo>
                  <a:lnTo>
                    <a:pt x="14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6" name="Freeform 216"/>
            <p:cNvSpPr>
              <a:spLocks/>
            </p:cNvSpPr>
            <p:nvPr/>
          </p:nvSpPr>
          <p:spPr bwMode="auto">
            <a:xfrm>
              <a:off x="2294" y="3712"/>
              <a:ext cx="10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10" y="2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2" y="8"/>
                </a:cxn>
                <a:cxn ang="0">
                  <a:pos x="0" y="8"/>
                </a:cxn>
              </a:cxnLst>
              <a:rect l="0" t="0" r="r" b="b"/>
              <a:pathLst>
                <a:path w="10" h="8">
                  <a:moveTo>
                    <a:pt x="0" y="8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10" y="2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7" name="Freeform 217"/>
            <p:cNvSpPr>
              <a:spLocks/>
            </p:cNvSpPr>
            <p:nvPr/>
          </p:nvSpPr>
          <p:spPr bwMode="auto">
            <a:xfrm>
              <a:off x="2298" y="3716"/>
              <a:ext cx="20" cy="24"/>
            </a:xfrm>
            <a:custGeom>
              <a:avLst/>
              <a:gdLst/>
              <a:ahLst/>
              <a:cxnLst>
                <a:cxn ang="0">
                  <a:pos x="18" y="24"/>
                </a:cxn>
                <a:cxn ang="0">
                  <a:pos x="18" y="20"/>
                </a:cxn>
                <a:cxn ang="0">
                  <a:pos x="16" y="20"/>
                </a:cxn>
                <a:cxn ang="0">
                  <a:pos x="14" y="20"/>
                </a:cxn>
                <a:cxn ang="0">
                  <a:pos x="14" y="22"/>
                </a:cxn>
                <a:cxn ang="0">
                  <a:pos x="12" y="20"/>
                </a:cxn>
                <a:cxn ang="0">
                  <a:pos x="8" y="18"/>
                </a:cxn>
                <a:cxn ang="0">
                  <a:pos x="6" y="16"/>
                </a:cxn>
                <a:cxn ang="0">
                  <a:pos x="4" y="14"/>
                </a:cxn>
                <a:cxn ang="0">
                  <a:pos x="4" y="12"/>
                </a:cxn>
                <a:cxn ang="0">
                  <a:pos x="4" y="10"/>
                </a:cxn>
                <a:cxn ang="0">
                  <a:pos x="8" y="8"/>
                </a:cxn>
                <a:cxn ang="0">
                  <a:pos x="10" y="6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12" y="4"/>
                </a:cxn>
                <a:cxn ang="0">
                  <a:pos x="16" y="10"/>
                </a:cxn>
                <a:cxn ang="0">
                  <a:pos x="18" y="14"/>
                </a:cxn>
                <a:cxn ang="0">
                  <a:pos x="20" y="18"/>
                </a:cxn>
                <a:cxn ang="0">
                  <a:pos x="20" y="20"/>
                </a:cxn>
                <a:cxn ang="0">
                  <a:pos x="20" y="22"/>
                </a:cxn>
                <a:cxn ang="0">
                  <a:pos x="20" y="24"/>
                </a:cxn>
                <a:cxn ang="0">
                  <a:pos x="18" y="24"/>
                </a:cxn>
              </a:cxnLst>
              <a:rect l="0" t="0" r="r" b="b"/>
              <a:pathLst>
                <a:path w="20" h="24">
                  <a:moveTo>
                    <a:pt x="18" y="24"/>
                  </a:moveTo>
                  <a:lnTo>
                    <a:pt x="18" y="20"/>
                  </a:lnTo>
                  <a:lnTo>
                    <a:pt x="16" y="20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2" y="20"/>
                  </a:lnTo>
                  <a:lnTo>
                    <a:pt x="8" y="18"/>
                  </a:lnTo>
                  <a:lnTo>
                    <a:pt x="6" y="16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8" y="8"/>
                  </a:lnTo>
                  <a:lnTo>
                    <a:pt x="10" y="6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12" y="4"/>
                  </a:lnTo>
                  <a:lnTo>
                    <a:pt x="16" y="10"/>
                  </a:lnTo>
                  <a:lnTo>
                    <a:pt x="18" y="14"/>
                  </a:lnTo>
                  <a:lnTo>
                    <a:pt x="20" y="18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20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8" name="Freeform 218"/>
            <p:cNvSpPr>
              <a:spLocks/>
            </p:cNvSpPr>
            <p:nvPr/>
          </p:nvSpPr>
          <p:spPr bwMode="auto">
            <a:xfrm>
              <a:off x="2266" y="3720"/>
              <a:ext cx="16" cy="16"/>
            </a:xfrm>
            <a:custGeom>
              <a:avLst/>
              <a:gdLst/>
              <a:ahLst/>
              <a:cxnLst>
                <a:cxn ang="0">
                  <a:pos x="6" y="16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4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2" y="6"/>
                </a:cxn>
                <a:cxn ang="0">
                  <a:pos x="10" y="6"/>
                </a:cxn>
                <a:cxn ang="0">
                  <a:pos x="8" y="6"/>
                </a:cxn>
                <a:cxn ang="0">
                  <a:pos x="8" y="10"/>
                </a:cxn>
                <a:cxn ang="0">
                  <a:pos x="8" y="14"/>
                </a:cxn>
                <a:cxn ang="0">
                  <a:pos x="8" y="16"/>
                </a:cxn>
                <a:cxn ang="0">
                  <a:pos x="6" y="16"/>
                </a:cxn>
              </a:cxnLst>
              <a:rect l="0" t="0" r="r" b="b"/>
              <a:pathLst>
                <a:path w="16" h="16">
                  <a:moveTo>
                    <a:pt x="6" y="16"/>
                  </a:moveTo>
                  <a:lnTo>
                    <a:pt x="4" y="16"/>
                  </a:lnTo>
                  <a:lnTo>
                    <a:pt x="2" y="16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10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6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9" name="Freeform 219"/>
            <p:cNvSpPr>
              <a:spLocks/>
            </p:cNvSpPr>
            <p:nvPr/>
          </p:nvSpPr>
          <p:spPr bwMode="auto">
            <a:xfrm>
              <a:off x="2282" y="3728"/>
              <a:ext cx="4" cy="10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2" y="8"/>
                </a:cxn>
              </a:cxnLst>
              <a:rect l="0" t="0" r="r" b="b"/>
              <a:pathLst>
                <a:path w="4" h="10">
                  <a:moveTo>
                    <a:pt x="2" y="8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0" name="Freeform 220"/>
            <p:cNvSpPr>
              <a:spLocks/>
            </p:cNvSpPr>
            <p:nvPr/>
          </p:nvSpPr>
          <p:spPr bwMode="auto">
            <a:xfrm>
              <a:off x="2288" y="3730"/>
              <a:ext cx="10" cy="12"/>
            </a:xfrm>
            <a:custGeom>
              <a:avLst/>
              <a:gdLst/>
              <a:ahLst/>
              <a:cxnLst>
                <a:cxn ang="0">
                  <a:pos x="10" y="12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2" y="10"/>
                </a:cxn>
                <a:cxn ang="0">
                  <a:pos x="0" y="10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0" y="8"/>
                </a:cxn>
                <a:cxn ang="0">
                  <a:pos x="10" y="10"/>
                </a:cxn>
                <a:cxn ang="0">
                  <a:pos x="10" y="12"/>
                </a:cxn>
              </a:cxnLst>
              <a:rect l="0" t="0" r="r" b="b"/>
              <a:pathLst>
                <a:path w="10" h="12">
                  <a:moveTo>
                    <a:pt x="10" y="12"/>
                  </a:moveTo>
                  <a:lnTo>
                    <a:pt x="6" y="12"/>
                  </a:lnTo>
                  <a:lnTo>
                    <a:pt x="4" y="12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2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1" name="Freeform 221"/>
            <p:cNvSpPr>
              <a:spLocks/>
            </p:cNvSpPr>
            <p:nvPr/>
          </p:nvSpPr>
          <p:spPr bwMode="auto">
            <a:xfrm>
              <a:off x="2288" y="3732"/>
              <a:ext cx="22" cy="22"/>
            </a:xfrm>
            <a:custGeom>
              <a:avLst/>
              <a:gdLst/>
              <a:ahLst/>
              <a:cxnLst>
                <a:cxn ang="0">
                  <a:pos x="8" y="22"/>
                </a:cxn>
                <a:cxn ang="0">
                  <a:pos x="2" y="18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2" y="10"/>
                </a:cxn>
                <a:cxn ang="0">
                  <a:pos x="4" y="10"/>
                </a:cxn>
                <a:cxn ang="0">
                  <a:pos x="8" y="10"/>
                </a:cxn>
                <a:cxn ang="0">
                  <a:pos x="10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2" y="2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16" y="2"/>
                </a:cxn>
                <a:cxn ang="0">
                  <a:pos x="18" y="4"/>
                </a:cxn>
                <a:cxn ang="0">
                  <a:pos x="22" y="6"/>
                </a:cxn>
                <a:cxn ang="0">
                  <a:pos x="22" y="8"/>
                </a:cxn>
                <a:cxn ang="0">
                  <a:pos x="22" y="16"/>
                </a:cxn>
                <a:cxn ang="0">
                  <a:pos x="22" y="20"/>
                </a:cxn>
                <a:cxn ang="0">
                  <a:pos x="22" y="18"/>
                </a:cxn>
                <a:cxn ang="0">
                  <a:pos x="20" y="16"/>
                </a:cxn>
                <a:cxn ang="0">
                  <a:pos x="18" y="16"/>
                </a:cxn>
                <a:cxn ang="0">
                  <a:pos x="14" y="18"/>
                </a:cxn>
                <a:cxn ang="0">
                  <a:pos x="12" y="20"/>
                </a:cxn>
                <a:cxn ang="0">
                  <a:pos x="10" y="22"/>
                </a:cxn>
                <a:cxn ang="0">
                  <a:pos x="8" y="22"/>
                </a:cxn>
              </a:cxnLst>
              <a:rect l="0" t="0" r="r" b="b"/>
              <a:pathLst>
                <a:path w="22" h="22">
                  <a:moveTo>
                    <a:pt x="8" y="22"/>
                  </a:moveTo>
                  <a:lnTo>
                    <a:pt x="2" y="18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8" y="10"/>
                  </a:lnTo>
                  <a:lnTo>
                    <a:pt x="10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22" y="16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4" y="18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8" y="2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2" name="Freeform 222"/>
            <p:cNvSpPr>
              <a:spLocks/>
            </p:cNvSpPr>
            <p:nvPr/>
          </p:nvSpPr>
          <p:spPr bwMode="auto">
            <a:xfrm>
              <a:off x="2310" y="3744"/>
              <a:ext cx="8" cy="18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2" y="8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8"/>
                </a:cxn>
                <a:cxn ang="0">
                  <a:pos x="8" y="12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4" y="18"/>
                </a:cxn>
                <a:cxn ang="0">
                  <a:pos x="4" y="16"/>
                </a:cxn>
              </a:cxnLst>
              <a:rect l="0" t="0" r="r" b="b"/>
              <a:pathLst>
                <a:path w="8" h="18">
                  <a:moveTo>
                    <a:pt x="4" y="16"/>
                  </a:moveTo>
                  <a:lnTo>
                    <a:pt x="2" y="8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8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4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3" name="Freeform 223"/>
            <p:cNvSpPr>
              <a:spLocks/>
            </p:cNvSpPr>
            <p:nvPr/>
          </p:nvSpPr>
          <p:spPr bwMode="auto">
            <a:xfrm>
              <a:off x="2302" y="3748"/>
              <a:ext cx="8" cy="12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8" y="6"/>
                </a:cxn>
                <a:cxn ang="0">
                  <a:pos x="8" y="8"/>
                </a:cxn>
                <a:cxn ang="0">
                  <a:pos x="8" y="10"/>
                </a:cxn>
                <a:cxn ang="0">
                  <a:pos x="8" y="12"/>
                </a:cxn>
                <a:cxn ang="0">
                  <a:pos x="6" y="10"/>
                </a:cxn>
              </a:cxnLst>
              <a:rect l="0" t="0" r="r" b="b"/>
              <a:pathLst>
                <a:path w="8" h="12">
                  <a:moveTo>
                    <a:pt x="6" y="10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8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4" name="Freeform 224"/>
            <p:cNvSpPr>
              <a:spLocks/>
            </p:cNvSpPr>
            <p:nvPr/>
          </p:nvSpPr>
          <p:spPr bwMode="auto">
            <a:xfrm>
              <a:off x="2286" y="3758"/>
              <a:ext cx="18" cy="16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8" y="8"/>
                </a:cxn>
                <a:cxn ang="0">
                  <a:pos x="8" y="6"/>
                </a:cxn>
                <a:cxn ang="0">
                  <a:pos x="4" y="8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2" y="8"/>
                </a:cxn>
                <a:cxn ang="0">
                  <a:pos x="2" y="6"/>
                </a:cxn>
                <a:cxn ang="0">
                  <a:pos x="8" y="2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8" y="2"/>
                </a:cxn>
                <a:cxn ang="0">
                  <a:pos x="18" y="6"/>
                </a:cxn>
                <a:cxn ang="0">
                  <a:pos x="18" y="8"/>
                </a:cxn>
                <a:cxn ang="0">
                  <a:pos x="18" y="10"/>
                </a:cxn>
                <a:cxn ang="0">
                  <a:pos x="16" y="12"/>
                </a:cxn>
                <a:cxn ang="0">
                  <a:pos x="14" y="12"/>
                </a:cxn>
                <a:cxn ang="0">
                  <a:pos x="12" y="8"/>
                </a:cxn>
                <a:cxn ang="0">
                  <a:pos x="10" y="10"/>
                </a:cxn>
                <a:cxn ang="0">
                  <a:pos x="8" y="12"/>
                </a:cxn>
                <a:cxn ang="0">
                  <a:pos x="8" y="14"/>
                </a:cxn>
                <a:cxn ang="0">
                  <a:pos x="6" y="14"/>
                </a:cxn>
                <a:cxn ang="0">
                  <a:pos x="4" y="14"/>
                </a:cxn>
                <a:cxn ang="0">
                  <a:pos x="2" y="14"/>
                </a:cxn>
                <a:cxn ang="0">
                  <a:pos x="2" y="16"/>
                </a:cxn>
              </a:cxnLst>
              <a:rect l="0" t="0" r="r" b="b"/>
              <a:pathLst>
                <a:path w="18" h="16">
                  <a:moveTo>
                    <a:pt x="2" y="16"/>
                  </a:moveTo>
                  <a:lnTo>
                    <a:pt x="0" y="16"/>
                  </a:lnTo>
                  <a:lnTo>
                    <a:pt x="0" y="14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6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2" y="8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2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5" name="Freeform 225"/>
            <p:cNvSpPr>
              <a:spLocks/>
            </p:cNvSpPr>
            <p:nvPr/>
          </p:nvSpPr>
          <p:spPr bwMode="auto">
            <a:xfrm>
              <a:off x="2320" y="3760"/>
              <a:ext cx="8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2" y="8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8" y="4"/>
                  </a:lnTo>
                  <a:lnTo>
                    <a:pt x="4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6" name="Freeform 226"/>
            <p:cNvSpPr>
              <a:spLocks/>
            </p:cNvSpPr>
            <p:nvPr/>
          </p:nvSpPr>
          <p:spPr bwMode="auto">
            <a:xfrm>
              <a:off x="2274" y="3762"/>
              <a:ext cx="12" cy="20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0" y="16"/>
                </a:cxn>
                <a:cxn ang="0">
                  <a:pos x="2" y="14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2" y="8"/>
                </a:cxn>
                <a:cxn ang="0">
                  <a:pos x="10" y="8"/>
                </a:cxn>
                <a:cxn ang="0">
                  <a:pos x="8" y="12"/>
                </a:cxn>
                <a:cxn ang="0">
                  <a:pos x="8" y="14"/>
                </a:cxn>
                <a:cxn ang="0">
                  <a:pos x="8" y="16"/>
                </a:cxn>
                <a:cxn ang="0">
                  <a:pos x="6" y="18"/>
                </a:cxn>
                <a:cxn ang="0">
                  <a:pos x="2" y="20"/>
                </a:cxn>
                <a:cxn ang="0">
                  <a:pos x="0" y="20"/>
                </a:cxn>
              </a:cxnLst>
              <a:rect l="0" t="0" r="r" b="b"/>
              <a:pathLst>
                <a:path w="12" h="20">
                  <a:moveTo>
                    <a:pt x="0" y="20"/>
                  </a:moveTo>
                  <a:lnTo>
                    <a:pt x="0" y="16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6" y="18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7" name="Freeform 227"/>
            <p:cNvSpPr>
              <a:spLocks/>
            </p:cNvSpPr>
            <p:nvPr/>
          </p:nvSpPr>
          <p:spPr bwMode="auto">
            <a:xfrm>
              <a:off x="2314" y="3764"/>
              <a:ext cx="8" cy="8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6" y="8"/>
                </a:cxn>
              </a:cxnLst>
              <a:rect l="0" t="0" r="r" b="b"/>
              <a:pathLst>
                <a:path w="8" h="8">
                  <a:moveTo>
                    <a:pt x="6" y="8"/>
                  </a:moveTo>
                  <a:lnTo>
                    <a:pt x="4" y="6"/>
                  </a:lnTo>
                  <a:lnTo>
                    <a:pt x="2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8" name="Freeform 228"/>
            <p:cNvSpPr>
              <a:spLocks/>
            </p:cNvSpPr>
            <p:nvPr/>
          </p:nvSpPr>
          <p:spPr bwMode="auto">
            <a:xfrm>
              <a:off x="2316" y="3776"/>
              <a:ext cx="12" cy="14"/>
            </a:xfrm>
            <a:custGeom>
              <a:avLst/>
              <a:gdLst/>
              <a:ahLst/>
              <a:cxnLst>
                <a:cxn ang="0">
                  <a:pos x="10" y="14"/>
                </a:cxn>
                <a:cxn ang="0">
                  <a:pos x="8" y="14"/>
                </a:cxn>
                <a:cxn ang="0">
                  <a:pos x="2" y="10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6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12" y="12"/>
                </a:cxn>
                <a:cxn ang="0">
                  <a:pos x="12" y="14"/>
                </a:cxn>
                <a:cxn ang="0">
                  <a:pos x="10" y="14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lnTo>
                    <a:pt x="8" y="14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" y="8"/>
                  </a:lnTo>
                  <a:lnTo>
                    <a:pt x="4" y="8"/>
                  </a:lnTo>
                  <a:lnTo>
                    <a:pt x="6" y="6"/>
                  </a:lnTo>
                  <a:lnTo>
                    <a:pt x="6" y="2"/>
                  </a:lnTo>
                  <a:lnTo>
                    <a:pt x="6" y="0"/>
                  </a:lnTo>
                  <a:lnTo>
                    <a:pt x="8" y="2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0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9" name="Freeform 229"/>
            <p:cNvSpPr>
              <a:spLocks/>
            </p:cNvSpPr>
            <p:nvPr/>
          </p:nvSpPr>
          <p:spPr bwMode="auto">
            <a:xfrm>
              <a:off x="2286" y="3782"/>
              <a:ext cx="10" cy="26"/>
            </a:xfrm>
            <a:custGeom>
              <a:avLst/>
              <a:gdLst/>
              <a:ahLst/>
              <a:cxnLst>
                <a:cxn ang="0">
                  <a:pos x="4" y="26"/>
                </a:cxn>
                <a:cxn ang="0">
                  <a:pos x="2" y="26"/>
                </a:cxn>
                <a:cxn ang="0">
                  <a:pos x="0" y="18"/>
                </a:cxn>
                <a:cxn ang="0">
                  <a:pos x="2" y="10"/>
                </a:cxn>
                <a:cxn ang="0">
                  <a:pos x="4" y="10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10" y="10"/>
                </a:cxn>
                <a:cxn ang="0">
                  <a:pos x="8" y="18"/>
                </a:cxn>
                <a:cxn ang="0">
                  <a:pos x="6" y="22"/>
                </a:cxn>
                <a:cxn ang="0">
                  <a:pos x="4" y="26"/>
                </a:cxn>
              </a:cxnLst>
              <a:rect l="0" t="0" r="r" b="b"/>
              <a:pathLst>
                <a:path w="10" h="26">
                  <a:moveTo>
                    <a:pt x="4" y="26"/>
                  </a:moveTo>
                  <a:lnTo>
                    <a:pt x="2" y="26"/>
                  </a:lnTo>
                  <a:lnTo>
                    <a:pt x="0" y="18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8" y="18"/>
                  </a:lnTo>
                  <a:lnTo>
                    <a:pt x="6" y="22"/>
                  </a:lnTo>
                  <a:lnTo>
                    <a:pt x="4" y="2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0" name="Freeform 230"/>
            <p:cNvSpPr>
              <a:spLocks/>
            </p:cNvSpPr>
            <p:nvPr/>
          </p:nvSpPr>
          <p:spPr bwMode="auto">
            <a:xfrm>
              <a:off x="2306" y="3786"/>
              <a:ext cx="16" cy="14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0" y="14"/>
                </a:cxn>
                <a:cxn ang="0">
                  <a:pos x="6" y="10"/>
                </a:cxn>
                <a:cxn ang="0">
                  <a:pos x="4" y="8"/>
                </a:cxn>
                <a:cxn ang="0">
                  <a:pos x="0" y="0"/>
                </a:cxn>
                <a:cxn ang="0">
                  <a:pos x="4" y="2"/>
                </a:cxn>
                <a:cxn ang="0">
                  <a:pos x="14" y="8"/>
                </a:cxn>
                <a:cxn ang="0">
                  <a:pos x="16" y="10"/>
                </a:cxn>
                <a:cxn ang="0">
                  <a:pos x="14" y="12"/>
                </a:cxn>
                <a:cxn ang="0">
                  <a:pos x="14" y="14"/>
                </a:cxn>
              </a:cxnLst>
              <a:rect l="0" t="0" r="r" b="b"/>
              <a:pathLst>
                <a:path w="16" h="14">
                  <a:moveTo>
                    <a:pt x="14" y="14"/>
                  </a:moveTo>
                  <a:lnTo>
                    <a:pt x="10" y="14"/>
                  </a:lnTo>
                  <a:lnTo>
                    <a:pt x="6" y="10"/>
                  </a:lnTo>
                  <a:lnTo>
                    <a:pt x="4" y="8"/>
                  </a:lnTo>
                  <a:lnTo>
                    <a:pt x="0" y="0"/>
                  </a:lnTo>
                  <a:lnTo>
                    <a:pt x="4" y="2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4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1" name="Freeform 231"/>
            <p:cNvSpPr>
              <a:spLocks/>
            </p:cNvSpPr>
            <p:nvPr/>
          </p:nvSpPr>
          <p:spPr bwMode="auto">
            <a:xfrm>
              <a:off x="2282" y="3786"/>
              <a:ext cx="6" cy="10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0" y="10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6" y="8"/>
                </a:cxn>
                <a:cxn ang="0">
                  <a:pos x="4" y="8"/>
                </a:cxn>
                <a:cxn ang="0">
                  <a:pos x="4" y="10"/>
                </a:cxn>
                <a:cxn ang="0">
                  <a:pos x="2" y="10"/>
                </a:cxn>
              </a:cxnLst>
              <a:rect l="0" t="0" r="r" b="b"/>
              <a:pathLst>
                <a:path w="6" h="10">
                  <a:moveTo>
                    <a:pt x="2" y="10"/>
                  </a:moveTo>
                  <a:lnTo>
                    <a:pt x="0" y="10"/>
                  </a:lnTo>
                  <a:lnTo>
                    <a:pt x="2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8"/>
                  </a:lnTo>
                  <a:lnTo>
                    <a:pt x="4" y="10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2" name="Freeform 232"/>
            <p:cNvSpPr>
              <a:spLocks/>
            </p:cNvSpPr>
            <p:nvPr/>
          </p:nvSpPr>
          <p:spPr bwMode="auto">
            <a:xfrm>
              <a:off x="2328" y="3790"/>
              <a:ext cx="4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4" y="4"/>
                </a:cxn>
                <a:cxn ang="0">
                  <a:pos x="4" y="6"/>
                </a:cxn>
                <a:cxn ang="0">
                  <a:pos x="2" y="6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3" name="Freeform 233"/>
            <p:cNvSpPr>
              <a:spLocks/>
            </p:cNvSpPr>
            <p:nvPr/>
          </p:nvSpPr>
          <p:spPr bwMode="auto">
            <a:xfrm>
              <a:off x="2292" y="3792"/>
              <a:ext cx="10" cy="18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16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4" y="14"/>
                </a:cxn>
                <a:cxn ang="0">
                  <a:pos x="0" y="18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16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2"/>
                  </a:lnTo>
                  <a:lnTo>
                    <a:pt x="4" y="14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4" name="Freeform 234"/>
            <p:cNvSpPr>
              <a:spLocks/>
            </p:cNvSpPr>
            <p:nvPr/>
          </p:nvSpPr>
          <p:spPr bwMode="auto">
            <a:xfrm>
              <a:off x="2322" y="3796"/>
              <a:ext cx="16" cy="18"/>
            </a:xfrm>
            <a:custGeom>
              <a:avLst/>
              <a:gdLst/>
              <a:ahLst/>
              <a:cxnLst>
                <a:cxn ang="0">
                  <a:pos x="14" y="18"/>
                </a:cxn>
                <a:cxn ang="0">
                  <a:pos x="14" y="16"/>
                </a:cxn>
                <a:cxn ang="0">
                  <a:pos x="12" y="14"/>
                </a:cxn>
                <a:cxn ang="0">
                  <a:pos x="8" y="10"/>
                </a:cxn>
                <a:cxn ang="0">
                  <a:pos x="6" y="8"/>
                </a:cxn>
                <a:cxn ang="0">
                  <a:pos x="4" y="8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10" y="6"/>
                </a:cxn>
                <a:cxn ang="0">
                  <a:pos x="12" y="8"/>
                </a:cxn>
                <a:cxn ang="0">
                  <a:pos x="14" y="10"/>
                </a:cxn>
                <a:cxn ang="0">
                  <a:pos x="16" y="14"/>
                </a:cxn>
                <a:cxn ang="0">
                  <a:pos x="16" y="16"/>
                </a:cxn>
                <a:cxn ang="0">
                  <a:pos x="16" y="18"/>
                </a:cxn>
                <a:cxn ang="0">
                  <a:pos x="14" y="18"/>
                </a:cxn>
              </a:cxnLst>
              <a:rect l="0" t="0" r="r" b="b"/>
              <a:pathLst>
                <a:path w="16" h="18">
                  <a:moveTo>
                    <a:pt x="14" y="18"/>
                  </a:moveTo>
                  <a:lnTo>
                    <a:pt x="14" y="16"/>
                  </a:lnTo>
                  <a:lnTo>
                    <a:pt x="12" y="14"/>
                  </a:lnTo>
                  <a:lnTo>
                    <a:pt x="8" y="10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4" y="10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6" y="18"/>
                  </a:lnTo>
                  <a:lnTo>
                    <a:pt x="14" y="1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5" name="Freeform 235"/>
            <p:cNvSpPr>
              <a:spLocks/>
            </p:cNvSpPr>
            <p:nvPr/>
          </p:nvSpPr>
          <p:spPr bwMode="auto">
            <a:xfrm>
              <a:off x="2298" y="3798"/>
              <a:ext cx="10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2" y="8"/>
                </a:cxn>
                <a:cxn ang="0">
                  <a:pos x="0" y="8"/>
                </a:cxn>
              </a:cxnLst>
              <a:rect l="0" t="0" r="r" b="b"/>
              <a:pathLst>
                <a:path w="10" h="8">
                  <a:moveTo>
                    <a:pt x="0" y="8"/>
                  </a:moveTo>
                  <a:lnTo>
                    <a:pt x="0" y="6"/>
                  </a:lnTo>
                  <a:lnTo>
                    <a:pt x="2" y="4"/>
                  </a:lnTo>
                  <a:lnTo>
                    <a:pt x="8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6" y="4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6" name="Freeform 236"/>
            <p:cNvSpPr>
              <a:spLocks/>
            </p:cNvSpPr>
            <p:nvPr/>
          </p:nvSpPr>
          <p:spPr bwMode="auto">
            <a:xfrm>
              <a:off x="2296" y="3804"/>
              <a:ext cx="8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4" y="6"/>
                </a:cxn>
                <a:cxn ang="0">
                  <a:pos x="2" y="8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2"/>
                  </a:lnTo>
                  <a:lnTo>
                    <a:pt x="4" y="6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7" name="Freeform 237"/>
            <p:cNvSpPr>
              <a:spLocks/>
            </p:cNvSpPr>
            <p:nvPr/>
          </p:nvSpPr>
          <p:spPr bwMode="auto">
            <a:xfrm>
              <a:off x="2310" y="3806"/>
              <a:ext cx="18" cy="16"/>
            </a:xfrm>
            <a:custGeom>
              <a:avLst/>
              <a:gdLst/>
              <a:ahLst/>
              <a:cxnLst>
                <a:cxn ang="0">
                  <a:pos x="10" y="16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8"/>
                </a:cxn>
                <a:cxn ang="0">
                  <a:pos x="10" y="8"/>
                </a:cxn>
                <a:cxn ang="0">
                  <a:pos x="10" y="10"/>
                </a:cxn>
                <a:cxn ang="0">
                  <a:pos x="12" y="10"/>
                </a:cxn>
                <a:cxn ang="0">
                  <a:pos x="10" y="6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2" y="6"/>
                </a:cxn>
                <a:cxn ang="0">
                  <a:pos x="14" y="6"/>
                </a:cxn>
                <a:cxn ang="0">
                  <a:pos x="18" y="12"/>
                </a:cxn>
                <a:cxn ang="0">
                  <a:pos x="18" y="14"/>
                </a:cxn>
                <a:cxn ang="0">
                  <a:pos x="12" y="16"/>
                </a:cxn>
                <a:cxn ang="0">
                  <a:pos x="10" y="16"/>
                </a:cxn>
              </a:cxnLst>
              <a:rect l="0" t="0" r="r" b="b"/>
              <a:pathLst>
                <a:path w="18" h="16">
                  <a:moveTo>
                    <a:pt x="10" y="16"/>
                  </a:moveTo>
                  <a:lnTo>
                    <a:pt x="8" y="12"/>
                  </a:lnTo>
                  <a:lnTo>
                    <a:pt x="8" y="10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2" y="10"/>
                  </a:lnTo>
                  <a:lnTo>
                    <a:pt x="10" y="6"/>
                  </a:lnTo>
                  <a:lnTo>
                    <a:pt x="6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8" y="2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8" y="12"/>
                  </a:lnTo>
                  <a:lnTo>
                    <a:pt x="18" y="14"/>
                  </a:lnTo>
                  <a:lnTo>
                    <a:pt x="12" y="16"/>
                  </a:lnTo>
                  <a:lnTo>
                    <a:pt x="10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8" name="Freeform 238"/>
            <p:cNvSpPr>
              <a:spLocks/>
            </p:cNvSpPr>
            <p:nvPr/>
          </p:nvSpPr>
          <p:spPr bwMode="auto">
            <a:xfrm>
              <a:off x="2322" y="3810"/>
              <a:ext cx="14" cy="12"/>
            </a:xfrm>
            <a:custGeom>
              <a:avLst/>
              <a:gdLst/>
              <a:ahLst/>
              <a:cxnLst>
                <a:cxn ang="0">
                  <a:pos x="10" y="12"/>
                </a:cxn>
                <a:cxn ang="0">
                  <a:pos x="8" y="10"/>
                </a:cxn>
                <a:cxn ang="0">
                  <a:pos x="8" y="8"/>
                </a:cxn>
                <a:cxn ang="0">
                  <a:pos x="4" y="6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8" y="4"/>
                </a:cxn>
                <a:cxn ang="0">
                  <a:pos x="12" y="6"/>
                </a:cxn>
                <a:cxn ang="0">
                  <a:pos x="12" y="8"/>
                </a:cxn>
                <a:cxn ang="0">
                  <a:pos x="14" y="10"/>
                </a:cxn>
                <a:cxn ang="0">
                  <a:pos x="14" y="12"/>
                </a:cxn>
                <a:cxn ang="0">
                  <a:pos x="12" y="12"/>
                </a:cxn>
                <a:cxn ang="0">
                  <a:pos x="10" y="12"/>
                </a:cxn>
              </a:cxnLst>
              <a:rect l="0" t="0" r="r" b="b"/>
              <a:pathLst>
                <a:path w="14" h="12">
                  <a:moveTo>
                    <a:pt x="10" y="12"/>
                  </a:moveTo>
                  <a:lnTo>
                    <a:pt x="8" y="10"/>
                  </a:lnTo>
                  <a:lnTo>
                    <a:pt x="8" y="8"/>
                  </a:lnTo>
                  <a:lnTo>
                    <a:pt x="4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8" y="4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0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9" name="Freeform 239"/>
            <p:cNvSpPr>
              <a:spLocks/>
            </p:cNvSpPr>
            <p:nvPr/>
          </p:nvSpPr>
          <p:spPr bwMode="auto">
            <a:xfrm>
              <a:off x="2294" y="3812"/>
              <a:ext cx="8" cy="6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6" y="6"/>
                </a:cxn>
                <a:cxn ang="0">
                  <a:pos x="4" y="6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6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6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0" name="Freeform 240"/>
            <p:cNvSpPr>
              <a:spLocks/>
            </p:cNvSpPr>
            <p:nvPr/>
          </p:nvSpPr>
          <p:spPr bwMode="auto">
            <a:xfrm>
              <a:off x="2324" y="3822"/>
              <a:ext cx="14" cy="18"/>
            </a:xfrm>
            <a:custGeom>
              <a:avLst/>
              <a:gdLst/>
              <a:ahLst/>
              <a:cxnLst>
                <a:cxn ang="0">
                  <a:pos x="6" y="18"/>
                </a:cxn>
                <a:cxn ang="0">
                  <a:pos x="4" y="18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2" y="10"/>
                </a:cxn>
                <a:cxn ang="0">
                  <a:pos x="4" y="8"/>
                </a:cxn>
                <a:cxn ang="0">
                  <a:pos x="8" y="2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4" y="6"/>
                </a:cxn>
                <a:cxn ang="0">
                  <a:pos x="12" y="12"/>
                </a:cxn>
                <a:cxn ang="0">
                  <a:pos x="10" y="16"/>
                </a:cxn>
                <a:cxn ang="0">
                  <a:pos x="8" y="18"/>
                </a:cxn>
                <a:cxn ang="0">
                  <a:pos x="8" y="16"/>
                </a:cxn>
                <a:cxn ang="0">
                  <a:pos x="8" y="18"/>
                </a:cxn>
                <a:cxn ang="0">
                  <a:pos x="6" y="18"/>
                </a:cxn>
              </a:cxnLst>
              <a:rect l="0" t="0" r="r" b="b"/>
              <a:pathLst>
                <a:path w="14" h="18">
                  <a:moveTo>
                    <a:pt x="6" y="18"/>
                  </a:moveTo>
                  <a:lnTo>
                    <a:pt x="4" y="18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8"/>
                  </a:lnTo>
                  <a:lnTo>
                    <a:pt x="8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6"/>
                  </a:lnTo>
                  <a:lnTo>
                    <a:pt x="12" y="12"/>
                  </a:lnTo>
                  <a:lnTo>
                    <a:pt x="10" y="16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1" name="Freeform 241"/>
            <p:cNvSpPr>
              <a:spLocks/>
            </p:cNvSpPr>
            <p:nvPr/>
          </p:nvSpPr>
          <p:spPr bwMode="auto">
            <a:xfrm>
              <a:off x="2402" y="3828"/>
              <a:ext cx="128" cy="134"/>
            </a:xfrm>
            <a:custGeom>
              <a:avLst/>
              <a:gdLst/>
              <a:ahLst/>
              <a:cxnLst>
                <a:cxn ang="0">
                  <a:pos x="62" y="122"/>
                </a:cxn>
                <a:cxn ang="0">
                  <a:pos x="56" y="126"/>
                </a:cxn>
                <a:cxn ang="0">
                  <a:pos x="46" y="124"/>
                </a:cxn>
                <a:cxn ang="0">
                  <a:pos x="56" y="116"/>
                </a:cxn>
                <a:cxn ang="0">
                  <a:pos x="50" y="120"/>
                </a:cxn>
                <a:cxn ang="0">
                  <a:pos x="42" y="120"/>
                </a:cxn>
                <a:cxn ang="0">
                  <a:pos x="36" y="122"/>
                </a:cxn>
                <a:cxn ang="0">
                  <a:pos x="36" y="116"/>
                </a:cxn>
                <a:cxn ang="0">
                  <a:pos x="26" y="114"/>
                </a:cxn>
                <a:cxn ang="0">
                  <a:pos x="12" y="114"/>
                </a:cxn>
                <a:cxn ang="0">
                  <a:pos x="0" y="112"/>
                </a:cxn>
                <a:cxn ang="0">
                  <a:pos x="6" y="110"/>
                </a:cxn>
                <a:cxn ang="0">
                  <a:pos x="10" y="106"/>
                </a:cxn>
                <a:cxn ang="0">
                  <a:pos x="10" y="104"/>
                </a:cxn>
                <a:cxn ang="0">
                  <a:pos x="14" y="106"/>
                </a:cxn>
                <a:cxn ang="0">
                  <a:pos x="22" y="102"/>
                </a:cxn>
                <a:cxn ang="0">
                  <a:pos x="38" y="100"/>
                </a:cxn>
                <a:cxn ang="0">
                  <a:pos x="48" y="104"/>
                </a:cxn>
                <a:cxn ang="0">
                  <a:pos x="48" y="112"/>
                </a:cxn>
                <a:cxn ang="0">
                  <a:pos x="54" y="104"/>
                </a:cxn>
                <a:cxn ang="0">
                  <a:pos x="64" y="114"/>
                </a:cxn>
                <a:cxn ang="0">
                  <a:pos x="58" y="106"/>
                </a:cxn>
                <a:cxn ang="0">
                  <a:pos x="50" y="96"/>
                </a:cxn>
                <a:cxn ang="0">
                  <a:pos x="42" y="88"/>
                </a:cxn>
                <a:cxn ang="0">
                  <a:pos x="66" y="104"/>
                </a:cxn>
                <a:cxn ang="0">
                  <a:pos x="66" y="100"/>
                </a:cxn>
                <a:cxn ang="0">
                  <a:pos x="78" y="106"/>
                </a:cxn>
                <a:cxn ang="0">
                  <a:pos x="78" y="100"/>
                </a:cxn>
                <a:cxn ang="0">
                  <a:pos x="96" y="104"/>
                </a:cxn>
                <a:cxn ang="0">
                  <a:pos x="96" y="114"/>
                </a:cxn>
                <a:cxn ang="0">
                  <a:pos x="100" y="112"/>
                </a:cxn>
                <a:cxn ang="0">
                  <a:pos x="106" y="106"/>
                </a:cxn>
                <a:cxn ang="0">
                  <a:pos x="100" y="100"/>
                </a:cxn>
                <a:cxn ang="0">
                  <a:pos x="90" y="94"/>
                </a:cxn>
                <a:cxn ang="0">
                  <a:pos x="72" y="88"/>
                </a:cxn>
                <a:cxn ang="0">
                  <a:pos x="68" y="68"/>
                </a:cxn>
                <a:cxn ang="0">
                  <a:pos x="98" y="56"/>
                </a:cxn>
                <a:cxn ang="0">
                  <a:pos x="98" y="46"/>
                </a:cxn>
                <a:cxn ang="0">
                  <a:pos x="76" y="48"/>
                </a:cxn>
                <a:cxn ang="0">
                  <a:pos x="66" y="54"/>
                </a:cxn>
                <a:cxn ang="0">
                  <a:pos x="56" y="40"/>
                </a:cxn>
                <a:cxn ang="0">
                  <a:pos x="62" y="30"/>
                </a:cxn>
                <a:cxn ang="0">
                  <a:pos x="72" y="24"/>
                </a:cxn>
                <a:cxn ang="0">
                  <a:pos x="62" y="16"/>
                </a:cxn>
                <a:cxn ang="0">
                  <a:pos x="72" y="14"/>
                </a:cxn>
                <a:cxn ang="0">
                  <a:pos x="80" y="18"/>
                </a:cxn>
                <a:cxn ang="0">
                  <a:pos x="98" y="0"/>
                </a:cxn>
                <a:cxn ang="0">
                  <a:pos x="108" y="10"/>
                </a:cxn>
                <a:cxn ang="0">
                  <a:pos x="126" y="8"/>
                </a:cxn>
                <a:cxn ang="0">
                  <a:pos x="128" y="46"/>
                </a:cxn>
                <a:cxn ang="0">
                  <a:pos x="124" y="112"/>
                </a:cxn>
                <a:cxn ang="0">
                  <a:pos x="118" y="128"/>
                </a:cxn>
                <a:cxn ang="0">
                  <a:pos x="118" y="132"/>
                </a:cxn>
                <a:cxn ang="0">
                  <a:pos x="90" y="128"/>
                </a:cxn>
                <a:cxn ang="0">
                  <a:pos x="82" y="126"/>
                </a:cxn>
              </a:cxnLst>
              <a:rect l="0" t="0" r="r" b="b"/>
              <a:pathLst>
                <a:path w="128" h="134">
                  <a:moveTo>
                    <a:pt x="64" y="128"/>
                  </a:moveTo>
                  <a:lnTo>
                    <a:pt x="62" y="128"/>
                  </a:lnTo>
                  <a:lnTo>
                    <a:pt x="60" y="126"/>
                  </a:lnTo>
                  <a:lnTo>
                    <a:pt x="60" y="124"/>
                  </a:lnTo>
                  <a:lnTo>
                    <a:pt x="62" y="124"/>
                  </a:lnTo>
                  <a:lnTo>
                    <a:pt x="62" y="122"/>
                  </a:lnTo>
                  <a:lnTo>
                    <a:pt x="64" y="120"/>
                  </a:lnTo>
                  <a:lnTo>
                    <a:pt x="60" y="122"/>
                  </a:lnTo>
                  <a:lnTo>
                    <a:pt x="60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6" y="126"/>
                  </a:lnTo>
                  <a:lnTo>
                    <a:pt x="50" y="126"/>
                  </a:lnTo>
                  <a:lnTo>
                    <a:pt x="46" y="128"/>
                  </a:lnTo>
                  <a:lnTo>
                    <a:pt x="44" y="128"/>
                  </a:lnTo>
                  <a:lnTo>
                    <a:pt x="42" y="126"/>
                  </a:lnTo>
                  <a:lnTo>
                    <a:pt x="44" y="124"/>
                  </a:lnTo>
                  <a:lnTo>
                    <a:pt x="46" y="124"/>
                  </a:lnTo>
                  <a:lnTo>
                    <a:pt x="46" y="122"/>
                  </a:lnTo>
                  <a:lnTo>
                    <a:pt x="48" y="122"/>
                  </a:lnTo>
                  <a:lnTo>
                    <a:pt x="50" y="122"/>
                  </a:lnTo>
                  <a:lnTo>
                    <a:pt x="54" y="120"/>
                  </a:lnTo>
                  <a:lnTo>
                    <a:pt x="56" y="118"/>
                  </a:lnTo>
                  <a:lnTo>
                    <a:pt x="56" y="116"/>
                  </a:lnTo>
                  <a:lnTo>
                    <a:pt x="54" y="116"/>
                  </a:lnTo>
                  <a:lnTo>
                    <a:pt x="52" y="116"/>
                  </a:lnTo>
                  <a:lnTo>
                    <a:pt x="50" y="118"/>
                  </a:lnTo>
                  <a:lnTo>
                    <a:pt x="50" y="120"/>
                  </a:lnTo>
                  <a:lnTo>
                    <a:pt x="52" y="120"/>
                  </a:lnTo>
                  <a:lnTo>
                    <a:pt x="50" y="120"/>
                  </a:lnTo>
                  <a:lnTo>
                    <a:pt x="46" y="122"/>
                  </a:lnTo>
                  <a:lnTo>
                    <a:pt x="44" y="122"/>
                  </a:lnTo>
                  <a:lnTo>
                    <a:pt x="40" y="122"/>
                  </a:lnTo>
                  <a:lnTo>
                    <a:pt x="38" y="120"/>
                  </a:lnTo>
                  <a:lnTo>
                    <a:pt x="40" y="120"/>
                  </a:lnTo>
                  <a:lnTo>
                    <a:pt x="42" y="120"/>
                  </a:lnTo>
                  <a:lnTo>
                    <a:pt x="44" y="120"/>
                  </a:lnTo>
                  <a:lnTo>
                    <a:pt x="44" y="118"/>
                  </a:lnTo>
                  <a:lnTo>
                    <a:pt x="42" y="120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36" y="122"/>
                  </a:lnTo>
                  <a:lnTo>
                    <a:pt x="36" y="124"/>
                  </a:lnTo>
                  <a:lnTo>
                    <a:pt x="34" y="124"/>
                  </a:lnTo>
                  <a:lnTo>
                    <a:pt x="36" y="122"/>
                  </a:lnTo>
                  <a:lnTo>
                    <a:pt x="36" y="120"/>
                  </a:lnTo>
                  <a:lnTo>
                    <a:pt x="38" y="116"/>
                  </a:lnTo>
                  <a:lnTo>
                    <a:pt x="36" y="116"/>
                  </a:lnTo>
                  <a:lnTo>
                    <a:pt x="36" y="118"/>
                  </a:lnTo>
                  <a:lnTo>
                    <a:pt x="34" y="118"/>
                  </a:lnTo>
                  <a:lnTo>
                    <a:pt x="30" y="120"/>
                  </a:lnTo>
                  <a:lnTo>
                    <a:pt x="26" y="118"/>
                  </a:lnTo>
                  <a:lnTo>
                    <a:pt x="26" y="116"/>
                  </a:lnTo>
                  <a:lnTo>
                    <a:pt x="26" y="114"/>
                  </a:lnTo>
                  <a:lnTo>
                    <a:pt x="24" y="110"/>
                  </a:lnTo>
                  <a:lnTo>
                    <a:pt x="22" y="112"/>
                  </a:lnTo>
                  <a:lnTo>
                    <a:pt x="18" y="118"/>
                  </a:lnTo>
                  <a:lnTo>
                    <a:pt x="18" y="120"/>
                  </a:lnTo>
                  <a:lnTo>
                    <a:pt x="12" y="116"/>
                  </a:lnTo>
                  <a:lnTo>
                    <a:pt x="12" y="114"/>
                  </a:lnTo>
                  <a:lnTo>
                    <a:pt x="10" y="114"/>
                  </a:lnTo>
                  <a:lnTo>
                    <a:pt x="8" y="116"/>
                  </a:lnTo>
                  <a:lnTo>
                    <a:pt x="6" y="118"/>
                  </a:lnTo>
                  <a:lnTo>
                    <a:pt x="2" y="118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6"/>
                  </a:lnTo>
                  <a:lnTo>
                    <a:pt x="2" y="106"/>
                  </a:lnTo>
                  <a:lnTo>
                    <a:pt x="4" y="108"/>
                  </a:lnTo>
                  <a:lnTo>
                    <a:pt x="4" y="110"/>
                  </a:lnTo>
                  <a:lnTo>
                    <a:pt x="6" y="110"/>
                  </a:lnTo>
                  <a:lnTo>
                    <a:pt x="6" y="112"/>
                  </a:lnTo>
                  <a:lnTo>
                    <a:pt x="8" y="112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2" y="106"/>
                  </a:lnTo>
                  <a:lnTo>
                    <a:pt x="10" y="106"/>
                  </a:lnTo>
                  <a:lnTo>
                    <a:pt x="8" y="108"/>
                  </a:lnTo>
                  <a:lnTo>
                    <a:pt x="6" y="106"/>
                  </a:lnTo>
                  <a:lnTo>
                    <a:pt x="6" y="104"/>
                  </a:lnTo>
                  <a:lnTo>
                    <a:pt x="8" y="102"/>
                  </a:lnTo>
                  <a:lnTo>
                    <a:pt x="10" y="102"/>
                  </a:lnTo>
                  <a:lnTo>
                    <a:pt x="10" y="104"/>
                  </a:lnTo>
                  <a:lnTo>
                    <a:pt x="14" y="108"/>
                  </a:lnTo>
                  <a:lnTo>
                    <a:pt x="14" y="110"/>
                  </a:lnTo>
                  <a:lnTo>
                    <a:pt x="16" y="110"/>
                  </a:lnTo>
                  <a:lnTo>
                    <a:pt x="18" y="108"/>
                  </a:lnTo>
                  <a:lnTo>
                    <a:pt x="16" y="106"/>
                  </a:lnTo>
                  <a:lnTo>
                    <a:pt x="14" y="106"/>
                  </a:lnTo>
                  <a:lnTo>
                    <a:pt x="14" y="104"/>
                  </a:lnTo>
                  <a:lnTo>
                    <a:pt x="16" y="104"/>
                  </a:lnTo>
                  <a:lnTo>
                    <a:pt x="20" y="106"/>
                  </a:lnTo>
                  <a:lnTo>
                    <a:pt x="22" y="104"/>
                  </a:lnTo>
                  <a:lnTo>
                    <a:pt x="20" y="104"/>
                  </a:lnTo>
                  <a:lnTo>
                    <a:pt x="22" y="102"/>
                  </a:lnTo>
                  <a:lnTo>
                    <a:pt x="24" y="102"/>
                  </a:lnTo>
                  <a:lnTo>
                    <a:pt x="30" y="104"/>
                  </a:lnTo>
                  <a:lnTo>
                    <a:pt x="38" y="108"/>
                  </a:lnTo>
                  <a:lnTo>
                    <a:pt x="38" y="104"/>
                  </a:lnTo>
                  <a:lnTo>
                    <a:pt x="38" y="102"/>
                  </a:lnTo>
                  <a:lnTo>
                    <a:pt x="38" y="100"/>
                  </a:lnTo>
                  <a:lnTo>
                    <a:pt x="40" y="100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50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6"/>
                  </a:lnTo>
                  <a:lnTo>
                    <a:pt x="46" y="110"/>
                  </a:lnTo>
                  <a:lnTo>
                    <a:pt x="46" y="114"/>
                  </a:lnTo>
                  <a:lnTo>
                    <a:pt x="46" y="112"/>
                  </a:lnTo>
                  <a:lnTo>
                    <a:pt x="50" y="116"/>
                  </a:lnTo>
                  <a:lnTo>
                    <a:pt x="48" y="112"/>
                  </a:lnTo>
                  <a:lnTo>
                    <a:pt x="48" y="110"/>
                  </a:lnTo>
                  <a:lnTo>
                    <a:pt x="48" y="106"/>
                  </a:lnTo>
                  <a:lnTo>
                    <a:pt x="50" y="106"/>
                  </a:lnTo>
                  <a:lnTo>
                    <a:pt x="50" y="104"/>
                  </a:lnTo>
                  <a:lnTo>
                    <a:pt x="52" y="102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8" y="108"/>
                  </a:lnTo>
                  <a:lnTo>
                    <a:pt x="60" y="110"/>
                  </a:lnTo>
                  <a:lnTo>
                    <a:pt x="62" y="110"/>
                  </a:lnTo>
                  <a:lnTo>
                    <a:pt x="62" y="112"/>
                  </a:lnTo>
                  <a:lnTo>
                    <a:pt x="64" y="114"/>
                  </a:lnTo>
                  <a:lnTo>
                    <a:pt x="68" y="112"/>
                  </a:lnTo>
                  <a:lnTo>
                    <a:pt x="64" y="110"/>
                  </a:lnTo>
                  <a:lnTo>
                    <a:pt x="64" y="108"/>
                  </a:lnTo>
                  <a:lnTo>
                    <a:pt x="62" y="108"/>
                  </a:lnTo>
                  <a:lnTo>
                    <a:pt x="60" y="106"/>
                  </a:lnTo>
                  <a:lnTo>
                    <a:pt x="58" y="106"/>
                  </a:lnTo>
                  <a:lnTo>
                    <a:pt x="56" y="104"/>
                  </a:lnTo>
                  <a:lnTo>
                    <a:pt x="54" y="102"/>
                  </a:lnTo>
                  <a:lnTo>
                    <a:pt x="54" y="100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0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2" y="96"/>
                  </a:lnTo>
                  <a:lnTo>
                    <a:pt x="42" y="94"/>
                  </a:lnTo>
                  <a:lnTo>
                    <a:pt x="40" y="90"/>
                  </a:lnTo>
                  <a:lnTo>
                    <a:pt x="42" y="88"/>
                  </a:lnTo>
                  <a:lnTo>
                    <a:pt x="42" y="90"/>
                  </a:lnTo>
                  <a:lnTo>
                    <a:pt x="44" y="92"/>
                  </a:lnTo>
                  <a:lnTo>
                    <a:pt x="46" y="92"/>
                  </a:lnTo>
                  <a:lnTo>
                    <a:pt x="50" y="94"/>
                  </a:lnTo>
                  <a:lnTo>
                    <a:pt x="60" y="100"/>
                  </a:lnTo>
                  <a:lnTo>
                    <a:pt x="66" y="104"/>
                  </a:lnTo>
                  <a:lnTo>
                    <a:pt x="68" y="104"/>
                  </a:lnTo>
                  <a:lnTo>
                    <a:pt x="68" y="106"/>
                  </a:lnTo>
                  <a:lnTo>
                    <a:pt x="72" y="102"/>
                  </a:lnTo>
                  <a:lnTo>
                    <a:pt x="70" y="102"/>
                  </a:lnTo>
                  <a:lnTo>
                    <a:pt x="68" y="100"/>
                  </a:lnTo>
                  <a:lnTo>
                    <a:pt x="66" y="100"/>
                  </a:lnTo>
                  <a:lnTo>
                    <a:pt x="68" y="98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2" y="96"/>
                  </a:lnTo>
                  <a:lnTo>
                    <a:pt x="74" y="98"/>
                  </a:lnTo>
                  <a:lnTo>
                    <a:pt x="78" y="106"/>
                  </a:lnTo>
                  <a:lnTo>
                    <a:pt x="80" y="112"/>
                  </a:lnTo>
                  <a:lnTo>
                    <a:pt x="82" y="112"/>
                  </a:lnTo>
                  <a:lnTo>
                    <a:pt x="82" y="108"/>
                  </a:lnTo>
                  <a:lnTo>
                    <a:pt x="80" y="102"/>
                  </a:lnTo>
                  <a:lnTo>
                    <a:pt x="80" y="100"/>
                  </a:lnTo>
                  <a:lnTo>
                    <a:pt x="78" y="100"/>
                  </a:lnTo>
                  <a:lnTo>
                    <a:pt x="78" y="98"/>
                  </a:lnTo>
                  <a:lnTo>
                    <a:pt x="80" y="98"/>
                  </a:lnTo>
                  <a:lnTo>
                    <a:pt x="82" y="98"/>
                  </a:lnTo>
                  <a:lnTo>
                    <a:pt x="86" y="100"/>
                  </a:lnTo>
                  <a:lnTo>
                    <a:pt x="88" y="102"/>
                  </a:lnTo>
                  <a:lnTo>
                    <a:pt x="96" y="104"/>
                  </a:lnTo>
                  <a:lnTo>
                    <a:pt x="100" y="106"/>
                  </a:lnTo>
                  <a:lnTo>
                    <a:pt x="102" y="106"/>
                  </a:lnTo>
                  <a:lnTo>
                    <a:pt x="102" y="108"/>
                  </a:lnTo>
                  <a:lnTo>
                    <a:pt x="98" y="112"/>
                  </a:lnTo>
                  <a:lnTo>
                    <a:pt x="96" y="112"/>
                  </a:lnTo>
                  <a:lnTo>
                    <a:pt x="96" y="114"/>
                  </a:lnTo>
                  <a:lnTo>
                    <a:pt x="94" y="116"/>
                  </a:lnTo>
                  <a:lnTo>
                    <a:pt x="96" y="120"/>
                  </a:lnTo>
                  <a:lnTo>
                    <a:pt x="96" y="118"/>
                  </a:lnTo>
                  <a:lnTo>
                    <a:pt x="98" y="116"/>
                  </a:lnTo>
                  <a:lnTo>
                    <a:pt x="98" y="114"/>
                  </a:lnTo>
                  <a:lnTo>
                    <a:pt x="100" y="112"/>
                  </a:lnTo>
                  <a:lnTo>
                    <a:pt x="102" y="112"/>
                  </a:lnTo>
                  <a:lnTo>
                    <a:pt x="104" y="114"/>
                  </a:lnTo>
                  <a:lnTo>
                    <a:pt x="104" y="112"/>
                  </a:lnTo>
                  <a:lnTo>
                    <a:pt x="104" y="110"/>
                  </a:lnTo>
                  <a:lnTo>
                    <a:pt x="104" y="108"/>
                  </a:lnTo>
                  <a:lnTo>
                    <a:pt x="106" y="106"/>
                  </a:lnTo>
                  <a:lnTo>
                    <a:pt x="106" y="108"/>
                  </a:lnTo>
                  <a:lnTo>
                    <a:pt x="108" y="108"/>
                  </a:lnTo>
                  <a:lnTo>
                    <a:pt x="110" y="108"/>
                  </a:lnTo>
                  <a:lnTo>
                    <a:pt x="110" y="106"/>
                  </a:lnTo>
                  <a:lnTo>
                    <a:pt x="108" y="104"/>
                  </a:lnTo>
                  <a:lnTo>
                    <a:pt x="100" y="100"/>
                  </a:lnTo>
                  <a:lnTo>
                    <a:pt x="96" y="98"/>
                  </a:lnTo>
                  <a:lnTo>
                    <a:pt x="94" y="98"/>
                  </a:lnTo>
                  <a:lnTo>
                    <a:pt x="92" y="98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90" y="94"/>
                  </a:lnTo>
                  <a:lnTo>
                    <a:pt x="86" y="94"/>
                  </a:lnTo>
                  <a:lnTo>
                    <a:pt x="84" y="94"/>
                  </a:lnTo>
                  <a:lnTo>
                    <a:pt x="84" y="92"/>
                  </a:lnTo>
                  <a:lnTo>
                    <a:pt x="82" y="92"/>
                  </a:lnTo>
                  <a:lnTo>
                    <a:pt x="78" y="92"/>
                  </a:lnTo>
                  <a:lnTo>
                    <a:pt x="72" y="88"/>
                  </a:lnTo>
                  <a:lnTo>
                    <a:pt x="72" y="86"/>
                  </a:lnTo>
                  <a:lnTo>
                    <a:pt x="68" y="78"/>
                  </a:lnTo>
                  <a:lnTo>
                    <a:pt x="68" y="74"/>
                  </a:lnTo>
                  <a:lnTo>
                    <a:pt x="68" y="72"/>
                  </a:lnTo>
                  <a:lnTo>
                    <a:pt x="68" y="70"/>
                  </a:lnTo>
                  <a:lnTo>
                    <a:pt x="68" y="68"/>
                  </a:lnTo>
                  <a:lnTo>
                    <a:pt x="70" y="68"/>
                  </a:lnTo>
                  <a:lnTo>
                    <a:pt x="78" y="64"/>
                  </a:lnTo>
                  <a:lnTo>
                    <a:pt x="80" y="64"/>
                  </a:lnTo>
                  <a:lnTo>
                    <a:pt x="82" y="64"/>
                  </a:lnTo>
                  <a:lnTo>
                    <a:pt x="84" y="64"/>
                  </a:lnTo>
                  <a:lnTo>
                    <a:pt x="98" y="56"/>
                  </a:lnTo>
                  <a:lnTo>
                    <a:pt x="100" y="56"/>
                  </a:lnTo>
                  <a:lnTo>
                    <a:pt x="100" y="54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0" y="46"/>
                  </a:lnTo>
                  <a:lnTo>
                    <a:pt x="98" y="46"/>
                  </a:lnTo>
                  <a:lnTo>
                    <a:pt x="92" y="46"/>
                  </a:lnTo>
                  <a:lnTo>
                    <a:pt x="90" y="46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78" y="48"/>
                  </a:lnTo>
                  <a:lnTo>
                    <a:pt x="76" y="48"/>
                  </a:lnTo>
                  <a:lnTo>
                    <a:pt x="74" y="48"/>
                  </a:lnTo>
                  <a:lnTo>
                    <a:pt x="74" y="50"/>
                  </a:lnTo>
                  <a:lnTo>
                    <a:pt x="74" y="52"/>
                  </a:lnTo>
                  <a:lnTo>
                    <a:pt x="72" y="52"/>
                  </a:lnTo>
                  <a:lnTo>
                    <a:pt x="68" y="54"/>
                  </a:lnTo>
                  <a:lnTo>
                    <a:pt x="66" y="54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58" y="48"/>
                  </a:lnTo>
                  <a:lnTo>
                    <a:pt x="58" y="46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8" y="30"/>
                  </a:lnTo>
                  <a:lnTo>
                    <a:pt x="58" y="28"/>
                  </a:lnTo>
                  <a:lnTo>
                    <a:pt x="60" y="28"/>
                  </a:lnTo>
                  <a:lnTo>
                    <a:pt x="62" y="26"/>
                  </a:lnTo>
                  <a:lnTo>
                    <a:pt x="62" y="28"/>
                  </a:lnTo>
                  <a:lnTo>
                    <a:pt x="62" y="30"/>
                  </a:lnTo>
                  <a:lnTo>
                    <a:pt x="64" y="30"/>
                  </a:lnTo>
                  <a:lnTo>
                    <a:pt x="68" y="28"/>
                  </a:lnTo>
                  <a:lnTo>
                    <a:pt x="70" y="28"/>
                  </a:lnTo>
                  <a:lnTo>
                    <a:pt x="72" y="28"/>
                  </a:lnTo>
                  <a:lnTo>
                    <a:pt x="72" y="26"/>
                  </a:lnTo>
                  <a:lnTo>
                    <a:pt x="72" y="24"/>
                  </a:lnTo>
                  <a:lnTo>
                    <a:pt x="72" y="22"/>
                  </a:lnTo>
                  <a:lnTo>
                    <a:pt x="68" y="22"/>
                  </a:lnTo>
                  <a:lnTo>
                    <a:pt x="66" y="18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60" y="14"/>
                  </a:lnTo>
                  <a:lnTo>
                    <a:pt x="62" y="14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4" y="14"/>
                  </a:lnTo>
                  <a:lnTo>
                    <a:pt x="74" y="16"/>
                  </a:lnTo>
                  <a:lnTo>
                    <a:pt x="74" y="18"/>
                  </a:lnTo>
                  <a:lnTo>
                    <a:pt x="76" y="18"/>
                  </a:lnTo>
                  <a:lnTo>
                    <a:pt x="78" y="20"/>
                  </a:lnTo>
                  <a:lnTo>
                    <a:pt x="80" y="18"/>
                  </a:lnTo>
                  <a:lnTo>
                    <a:pt x="86" y="16"/>
                  </a:lnTo>
                  <a:lnTo>
                    <a:pt x="86" y="14"/>
                  </a:lnTo>
                  <a:lnTo>
                    <a:pt x="88" y="14"/>
                  </a:lnTo>
                  <a:lnTo>
                    <a:pt x="92" y="8"/>
                  </a:lnTo>
                  <a:lnTo>
                    <a:pt x="92" y="2"/>
                  </a:lnTo>
                  <a:lnTo>
                    <a:pt x="98" y="0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2" y="4"/>
                  </a:lnTo>
                  <a:lnTo>
                    <a:pt x="106" y="8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8" y="12"/>
                  </a:lnTo>
                  <a:lnTo>
                    <a:pt x="110" y="12"/>
                  </a:lnTo>
                  <a:lnTo>
                    <a:pt x="116" y="10"/>
                  </a:lnTo>
                  <a:lnTo>
                    <a:pt x="120" y="8"/>
                  </a:lnTo>
                  <a:lnTo>
                    <a:pt x="122" y="6"/>
                  </a:lnTo>
                  <a:lnTo>
                    <a:pt x="126" y="8"/>
                  </a:lnTo>
                  <a:lnTo>
                    <a:pt x="128" y="10"/>
                  </a:lnTo>
                  <a:lnTo>
                    <a:pt x="128" y="14"/>
                  </a:lnTo>
                  <a:lnTo>
                    <a:pt x="128" y="18"/>
                  </a:lnTo>
                  <a:lnTo>
                    <a:pt x="128" y="36"/>
                  </a:lnTo>
                  <a:lnTo>
                    <a:pt x="128" y="44"/>
                  </a:lnTo>
                  <a:lnTo>
                    <a:pt x="128" y="46"/>
                  </a:lnTo>
                  <a:lnTo>
                    <a:pt x="126" y="56"/>
                  </a:lnTo>
                  <a:lnTo>
                    <a:pt x="126" y="74"/>
                  </a:lnTo>
                  <a:lnTo>
                    <a:pt x="126" y="82"/>
                  </a:lnTo>
                  <a:lnTo>
                    <a:pt x="124" y="100"/>
                  </a:lnTo>
                  <a:lnTo>
                    <a:pt x="124" y="102"/>
                  </a:lnTo>
                  <a:lnTo>
                    <a:pt x="124" y="112"/>
                  </a:lnTo>
                  <a:lnTo>
                    <a:pt x="122" y="126"/>
                  </a:lnTo>
                  <a:lnTo>
                    <a:pt x="122" y="132"/>
                  </a:lnTo>
                  <a:lnTo>
                    <a:pt x="120" y="132"/>
                  </a:lnTo>
                  <a:lnTo>
                    <a:pt x="120" y="130"/>
                  </a:lnTo>
                  <a:lnTo>
                    <a:pt x="118" y="130"/>
                  </a:lnTo>
                  <a:lnTo>
                    <a:pt x="118" y="128"/>
                  </a:lnTo>
                  <a:lnTo>
                    <a:pt x="112" y="126"/>
                  </a:lnTo>
                  <a:lnTo>
                    <a:pt x="114" y="128"/>
                  </a:lnTo>
                  <a:lnTo>
                    <a:pt x="114" y="130"/>
                  </a:lnTo>
                  <a:lnTo>
                    <a:pt x="116" y="130"/>
                  </a:lnTo>
                  <a:lnTo>
                    <a:pt x="118" y="130"/>
                  </a:lnTo>
                  <a:lnTo>
                    <a:pt x="118" y="132"/>
                  </a:lnTo>
                  <a:lnTo>
                    <a:pt x="116" y="134"/>
                  </a:lnTo>
                  <a:lnTo>
                    <a:pt x="110" y="134"/>
                  </a:lnTo>
                  <a:lnTo>
                    <a:pt x="108" y="134"/>
                  </a:lnTo>
                  <a:lnTo>
                    <a:pt x="106" y="134"/>
                  </a:lnTo>
                  <a:lnTo>
                    <a:pt x="92" y="130"/>
                  </a:lnTo>
                  <a:lnTo>
                    <a:pt x="90" y="128"/>
                  </a:lnTo>
                  <a:lnTo>
                    <a:pt x="86" y="126"/>
                  </a:lnTo>
                  <a:lnTo>
                    <a:pt x="86" y="124"/>
                  </a:lnTo>
                  <a:lnTo>
                    <a:pt x="86" y="120"/>
                  </a:lnTo>
                  <a:lnTo>
                    <a:pt x="84" y="122"/>
                  </a:lnTo>
                  <a:lnTo>
                    <a:pt x="82" y="124"/>
                  </a:lnTo>
                  <a:lnTo>
                    <a:pt x="82" y="126"/>
                  </a:lnTo>
                  <a:lnTo>
                    <a:pt x="70" y="128"/>
                  </a:lnTo>
                  <a:lnTo>
                    <a:pt x="64" y="12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2" name="Freeform 242"/>
            <p:cNvSpPr>
              <a:spLocks/>
            </p:cNvSpPr>
            <p:nvPr/>
          </p:nvSpPr>
          <p:spPr bwMode="auto">
            <a:xfrm>
              <a:off x="2298" y="3840"/>
              <a:ext cx="64" cy="36"/>
            </a:xfrm>
            <a:custGeom>
              <a:avLst/>
              <a:gdLst/>
              <a:ahLst/>
              <a:cxnLst>
                <a:cxn ang="0">
                  <a:pos x="52" y="30"/>
                </a:cxn>
                <a:cxn ang="0">
                  <a:pos x="56" y="30"/>
                </a:cxn>
                <a:cxn ang="0">
                  <a:pos x="58" y="32"/>
                </a:cxn>
                <a:cxn ang="0">
                  <a:pos x="64" y="34"/>
                </a:cxn>
                <a:cxn ang="0">
                  <a:pos x="62" y="36"/>
                </a:cxn>
                <a:cxn ang="0">
                  <a:pos x="58" y="34"/>
                </a:cxn>
                <a:cxn ang="0">
                  <a:pos x="48" y="34"/>
                </a:cxn>
                <a:cxn ang="0">
                  <a:pos x="48" y="32"/>
                </a:cxn>
                <a:cxn ang="0">
                  <a:pos x="46" y="30"/>
                </a:cxn>
                <a:cxn ang="0">
                  <a:pos x="44" y="28"/>
                </a:cxn>
                <a:cxn ang="0">
                  <a:pos x="40" y="24"/>
                </a:cxn>
                <a:cxn ang="0">
                  <a:pos x="36" y="22"/>
                </a:cxn>
                <a:cxn ang="0">
                  <a:pos x="32" y="18"/>
                </a:cxn>
                <a:cxn ang="0">
                  <a:pos x="30" y="20"/>
                </a:cxn>
                <a:cxn ang="0">
                  <a:pos x="28" y="20"/>
                </a:cxn>
                <a:cxn ang="0">
                  <a:pos x="26" y="22"/>
                </a:cxn>
                <a:cxn ang="0">
                  <a:pos x="18" y="22"/>
                </a:cxn>
                <a:cxn ang="0">
                  <a:pos x="16" y="20"/>
                </a:cxn>
                <a:cxn ang="0">
                  <a:pos x="16" y="18"/>
                </a:cxn>
                <a:cxn ang="0">
                  <a:pos x="12" y="16"/>
                </a:cxn>
                <a:cxn ang="0">
                  <a:pos x="10" y="14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6" y="10"/>
                </a:cxn>
                <a:cxn ang="0">
                  <a:pos x="8" y="8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10" y="6"/>
                </a:cxn>
                <a:cxn ang="0">
                  <a:pos x="12" y="8"/>
                </a:cxn>
                <a:cxn ang="0">
                  <a:pos x="14" y="12"/>
                </a:cxn>
                <a:cxn ang="0">
                  <a:pos x="14" y="14"/>
                </a:cxn>
                <a:cxn ang="0">
                  <a:pos x="20" y="14"/>
                </a:cxn>
                <a:cxn ang="0">
                  <a:pos x="22" y="12"/>
                </a:cxn>
                <a:cxn ang="0">
                  <a:pos x="24" y="12"/>
                </a:cxn>
                <a:cxn ang="0">
                  <a:pos x="28" y="14"/>
                </a:cxn>
                <a:cxn ang="0">
                  <a:pos x="32" y="16"/>
                </a:cxn>
                <a:cxn ang="0">
                  <a:pos x="34" y="18"/>
                </a:cxn>
                <a:cxn ang="0">
                  <a:pos x="36" y="18"/>
                </a:cxn>
                <a:cxn ang="0">
                  <a:pos x="40" y="20"/>
                </a:cxn>
                <a:cxn ang="0">
                  <a:pos x="42" y="20"/>
                </a:cxn>
                <a:cxn ang="0">
                  <a:pos x="42" y="18"/>
                </a:cxn>
                <a:cxn ang="0">
                  <a:pos x="44" y="18"/>
                </a:cxn>
                <a:cxn ang="0">
                  <a:pos x="46" y="20"/>
                </a:cxn>
                <a:cxn ang="0">
                  <a:pos x="46" y="22"/>
                </a:cxn>
                <a:cxn ang="0">
                  <a:pos x="46" y="24"/>
                </a:cxn>
                <a:cxn ang="0">
                  <a:pos x="46" y="26"/>
                </a:cxn>
                <a:cxn ang="0">
                  <a:pos x="46" y="30"/>
                </a:cxn>
                <a:cxn ang="0">
                  <a:pos x="48" y="30"/>
                </a:cxn>
                <a:cxn ang="0">
                  <a:pos x="48" y="28"/>
                </a:cxn>
                <a:cxn ang="0">
                  <a:pos x="48" y="26"/>
                </a:cxn>
                <a:cxn ang="0">
                  <a:pos x="48" y="24"/>
                </a:cxn>
                <a:cxn ang="0">
                  <a:pos x="48" y="22"/>
                </a:cxn>
                <a:cxn ang="0">
                  <a:pos x="50" y="22"/>
                </a:cxn>
                <a:cxn ang="0">
                  <a:pos x="50" y="24"/>
                </a:cxn>
                <a:cxn ang="0">
                  <a:pos x="54" y="28"/>
                </a:cxn>
                <a:cxn ang="0">
                  <a:pos x="52" y="30"/>
                </a:cxn>
              </a:cxnLst>
              <a:rect l="0" t="0" r="r" b="b"/>
              <a:pathLst>
                <a:path w="64" h="36">
                  <a:moveTo>
                    <a:pt x="52" y="30"/>
                  </a:moveTo>
                  <a:lnTo>
                    <a:pt x="56" y="30"/>
                  </a:lnTo>
                  <a:lnTo>
                    <a:pt x="58" y="32"/>
                  </a:lnTo>
                  <a:lnTo>
                    <a:pt x="64" y="34"/>
                  </a:lnTo>
                  <a:lnTo>
                    <a:pt x="62" y="36"/>
                  </a:lnTo>
                  <a:lnTo>
                    <a:pt x="58" y="34"/>
                  </a:lnTo>
                  <a:lnTo>
                    <a:pt x="48" y="34"/>
                  </a:lnTo>
                  <a:lnTo>
                    <a:pt x="48" y="32"/>
                  </a:lnTo>
                  <a:lnTo>
                    <a:pt x="46" y="30"/>
                  </a:lnTo>
                  <a:lnTo>
                    <a:pt x="44" y="28"/>
                  </a:lnTo>
                  <a:lnTo>
                    <a:pt x="40" y="24"/>
                  </a:lnTo>
                  <a:lnTo>
                    <a:pt x="36" y="22"/>
                  </a:lnTo>
                  <a:lnTo>
                    <a:pt x="32" y="18"/>
                  </a:lnTo>
                  <a:lnTo>
                    <a:pt x="30" y="20"/>
                  </a:lnTo>
                  <a:lnTo>
                    <a:pt x="28" y="20"/>
                  </a:lnTo>
                  <a:lnTo>
                    <a:pt x="26" y="22"/>
                  </a:lnTo>
                  <a:lnTo>
                    <a:pt x="18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2" y="16"/>
                  </a:lnTo>
                  <a:lnTo>
                    <a:pt x="10" y="14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6" y="10"/>
                  </a:lnTo>
                  <a:lnTo>
                    <a:pt x="8" y="8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20" y="14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8" y="14"/>
                  </a:lnTo>
                  <a:lnTo>
                    <a:pt x="32" y="16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6" y="26"/>
                  </a:lnTo>
                  <a:lnTo>
                    <a:pt x="46" y="30"/>
                  </a:lnTo>
                  <a:lnTo>
                    <a:pt x="48" y="30"/>
                  </a:lnTo>
                  <a:lnTo>
                    <a:pt x="48" y="28"/>
                  </a:lnTo>
                  <a:lnTo>
                    <a:pt x="48" y="26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4" y="28"/>
                  </a:lnTo>
                  <a:lnTo>
                    <a:pt x="52" y="3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3" name="Freeform 243"/>
            <p:cNvSpPr>
              <a:spLocks/>
            </p:cNvSpPr>
            <p:nvPr/>
          </p:nvSpPr>
          <p:spPr bwMode="auto">
            <a:xfrm>
              <a:off x="2336" y="3848"/>
              <a:ext cx="14" cy="6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10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4" y="2"/>
                </a:cxn>
                <a:cxn ang="0">
                  <a:pos x="14" y="6"/>
                </a:cxn>
                <a:cxn ang="0">
                  <a:pos x="12" y="6"/>
                </a:cxn>
              </a:cxnLst>
              <a:rect l="0" t="0" r="r" b="b"/>
              <a:pathLst>
                <a:path w="14" h="6">
                  <a:moveTo>
                    <a:pt x="12" y="6"/>
                  </a:moveTo>
                  <a:lnTo>
                    <a:pt x="10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4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4" name="Freeform 244"/>
            <p:cNvSpPr>
              <a:spLocks/>
            </p:cNvSpPr>
            <p:nvPr/>
          </p:nvSpPr>
          <p:spPr bwMode="auto">
            <a:xfrm>
              <a:off x="2318" y="3868"/>
              <a:ext cx="8" cy="6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6" y="0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6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5" name="Freeform 245"/>
            <p:cNvSpPr>
              <a:spLocks/>
            </p:cNvSpPr>
            <p:nvPr/>
          </p:nvSpPr>
          <p:spPr bwMode="auto">
            <a:xfrm>
              <a:off x="2334" y="3876"/>
              <a:ext cx="16" cy="10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12" y="10"/>
                </a:cxn>
                <a:cxn ang="0">
                  <a:pos x="6" y="8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6" y="6"/>
                </a:cxn>
                <a:cxn ang="0">
                  <a:pos x="8" y="6"/>
                </a:cxn>
                <a:cxn ang="0">
                  <a:pos x="12" y="4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14" y="0"/>
                </a:cxn>
              </a:cxnLst>
              <a:rect l="0" t="0" r="r" b="b"/>
              <a:pathLst>
                <a:path w="16" h="10">
                  <a:moveTo>
                    <a:pt x="14" y="0"/>
                  </a:moveTo>
                  <a:lnTo>
                    <a:pt x="16" y="0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2" y="10"/>
                  </a:lnTo>
                  <a:lnTo>
                    <a:pt x="6" y="8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6"/>
                  </a:lnTo>
                  <a:lnTo>
                    <a:pt x="8" y="6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6" name="Freeform 246"/>
            <p:cNvSpPr>
              <a:spLocks/>
            </p:cNvSpPr>
            <p:nvPr/>
          </p:nvSpPr>
          <p:spPr bwMode="auto">
            <a:xfrm>
              <a:off x="2342" y="3876"/>
              <a:ext cx="54" cy="40"/>
            </a:xfrm>
            <a:custGeom>
              <a:avLst/>
              <a:gdLst/>
              <a:ahLst/>
              <a:cxnLst>
                <a:cxn ang="0">
                  <a:pos x="14" y="24"/>
                </a:cxn>
                <a:cxn ang="0">
                  <a:pos x="8" y="18"/>
                </a:cxn>
                <a:cxn ang="0">
                  <a:pos x="6" y="20"/>
                </a:cxn>
                <a:cxn ang="0">
                  <a:pos x="2" y="20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2" y="12"/>
                </a:cxn>
                <a:cxn ang="0">
                  <a:pos x="4" y="12"/>
                </a:cxn>
                <a:cxn ang="0">
                  <a:pos x="10" y="12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22" y="16"/>
                </a:cxn>
                <a:cxn ang="0">
                  <a:pos x="24" y="14"/>
                </a:cxn>
                <a:cxn ang="0">
                  <a:pos x="22" y="16"/>
                </a:cxn>
                <a:cxn ang="0">
                  <a:pos x="18" y="16"/>
                </a:cxn>
                <a:cxn ang="0">
                  <a:pos x="14" y="14"/>
                </a:cxn>
                <a:cxn ang="0">
                  <a:pos x="8" y="6"/>
                </a:cxn>
                <a:cxn ang="0">
                  <a:pos x="8" y="4"/>
                </a:cxn>
                <a:cxn ang="0">
                  <a:pos x="12" y="6"/>
                </a:cxn>
                <a:cxn ang="0">
                  <a:pos x="18" y="4"/>
                </a:cxn>
                <a:cxn ang="0">
                  <a:pos x="20" y="0"/>
                </a:cxn>
                <a:cxn ang="0">
                  <a:pos x="26" y="2"/>
                </a:cxn>
                <a:cxn ang="0">
                  <a:pos x="26" y="12"/>
                </a:cxn>
                <a:cxn ang="0">
                  <a:pos x="28" y="16"/>
                </a:cxn>
                <a:cxn ang="0">
                  <a:pos x="30" y="8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8" y="10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4" y="20"/>
                </a:cxn>
                <a:cxn ang="0">
                  <a:pos x="46" y="16"/>
                </a:cxn>
                <a:cxn ang="0">
                  <a:pos x="52" y="18"/>
                </a:cxn>
                <a:cxn ang="0">
                  <a:pos x="54" y="24"/>
                </a:cxn>
                <a:cxn ang="0">
                  <a:pos x="52" y="26"/>
                </a:cxn>
                <a:cxn ang="0">
                  <a:pos x="46" y="26"/>
                </a:cxn>
                <a:cxn ang="0">
                  <a:pos x="44" y="32"/>
                </a:cxn>
                <a:cxn ang="0">
                  <a:pos x="48" y="34"/>
                </a:cxn>
                <a:cxn ang="0">
                  <a:pos x="44" y="36"/>
                </a:cxn>
                <a:cxn ang="0">
                  <a:pos x="38" y="38"/>
                </a:cxn>
                <a:cxn ang="0">
                  <a:pos x="34" y="38"/>
                </a:cxn>
                <a:cxn ang="0">
                  <a:pos x="28" y="40"/>
                </a:cxn>
                <a:cxn ang="0">
                  <a:pos x="22" y="36"/>
                </a:cxn>
                <a:cxn ang="0">
                  <a:pos x="32" y="34"/>
                </a:cxn>
                <a:cxn ang="0">
                  <a:pos x="30" y="24"/>
                </a:cxn>
                <a:cxn ang="0">
                  <a:pos x="22" y="26"/>
                </a:cxn>
                <a:cxn ang="0">
                  <a:pos x="20" y="30"/>
                </a:cxn>
                <a:cxn ang="0">
                  <a:pos x="14" y="34"/>
                </a:cxn>
                <a:cxn ang="0">
                  <a:pos x="12" y="28"/>
                </a:cxn>
              </a:cxnLst>
              <a:rect l="0" t="0" r="r" b="b"/>
              <a:pathLst>
                <a:path w="54" h="40">
                  <a:moveTo>
                    <a:pt x="12" y="24"/>
                  </a:moveTo>
                  <a:lnTo>
                    <a:pt x="14" y="24"/>
                  </a:lnTo>
                  <a:lnTo>
                    <a:pt x="14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6" y="20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10" y="12"/>
                  </a:lnTo>
                  <a:lnTo>
                    <a:pt x="12" y="14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22" y="16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2" y="14"/>
                  </a:lnTo>
                  <a:lnTo>
                    <a:pt x="22" y="16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8" y="6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2" y="6"/>
                  </a:lnTo>
                  <a:lnTo>
                    <a:pt x="20" y="8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6" y="2"/>
                  </a:lnTo>
                  <a:lnTo>
                    <a:pt x="28" y="8"/>
                  </a:lnTo>
                  <a:lnTo>
                    <a:pt x="26" y="12"/>
                  </a:lnTo>
                  <a:lnTo>
                    <a:pt x="26" y="14"/>
                  </a:lnTo>
                  <a:lnTo>
                    <a:pt x="28" y="16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8" y="6"/>
                  </a:lnTo>
                  <a:lnTo>
                    <a:pt x="28" y="4"/>
                  </a:lnTo>
                  <a:lnTo>
                    <a:pt x="30" y="6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8" y="10"/>
                  </a:lnTo>
                  <a:lnTo>
                    <a:pt x="42" y="10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44" y="20"/>
                  </a:lnTo>
                  <a:lnTo>
                    <a:pt x="44" y="18"/>
                  </a:lnTo>
                  <a:lnTo>
                    <a:pt x="46" y="16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2" y="24"/>
                  </a:lnTo>
                  <a:lnTo>
                    <a:pt x="52" y="26"/>
                  </a:lnTo>
                  <a:lnTo>
                    <a:pt x="50" y="26"/>
                  </a:lnTo>
                  <a:lnTo>
                    <a:pt x="46" y="26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6" y="34"/>
                  </a:lnTo>
                  <a:lnTo>
                    <a:pt x="48" y="34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4" y="38"/>
                  </a:lnTo>
                  <a:lnTo>
                    <a:pt x="30" y="40"/>
                  </a:lnTo>
                  <a:lnTo>
                    <a:pt x="28" y="40"/>
                  </a:lnTo>
                  <a:lnTo>
                    <a:pt x="22" y="38"/>
                  </a:lnTo>
                  <a:lnTo>
                    <a:pt x="22" y="36"/>
                  </a:lnTo>
                  <a:lnTo>
                    <a:pt x="26" y="36"/>
                  </a:lnTo>
                  <a:lnTo>
                    <a:pt x="32" y="34"/>
                  </a:lnTo>
                  <a:lnTo>
                    <a:pt x="34" y="26"/>
                  </a:lnTo>
                  <a:lnTo>
                    <a:pt x="30" y="24"/>
                  </a:lnTo>
                  <a:lnTo>
                    <a:pt x="26" y="26"/>
                  </a:lnTo>
                  <a:lnTo>
                    <a:pt x="22" y="26"/>
                  </a:lnTo>
                  <a:lnTo>
                    <a:pt x="22" y="24"/>
                  </a:lnTo>
                  <a:lnTo>
                    <a:pt x="20" y="30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4" y="30"/>
                  </a:lnTo>
                  <a:lnTo>
                    <a:pt x="12" y="28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7" name="Freeform 247"/>
            <p:cNvSpPr>
              <a:spLocks/>
            </p:cNvSpPr>
            <p:nvPr/>
          </p:nvSpPr>
          <p:spPr bwMode="auto">
            <a:xfrm>
              <a:off x="2332" y="3880"/>
              <a:ext cx="8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2" y="8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8" name="Freeform 248"/>
            <p:cNvSpPr>
              <a:spLocks/>
            </p:cNvSpPr>
            <p:nvPr/>
          </p:nvSpPr>
          <p:spPr bwMode="auto">
            <a:xfrm>
              <a:off x="2442" y="3886"/>
              <a:ext cx="22" cy="36"/>
            </a:xfrm>
            <a:custGeom>
              <a:avLst/>
              <a:gdLst/>
              <a:ahLst/>
              <a:cxnLst>
                <a:cxn ang="0">
                  <a:pos x="14" y="36"/>
                </a:cxn>
                <a:cxn ang="0">
                  <a:pos x="12" y="36"/>
                </a:cxn>
                <a:cxn ang="0">
                  <a:pos x="10" y="34"/>
                </a:cxn>
                <a:cxn ang="0">
                  <a:pos x="8" y="34"/>
                </a:cxn>
                <a:cxn ang="0">
                  <a:pos x="4" y="30"/>
                </a:cxn>
                <a:cxn ang="0">
                  <a:pos x="2" y="26"/>
                </a:cxn>
                <a:cxn ang="0">
                  <a:pos x="0" y="22"/>
                </a:cxn>
                <a:cxn ang="0">
                  <a:pos x="0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4" y="16"/>
                </a:cxn>
                <a:cxn ang="0">
                  <a:pos x="6" y="14"/>
                </a:cxn>
                <a:cxn ang="0">
                  <a:pos x="6" y="16"/>
                </a:cxn>
                <a:cxn ang="0">
                  <a:pos x="8" y="16"/>
                </a:cxn>
                <a:cxn ang="0">
                  <a:pos x="10" y="16"/>
                </a:cxn>
                <a:cxn ang="0">
                  <a:pos x="12" y="16"/>
                </a:cxn>
                <a:cxn ang="0">
                  <a:pos x="12" y="14"/>
                </a:cxn>
                <a:cxn ang="0">
                  <a:pos x="10" y="14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6"/>
                </a:cxn>
                <a:cxn ang="0">
                  <a:pos x="10" y="6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4" y="4"/>
                </a:cxn>
                <a:cxn ang="0">
                  <a:pos x="14" y="2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6" y="6"/>
                </a:cxn>
                <a:cxn ang="0">
                  <a:pos x="16" y="8"/>
                </a:cxn>
                <a:cxn ang="0">
                  <a:pos x="18" y="16"/>
                </a:cxn>
                <a:cxn ang="0">
                  <a:pos x="20" y="22"/>
                </a:cxn>
                <a:cxn ang="0">
                  <a:pos x="22" y="24"/>
                </a:cxn>
                <a:cxn ang="0">
                  <a:pos x="20" y="24"/>
                </a:cxn>
                <a:cxn ang="0">
                  <a:pos x="20" y="26"/>
                </a:cxn>
                <a:cxn ang="0">
                  <a:pos x="18" y="26"/>
                </a:cxn>
                <a:cxn ang="0">
                  <a:pos x="16" y="26"/>
                </a:cxn>
                <a:cxn ang="0">
                  <a:pos x="14" y="24"/>
                </a:cxn>
                <a:cxn ang="0">
                  <a:pos x="14" y="22"/>
                </a:cxn>
                <a:cxn ang="0">
                  <a:pos x="10" y="20"/>
                </a:cxn>
                <a:cxn ang="0">
                  <a:pos x="10" y="22"/>
                </a:cxn>
                <a:cxn ang="0">
                  <a:pos x="10" y="24"/>
                </a:cxn>
                <a:cxn ang="0">
                  <a:pos x="12" y="24"/>
                </a:cxn>
                <a:cxn ang="0">
                  <a:pos x="12" y="26"/>
                </a:cxn>
                <a:cxn ang="0">
                  <a:pos x="14" y="30"/>
                </a:cxn>
                <a:cxn ang="0">
                  <a:pos x="14" y="32"/>
                </a:cxn>
                <a:cxn ang="0">
                  <a:pos x="14" y="36"/>
                </a:cxn>
              </a:cxnLst>
              <a:rect l="0" t="0" r="r" b="b"/>
              <a:pathLst>
                <a:path w="22" h="36">
                  <a:moveTo>
                    <a:pt x="14" y="36"/>
                  </a:moveTo>
                  <a:lnTo>
                    <a:pt x="12" y="36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4" y="30"/>
                  </a:lnTo>
                  <a:lnTo>
                    <a:pt x="2" y="26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6" y="14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2" y="16"/>
                  </a:lnTo>
                  <a:lnTo>
                    <a:pt x="12" y="14"/>
                  </a:lnTo>
                  <a:lnTo>
                    <a:pt x="10" y="14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8" y="16"/>
                  </a:lnTo>
                  <a:lnTo>
                    <a:pt x="20" y="22"/>
                  </a:lnTo>
                  <a:lnTo>
                    <a:pt x="22" y="24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18" y="26"/>
                  </a:lnTo>
                  <a:lnTo>
                    <a:pt x="16" y="26"/>
                  </a:lnTo>
                  <a:lnTo>
                    <a:pt x="14" y="24"/>
                  </a:lnTo>
                  <a:lnTo>
                    <a:pt x="14" y="22"/>
                  </a:lnTo>
                  <a:lnTo>
                    <a:pt x="10" y="20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12" y="24"/>
                  </a:lnTo>
                  <a:lnTo>
                    <a:pt x="12" y="26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4" y="3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9" name="Freeform 249"/>
            <p:cNvSpPr>
              <a:spLocks/>
            </p:cNvSpPr>
            <p:nvPr/>
          </p:nvSpPr>
          <p:spPr bwMode="auto">
            <a:xfrm>
              <a:off x="2392" y="3902"/>
              <a:ext cx="24" cy="26"/>
            </a:xfrm>
            <a:custGeom>
              <a:avLst/>
              <a:gdLst/>
              <a:ahLst/>
              <a:cxnLst>
                <a:cxn ang="0">
                  <a:pos x="22" y="4"/>
                </a:cxn>
                <a:cxn ang="0">
                  <a:pos x="20" y="6"/>
                </a:cxn>
                <a:cxn ang="0">
                  <a:pos x="20" y="8"/>
                </a:cxn>
                <a:cxn ang="0">
                  <a:pos x="22" y="8"/>
                </a:cxn>
                <a:cxn ang="0">
                  <a:pos x="24" y="12"/>
                </a:cxn>
                <a:cxn ang="0">
                  <a:pos x="22" y="12"/>
                </a:cxn>
                <a:cxn ang="0">
                  <a:pos x="20" y="16"/>
                </a:cxn>
                <a:cxn ang="0">
                  <a:pos x="18" y="16"/>
                </a:cxn>
                <a:cxn ang="0">
                  <a:pos x="16" y="16"/>
                </a:cxn>
                <a:cxn ang="0">
                  <a:pos x="16" y="14"/>
                </a:cxn>
                <a:cxn ang="0">
                  <a:pos x="14" y="10"/>
                </a:cxn>
                <a:cxn ang="0">
                  <a:pos x="12" y="10"/>
                </a:cxn>
                <a:cxn ang="0">
                  <a:pos x="12" y="8"/>
                </a:cxn>
                <a:cxn ang="0">
                  <a:pos x="12" y="10"/>
                </a:cxn>
                <a:cxn ang="0">
                  <a:pos x="12" y="14"/>
                </a:cxn>
                <a:cxn ang="0">
                  <a:pos x="14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2"/>
                </a:cxn>
                <a:cxn ang="0">
                  <a:pos x="16" y="26"/>
                </a:cxn>
                <a:cxn ang="0">
                  <a:pos x="14" y="26"/>
                </a:cxn>
                <a:cxn ang="0">
                  <a:pos x="12" y="26"/>
                </a:cxn>
                <a:cxn ang="0">
                  <a:pos x="10" y="24"/>
                </a:cxn>
                <a:cxn ang="0">
                  <a:pos x="12" y="22"/>
                </a:cxn>
                <a:cxn ang="0">
                  <a:pos x="10" y="18"/>
                </a:cxn>
                <a:cxn ang="0">
                  <a:pos x="6" y="16"/>
                </a:cxn>
                <a:cxn ang="0">
                  <a:pos x="2" y="12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8" y="6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20" y="2"/>
                </a:cxn>
                <a:cxn ang="0">
                  <a:pos x="22" y="4"/>
                </a:cxn>
              </a:cxnLst>
              <a:rect l="0" t="0" r="r" b="b"/>
              <a:pathLst>
                <a:path w="24" h="26">
                  <a:moveTo>
                    <a:pt x="22" y="4"/>
                  </a:moveTo>
                  <a:lnTo>
                    <a:pt x="20" y="6"/>
                  </a:lnTo>
                  <a:lnTo>
                    <a:pt x="20" y="8"/>
                  </a:lnTo>
                  <a:lnTo>
                    <a:pt x="22" y="8"/>
                  </a:lnTo>
                  <a:lnTo>
                    <a:pt x="24" y="12"/>
                  </a:lnTo>
                  <a:lnTo>
                    <a:pt x="22" y="12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2" y="14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0" y="24"/>
                  </a:lnTo>
                  <a:lnTo>
                    <a:pt x="12" y="22"/>
                  </a:lnTo>
                  <a:lnTo>
                    <a:pt x="10" y="18"/>
                  </a:lnTo>
                  <a:lnTo>
                    <a:pt x="6" y="16"/>
                  </a:lnTo>
                  <a:lnTo>
                    <a:pt x="2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8" y="6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20" y="2"/>
                  </a:lnTo>
                  <a:lnTo>
                    <a:pt x="22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0" name="Freeform 250"/>
            <p:cNvSpPr>
              <a:spLocks/>
            </p:cNvSpPr>
            <p:nvPr/>
          </p:nvSpPr>
          <p:spPr bwMode="auto">
            <a:xfrm>
              <a:off x="2414" y="3906"/>
              <a:ext cx="24" cy="24"/>
            </a:xfrm>
            <a:custGeom>
              <a:avLst/>
              <a:gdLst/>
              <a:ahLst/>
              <a:cxnLst>
                <a:cxn ang="0">
                  <a:pos x="14" y="4"/>
                </a:cxn>
                <a:cxn ang="0">
                  <a:pos x="16" y="8"/>
                </a:cxn>
                <a:cxn ang="0">
                  <a:pos x="18" y="8"/>
                </a:cxn>
                <a:cxn ang="0">
                  <a:pos x="22" y="6"/>
                </a:cxn>
                <a:cxn ang="0">
                  <a:pos x="24" y="8"/>
                </a:cxn>
                <a:cxn ang="0">
                  <a:pos x="24" y="10"/>
                </a:cxn>
                <a:cxn ang="0">
                  <a:pos x="24" y="14"/>
                </a:cxn>
                <a:cxn ang="0">
                  <a:pos x="24" y="18"/>
                </a:cxn>
                <a:cxn ang="0">
                  <a:pos x="20" y="24"/>
                </a:cxn>
                <a:cxn ang="0">
                  <a:pos x="18" y="22"/>
                </a:cxn>
                <a:cxn ang="0">
                  <a:pos x="16" y="22"/>
                </a:cxn>
                <a:cxn ang="0">
                  <a:pos x="12" y="20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10" y="12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6" y="16"/>
                </a:cxn>
                <a:cxn ang="0">
                  <a:pos x="6" y="18"/>
                </a:cxn>
                <a:cxn ang="0">
                  <a:pos x="2" y="16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2" y="10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14" y="4"/>
                </a:cxn>
              </a:cxnLst>
              <a:rect l="0" t="0" r="r" b="b"/>
              <a:pathLst>
                <a:path w="24" h="24">
                  <a:moveTo>
                    <a:pt x="14" y="4"/>
                  </a:moveTo>
                  <a:lnTo>
                    <a:pt x="16" y="8"/>
                  </a:lnTo>
                  <a:lnTo>
                    <a:pt x="18" y="8"/>
                  </a:lnTo>
                  <a:lnTo>
                    <a:pt x="22" y="6"/>
                  </a:lnTo>
                  <a:lnTo>
                    <a:pt x="24" y="8"/>
                  </a:lnTo>
                  <a:lnTo>
                    <a:pt x="24" y="10"/>
                  </a:lnTo>
                  <a:lnTo>
                    <a:pt x="24" y="14"/>
                  </a:lnTo>
                  <a:lnTo>
                    <a:pt x="24" y="18"/>
                  </a:lnTo>
                  <a:lnTo>
                    <a:pt x="20" y="24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2" y="20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6" y="12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2" y="10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10" y="2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1" name="Freeform 251"/>
            <p:cNvSpPr>
              <a:spLocks/>
            </p:cNvSpPr>
            <p:nvPr/>
          </p:nvSpPr>
          <p:spPr bwMode="auto">
            <a:xfrm>
              <a:off x="2348" y="3910"/>
              <a:ext cx="12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4" y="6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0" y="6"/>
                </a:cxn>
                <a:cxn ang="0">
                  <a:pos x="6" y="6"/>
                </a:cxn>
              </a:cxnLst>
              <a:rect l="0" t="0" r="r" b="b"/>
              <a:pathLst>
                <a:path w="12" h="6">
                  <a:moveTo>
                    <a:pt x="6" y="6"/>
                  </a:moveTo>
                  <a:lnTo>
                    <a:pt x="4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2" name="Freeform 252"/>
            <p:cNvSpPr>
              <a:spLocks/>
            </p:cNvSpPr>
            <p:nvPr/>
          </p:nvSpPr>
          <p:spPr bwMode="auto">
            <a:xfrm>
              <a:off x="2458" y="3912"/>
              <a:ext cx="8" cy="6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6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3" name="Freeform 253"/>
            <p:cNvSpPr>
              <a:spLocks/>
            </p:cNvSpPr>
            <p:nvPr/>
          </p:nvSpPr>
          <p:spPr bwMode="auto">
            <a:xfrm>
              <a:off x="2384" y="3912"/>
              <a:ext cx="10" cy="12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10" y="4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6" y="12"/>
                </a:cxn>
                <a:cxn ang="0">
                  <a:pos x="2" y="12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4" y="2"/>
                </a:cxn>
                <a:cxn ang="0">
                  <a:pos x="6" y="0"/>
                </a:cxn>
                <a:cxn ang="0">
                  <a:pos x="6" y="2"/>
                </a:cxn>
              </a:cxnLst>
              <a:rect l="0" t="0" r="r" b="b"/>
              <a:pathLst>
                <a:path w="10" h="12">
                  <a:moveTo>
                    <a:pt x="6" y="2"/>
                  </a:moveTo>
                  <a:lnTo>
                    <a:pt x="10" y="4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4" name="Freeform 254"/>
            <p:cNvSpPr>
              <a:spLocks/>
            </p:cNvSpPr>
            <p:nvPr/>
          </p:nvSpPr>
          <p:spPr bwMode="auto">
            <a:xfrm>
              <a:off x="2456" y="3918"/>
              <a:ext cx="12" cy="8"/>
            </a:xfrm>
            <a:custGeom>
              <a:avLst/>
              <a:gdLst/>
              <a:ahLst/>
              <a:cxnLst>
                <a:cxn ang="0">
                  <a:pos x="10" y="8"/>
                </a:cxn>
                <a:cxn ang="0">
                  <a:pos x="8" y="8"/>
                </a:cxn>
                <a:cxn ang="0">
                  <a:pos x="2" y="6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2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0" y="8"/>
                </a:cxn>
              </a:cxnLst>
              <a:rect l="0" t="0" r="r" b="b"/>
              <a:pathLst>
                <a:path w="12" h="8">
                  <a:moveTo>
                    <a:pt x="10" y="8"/>
                  </a:moveTo>
                  <a:lnTo>
                    <a:pt x="8" y="8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2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5" name="Freeform 255"/>
            <p:cNvSpPr>
              <a:spLocks/>
            </p:cNvSpPr>
            <p:nvPr/>
          </p:nvSpPr>
          <p:spPr bwMode="auto">
            <a:xfrm>
              <a:off x="2382" y="3926"/>
              <a:ext cx="8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6" y="4"/>
                </a:cxn>
                <a:cxn ang="0">
                  <a:pos x="2" y="6"/>
                </a:cxn>
              </a:cxnLst>
              <a:rect l="0" t="0" r="r" b="b"/>
              <a:pathLst>
                <a:path w="8" h="6">
                  <a:moveTo>
                    <a:pt x="2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8" y="2"/>
                  </a:lnTo>
                  <a:lnTo>
                    <a:pt x="6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6" name="Freeform 256"/>
            <p:cNvSpPr>
              <a:spLocks/>
            </p:cNvSpPr>
            <p:nvPr/>
          </p:nvSpPr>
          <p:spPr bwMode="auto">
            <a:xfrm>
              <a:off x="2422" y="3954"/>
              <a:ext cx="18" cy="8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0" y="6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2" y="2"/>
                </a:cxn>
                <a:cxn ang="0">
                  <a:pos x="14" y="4"/>
                </a:cxn>
                <a:cxn ang="0">
                  <a:pos x="16" y="2"/>
                </a:cxn>
                <a:cxn ang="0">
                  <a:pos x="18" y="4"/>
                </a:cxn>
                <a:cxn ang="0">
                  <a:pos x="18" y="6"/>
                </a:cxn>
                <a:cxn ang="0">
                  <a:pos x="16" y="6"/>
                </a:cxn>
                <a:cxn ang="0">
                  <a:pos x="14" y="8"/>
                </a:cxn>
              </a:cxnLst>
              <a:rect l="0" t="0" r="r" b="b"/>
              <a:pathLst>
                <a:path w="18" h="8">
                  <a:moveTo>
                    <a:pt x="14" y="8"/>
                  </a:moveTo>
                  <a:lnTo>
                    <a:pt x="10" y="6"/>
                  </a:lnTo>
                  <a:lnTo>
                    <a:pt x="8" y="4"/>
                  </a:lnTo>
                  <a:lnTo>
                    <a:pt x="4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2"/>
                  </a:lnTo>
                  <a:lnTo>
                    <a:pt x="12" y="2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7" name="Freeform 257"/>
            <p:cNvSpPr>
              <a:spLocks/>
            </p:cNvSpPr>
            <p:nvPr/>
          </p:nvSpPr>
          <p:spPr bwMode="auto">
            <a:xfrm>
              <a:off x="2448" y="3954"/>
              <a:ext cx="12" cy="4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12" y="4"/>
                </a:cxn>
                <a:cxn ang="0">
                  <a:pos x="10" y="4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10" y="2"/>
                </a:cxn>
              </a:cxnLst>
              <a:rect l="0" t="0" r="r" b="b"/>
              <a:pathLst>
                <a:path w="12" h="4">
                  <a:moveTo>
                    <a:pt x="10" y="2"/>
                  </a:moveTo>
                  <a:lnTo>
                    <a:pt x="12" y="4"/>
                  </a:lnTo>
                  <a:lnTo>
                    <a:pt x="10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8" name="Freeform 258"/>
            <p:cNvSpPr>
              <a:spLocks/>
            </p:cNvSpPr>
            <p:nvPr/>
          </p:nvSpPr>
          <p:spPr bwMode="auto">
            <a:xfrm>
              <a:off x="2476" y="3958"/>
              <a:ext cx="28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20" y="2"/>
                </a:cxn>
                <a:cxn ang="0">
                  <a:pos x="22" y="2"/>
                </a:cxn>
                <a:cxn ang="0">
                  <a:pos x="28" y="4"/>
                </a:cxn>
                <a:cxn ang="0">
                  <a:pos x="28" y="6"/>
                </a:cxn>
                <a:cxn ang="0">
                  <a:pos x="26" y="6"/>
                </a:cxn>
                <a:cxn ang="0">
                  <a:pos x="20" y="6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6" y="8"/>
                </a:cxn>
                <a:cxn ang="0">
                  <a:pos x="2" y="8"/>
                </a:cxn>
              </a:cxnLst>
              <a:rect l="0" t="0" r="r" b="b"/>
              <a:pathLst>
                <a:path w="28" h="8">
                  <a:moveTo>
                    <a:pt x="2" y="8"/>
                  </a:move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20" y="6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6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9" name="Freeform 259"/>
            <p:cNvSpPr>
              <a:spLocks/>
            </p:cNvSpPr>
            <p:nvPr/>
          </p:nvSpPr>
          <p:spPr bwMode="auto">
            <a:xfrm>
              <a:off x="2438" y="3958"/>
              <a:ext cx="26" cy="18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2"/>
                </a:cxn>
                <a:cxn ang="0">
                  <a:pos x="20" y="4"/>
                </a:cxn>
                <a:cxn ang="0">
                  <a:pos x="18" y="4"/>
                </a:cxn>
                <a:cxn ang="0">
                  <a:pos x="18" y="6"/>
                </a:cxn>
                <a:cxn ang="0">
                  <a:pos x="14" y="6"/>
                </a:cxn>
                <a:cxn ang="0">
                  <a:pos x="12" y="6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12" y="8"/>
                </a:cxn>
                <a:cxn ang="0">
                  <a:pos x="18" y="8"/>
                </a:cxn>
                <a:cxn ang="0">
                  <a:pos x="22" y="8"/>
                </a:cxn>
                <a:cxn ang="0">
                  <a:pos x="24" y="8"/>
                </a:cxn>
                <a:cxn ang="0">
                  <a:pos x="26" y="8"/>
                </a:cxn>
                <a:cxn ang="0">
                  <a:pos x="26" y="12"/>
                </a:cxn>
                <a:cxn ang="0">
                  <a:pos x="26" y="14"/>
                </a:cxn>
                <a:cxn ang="0">
                  <a:pos x="24" y="14"/>
                </a:cxn>
                <a:cxn ang="0">
                  <a:pos x="24" y="12"/>
                </a:cxn>
                <a:cxn ang="0">
                  <a:pos x="22" y="10"/>
                </a:cxn>
                <a:cxn ang="0">
                  <a:pos x="20" y="10"/>
                </a:cxn>
                <a:cxn ang="0">
                  <a:pos x="20" y="12"/>
                </a:cxn>
                <a:cxn ang="0">
                  <a:pos x="20" y="14"/>
                </a:cxn>
                <a:cxn ang="0">
                  <a:pos x="22" y="14"/>
                </a:cxn>
                <a:cxn ang="0">
                  <a:pos x="22" y="16"/>
                </a:cxn>
                <a:cxn ang="0">
                  <a:pos x="18" y="18"/>
                </a:cxn>
                <a:cxn ang="0">
                  <a:pos x="16" y="18"/>
                </a:cxn>
                <a:cxn ang="0">
                  <a:pos x="16" y="16"/>
                </a:cxn>
                <a:cxn ang="0">
                  <a:pos x="16" y="14"/>
                </a:cxn>
                <a:cxn ang="0">
                  <a:pos x="16" y="12"/>
                </a:cxn>
                <a:cxn ang="0">
                  <a:pos x="14" y="10"/>
                </a:cxn>
                <a:cxn ang="0">
                  <a:pos x="10" y="12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2"/>
                </a:cxn>
                <a:cxn ang="0">
                  <a:pos x="8" y="4"/>
                </a:cxn>
                <a:cxn ang="0">
                  <a:pos x="10" y="4"/>
                </a:cxn>
                <a:cxn ang="0">
                  <a:pos x="16" y="4"/>
                </a:cxn>
                <a:cxn ang="0">
                  <a:pos x="14" y="4"/>
                </a:cxn>
                <a:cxn ang="0">
                  <a:pos x="18" y="2"/>
                </a:cxn>
                <a:cxn ang="0">
                  <a:pos x="20" y="2"/>
                </a:cxn>
                <a:cxn ang="0">
                  <a:pos x="24" y="0"/>
                </a:cxn>
              </a:cxnLst>
              <a:rect l="0" t="0" r="r" b="b"/>
              <a:pathLst>
                <a:path w="26" h="18">
                  <a:moveTo>
                    <a:pt x="24" y="0"/>
                  </a:moveTo>
                  <a:lnTo>
                    <a:pt x="24" y="2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2" y="8"/>
                  </a:lnTo>
                  <a:lnTo>
                    <a:pt x="18" y="8"/>
                  </a:lnTo>
                  <a:lnTo>
                    <a:pt x="22" y="8"/>
                  </a:lnTo>
                  <a:lnTo>
                    <a:pt x="24" y="8"/>
                  </a:lnTo>
                  <a:lnTo>
                    <a:pt x="26" y="8"/>
                  </a:lnTo>
                  <a:lnTo>
                    <a:pt x="26" y="12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4" y="12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20" y="12"/>
                  </a:lnTo>
                  <a:lnTo>
                    <a:pt x="20" y="14"/>
                  </a:lnTo>
                  <a:lnTo>
                    <a:pt x="22" y="14"/>
                  </a:lnTo>
                  <a:lnTo>
                    <a:pt x="22" y="16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4" y="10"/>
                  </a:lnTo>
                  <a:lnTo>
                    <a:pt x="10" y="12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2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0" name="Freeform 260"/>
            <p:cNvSpPr>
              <a:spLocks/>
            </p:cNvSpPr>
            <p:nvPr/>
          </p:nvSpPr>
          <p:spPr bwMode="auto">
            <a:xfrm>
              <a:off x="2534" y="3960"/>
              <a:ext cx="48" cy="24"/>
            </a:xfrm>
            <a:custGeom>
              <a:avLst/>
              <a:gdLst/>
              <a:ahLst/>
              <a:cxnLst>
                <a:cxn ang="0">
                  <a:pos x="10" y="18"/>
                </a:cxn>
                <a:cxn ang="0">
                  <a:pos x="8" y="18"/>
                </a:cxn>
                <a:cxn ang="0">
                  <a:pos x="6" y="10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8" y="2"/>
                </a:cxn>
                <a:cxn ang="0">
                  <a:pos x="22" y="2"/>
                </a:cxn>
                <a:cxn ang="0">
                  <a:pos x="26" y="2"/>
                </a:cxn>
                <a:cxn ang="0">
                  <a:pos x="28" y="2"/>
                </a:cxn>
                <a:cxn ang="0">
                  <a:pos x="30" y="2"/>
                </a:cxn>
                <a:cxn ang="0">
                  <a:pos x="34" y="2"/>
                </a:cxn>
                <a:cxn ang="0">
                  <a:pos x="36" y="2"/>
                </a:cxn>
                <a:cxn ang="0">
                  <a:pos x="38" y="4"/>
                </a:cxn>
                <a:cxn ang="0">
                  <a:pos x="40" y="4"/>
                </a:cxn>
                <a:cxn ang="0">
                  <a:pos x="42" y="4"/>
                </a:cxn>
                <a:cxn ang="0">
                  <a:pos x="42" y="6"/>
                </a:cxn>
                <a:cxn ang="0">
                  <a:pos x="44" y="6"/>
                </a:cxn>
                <a:cxn ang="0">
                  <a:pos x="48" y="10"/>
                </a:cxn>
                <a:cxn ang="0">
                  <a:pos x="48" y="14"/>
                </a:cxn>
                <a:cxn ang="0">
                  <a:pos x="46" y="14"/>
                </a:cxn>
                <a:cxn ang="0">
                  <a:pos x="46" y="16"/>
                </a:cxn>
                <a:cxn ang="0">
                  <a:pos x="46" y="18"/>
                </a:cxn>
                <a:cxn ang="0">
                  <a:pos x="40" y="24"/>
                </a:cxn>
                <a:cxn ang="0">
                  <a:pos x="38" y="24"/>
                </a:cxn>
                <a:cxn ang="0">
                  <a:pos x="34" y="22"/>
                </a:cxn>
                <a:cxn ang="0">
                  <a:pos x="32" y="22"/>
                </a:cxn>
                <a:cxn ang="0">
                  <a:pos x="32" y="20"/>
                </a:cxn>
                <a:cxn ang="0">
                  <a:pos x="34" y="20"/>
                </a:cxn>
                <a:cxn ang="0">
                  <a:pos x="34" y="18"/>
                </a:cxn>
                <a:cxn ang="0">
                  <a:pos x="32" y="16"/>
                </a:cxn>
                <a:cxn ang="0">
                  <a:pos x="30" y="16"/>
                </a:cxn>
                <a:cxn ang="0">
                  <a:pos x="28" y="16"/>
                </a:cxn>
                <a:cxn ang="0">
                  <a:pos x="26" y="16"/>
                </a:cxn>
                <a:cxn ang="0">
                  <a:pos x="26" y="18"/>
                </a:cxn>
                <a:cxn ang="0">
                  <a:pos x="26" y="20"/>
                </a:cxn>
                <a:cxn ang="0">
                  <a:pos x="24" y="22"/>
                </a:cxn>
                <a:cxn ang="0">
                  <a:pos x="20" y="20"/>
                </a:cxn>
                <a:cxn ang="0">
                  <a:pos x="18" y="20"/>
                </a:cxn>
                <a:cxn ang="0">
                  <a:pos x="16" y="20"/>
                </a:cxn>
                <a:cxn ang="0">
                  <a:pos x="16" y="18"/>
                </a:cxn>
                <a:cxn ang="0">
                  <a:pos x="18" y="18"/>
                </a:cxn>
                <a:cxn ang="0">
                  <a:pos x="16" y="16"/>
                </a:cxn>
                <a:cxn ang="0">
                  <a:pos x="12" y="18"/>
                </a:cxn>
                <a:cxn ang="0">
                  <a:pos x="10" y="18"/>
                </a:cxn>
              </a:cxnLst>
              <a:rect l="0" t="0" r="r" b="b"/>
              <a:pathLst>
                <a:path w="48" h="24">
                  <a:moveTo>
                    <a:pt x="10" y="18"/>
                  </a:moveTo>
                  <a:lnTo>
                    <a:pt x="8" y="18"/>
                  </a:lnTo>
                  <a:lnTo>
                    <a:pt x="6" y="10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6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8" y="2"/>
                  </a:lnTo>
                  <a:lnTo>
                    <a:pt x="22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8" y="10"/>
                  </a:lnTo>
                  <a:lnTo>
                    <a:pt x="48" y="14"/>
                  </a:lnTo>
                  <a:lnTo>
                    <a:pt x="46" y="14"/>
                  </a:lnTo>
                  <a:lnTo>
                    <a:pt x="46" y="16"/>
                  </a:lnTo>
                  <a:lnTo>
                    <a:pt x="46" y="18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2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2" y="16"/>
                  </a:lnTo>
                  <a:lnTo>
                    <a:pt x="30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6" y="16"/>
                  </a:lnTo>
                  <a:lnTo>
                    <a:pt x="12" y="18"/>
                  </a:lnTo>
                  <a:lnTo>
                    <a:pt x="10" y="1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1" name="Freeform 261"/>
            <p:cNvSpPr>
              <a:spLocks/>
            </p:cNvSpPr>
            <p:nvPr/>
          </p:nvSpPr>
          <p:spPr bwMode="auto">
            <a:xfrm>
              <a:off x="2468" y="3960"/>
              <a:ext cx="8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6" y="4"/>
                </a:cxn>
                <a:cxn ang="0">
                  <a:pos x="2" y="4"/>
                </a:cxn>
                <a:cxn ang="0">
                  <a:pos x="0" y="6"/>
                </a:cxn>
              </a:cxnLst>
              <a:rect l="0" t="0" r="r" b="b"/>
              <a:pathLst>
                <a:path w="8" h="6">
                  <a:moveTo>
                    <a:pt x="0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6" y="4"/>
                  </a:lnTo>
                  <a:lnTo>
                    <a:pt x="2" y="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2" name="Freeform 262"/>
            <p:cNvSpPr>
              <a:spLocks/>
            </p:cNvSpPr>
            <p:nvPr/>
          </p:nvSpPr>
          <p:spPr bwMode="auto">
            <a:xfrm>
              <a:off x="2474" y="3962"/>
              <a:ext cx="72" cy="42"/>
            </a:xfrm>
            <a:custGeom>
              <a:avLst/>
              <a:gdLst/>
              <a:ahLst/>
              <a:cxnLst>
                <a:cxn ang="0">
                  <a:pos x="70" y="36"/>
                </a:cxn>
                <a:cxn ang="0">
                  <a:pos x="70" y="42"/>
                </a:cxn>
                <a:cxn ang="0">
                  <a:pos x="66" y="40"/>
                </a:cxn>
                <a:cxn ang="0">
                  <a:pos x="62" y="32"/>
                </a:cxn>
                <a:cxn ang="0">
                  <a:pos x="54" y="30"/>
                </a:cxn>
                <a:cxn ang="0">
                  <a:pos x="46" y="28"/>
                </a:cxn>
                <a:cxn ang="0">
                  <a:pos x="40" y="30"/>
                </a:cxn>
                <a:cxn ang="0">
                  <a:pos x="38" y="26"/>
                </a:cxn>
                <a:cxn ang="0">
                  <a:pos x="42" y="24"/>
                </a:cxn>
                <a:cxn ang="0">
                  <a:pos x="40" y="22"/>
                </a:cxn>
                <a:cxn ang="0">
                  <a:pos x="40" y="16"/>
                </a:cxn>
                <a:cxn ang="0">
                  <a:pos x="36" y="18"/>
                </a:cxn>
                <a:cxn ang="0">
                  <a:pos x="28" y="10"/>
                </a:cxn>
                <a:cxn ang="0">
                  <a:pos x="20" y="12"/>
                </a:cxn>
                <a:cxn ang="0">
                  <a:pos x="26" y="16"/>
                </a:cxn>
                <a:cxn ang="0">
                  <a:pos x="24" y="22"/>
                </a:cxn>
                <a:cxn ang="0">
                  <a:pos x="30" y="26"/>
                </a:cxn>
                <a:cxn ang="0">
                  <a:pos x="20" y="30"/>
                </a:cxn>
                <a:cxn ang="0">
                  <a:pos x="22" y="22"/>
                </a:cxn>
                <a:cxn ang="0">
                  <a:pos x="16" y="22"/>
                </a:cxn>
                <a:cxn ang="0">
                  <a:pos x="10" y="18"/>
                </a:cxn>
                <a:cxn ang="0">
                  <a:pos x="18" y="14"/>
                </a:cxn>
                <a:cxn ang="0">
                  <a:pos x="16" y="14"/>
                </a:cxn>
                <a:cxn ang="0">
                  <a:pos x="4" y="16"/>
                </a:cxn>
                <a:cxn ang="0">
                  <a:pos x="6" y="14"/>
                </a:cxn>
                <a:cxn ang="0">
                  <a:pos x="0" y="10"/>
                </a:cxn>
                <a:cxn ang="0">
                  <a:pos x="8" y="6"/>
                </a:cxn>
                <a:cxn ang="0">
                  <a:pos x="24" y="4"/>
                </a:cxn>
                <a:cxn ang="0">
                  <a:pos x="42" y="2"/>
                </a:cxn>
                <a:cxn ang="0">
                  <a:pos x="46" y="0"/>
                </a:cxn>
                <a:cxn ang="0">
                  <a:pos x="58" y="2"/>
                </a:cxn>
                <a:cxn ang="0">
                  <a:pos x="60" y="8"/>
                </a:cxn>
                <a:cxn ang="0">
                  <a:pos x="50" y="12"/>
                </a:cxn>
                <a:cxn ang="0">
                  <a:pos x="42" y="8"/>
                </a:cxn>
                <a:cxn ang="0">
                  <a:pos x="36" y="4"/>
                </a:cxn>
                <a:cxn ang="0">
                  <a:pos x="40" y="10"/>
                </a:cxn>
                <a:cxn ang="0">
                  <a:pos x="56" y="14"/>
                </a:cxn>
                <a:cxn ang="0">
                  <a:pos x="64" y="18"/>
                </a:cxn>
                <a:cxn ang="0">
                  <a:pos x="52" y="20"/>
                </a:cxn>
                <a:cxn ang="0">
                  <a:pos x="46" y="18"/>
                </a:cxn>
                <a:cxn ang="0">
                  <a:pos x="54" y="22"/>
                </a:cxn>
                <a:cxn ang="0">
                  <a:pos x="66" y="24"/>
                </a:cxn>
                <a:cxn ang="0">
                  <a:pos x="68" y="30"/>
                </a:cxn>
              </a:cxnLst>
              <a:rect l="0" t="0" r="r" b="b"/>
              <a:pathLst>
                <a:path w="72" h="42">
                  <a:moveTo>
                    <a:pt x="70" y="30"/>
                  </a:moveTo>
                  <a:lnTo>
                    <a:pt x="68" y="32"/>
                  </a:lnTo>
                  <a:lnTo>
                    <a:pt x="70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0" y="42"/>
                  </a:lnTo>
                  <a:lnTo>
                    <a:pt x="68" y="42"/>
                  </a:lnTo>
                  <a:lnTo>
                    <a:pt x="66" y="42"/>
                  </a:lnTo>
                  <a:lnTo>
                    <a:pt x="66" y="40"/>
                  </a:lnTo>
                  <a:lnTo>
                    <a:pt x="64" y="38"/>
                  </a:lnTo>
                  <a:lnTo>
                    <a:pt x="62" y="34"/>
                  </a:lnTo>
                  <a:lnTo>
                    <a:pt x="62" y="32"/>
                  </a:lnTo>
                  <a:lnTo>
                    <a:pt x="58" y="30"/>
                  </a:lnTo>
                  <a:lnTo>
                    <a:pt x="56" y="30"/>
                  </a:lnTo>
                  <a:lnTo>
                    <a:pt x="54" y="30"/>
                  </a:lnTo>
                  <a:lnTo>
                    <a:pt x="52" y="28"/>
                  </a:lnTo>
                  <a:lnTo>
                    <a:pt x="50" y="28"/>
                  </a:lnTo>
                  <a:lnTo>
                    <a:pt x="46" y="28"/>
                  </a:lnTo>
                  <a:lnTo>
                    <a:pt x="44" y="30"/>
                  </a:lnTo>
                  <a:lnTo>
                    <a:pt x="42" y="30"/>
                  </a:lnTo>
                  <a:lnTo>
                    <a:pt x="40" y="30"/>
                  </a:lnTo>
                  <a:lnTo>
                    <a:pt x="38" y="30"/>
                  </a:lnTo>
                  <a:lnTo>
                    <a:pt x="38" y="28"/>
                  </a:lnTo>
                  <a:lnTo>
                    <a:pt x="38" y="26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0" y="22"/>
                  </a:lnTo>
                  <a:lnTo>
                    <a:pt x="38" y="22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38" y="18"/>
                  </a:lnTo>
                  <a:lnTo>
                    <a:pt x="36" y="18"/>
                  </a:lnTo>
                  <a:lnTo>
                    <a:pt x="30" y="16"/>
                  </a:lnTo>
                  <a:lnTo>
                    <a:pt x="28" y="14"/>
                  </a:lnTo>
                  <a:lnTo>
                    <a:pt x="28" y="10"/>
                  </a:lnTo>
                  <a:lnTo>
                    <a:pt x="22" y="10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22" y="12"/>
                  </a:lnTo>
                  <a:lnTo>
                    <a:pt x="26" y="12"/>
                  </a:lnTo>
                  <a:lnTo>
                    <a:pt x="26" y="16"/>
                  </a:lnTo>
                  <a:lnTo>
                    <a:pt x="22" y="16"/>
                  </a:lnTo>
                  <a:lnTo>
                    <a:pt x="22" y="18"/>
                  </a:lnTo>
                  <a:lnTo>
                    <a:pt x="24" y="22"/>
                  </a:lnTo>
                  <a:lnTo>
                    <a:pt x="24" y="26"/>
                  </a:lnTo>
                  <a:lnTo>
                    <a:pt x="28" y="26"/>
                  </a:lnTo>
                  <a:lnTo>
                    <a:pt x="30" y="26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20" y="30"/>
                  </a:lnTo>
                  <a:lnTo>
                    <a:pt x="18" y="24"/>
                  </a:lnTo>
                  <a:lnTo>
                    <a:pt x="20" y="22"/>
                  </a:lnTo>
                  <a:lnTo>
                    <a:pt x="22" y="22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4" y="22"/>
                  </a:lnTo>
                  <a:lnTo>
                    <a:pt x="10" y="20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18" y="12"/>
                  </a:lnTo>
                  <a:lnTo>
                    <a:pt x="16" y="12"/>
                  </a:lnTo>
                  <a:lnTo>
                    <a:pt x="16" y="14"/>
                  </a:lnTo>
                  <a:lnTo>
                    <a:pt x="12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6"/>
                  </a:lnTo>
                  <a:lnTo>
                    <a:pt x="4" y="6"/>
                  </a:lnTo>
                  <a:lnTo>
                    <a:pt x="8" y="6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24" y="4"/>
                  </a:lnTo>
                  <a:lnTo>
                    <a:pt x="30" y="2"/>
                  </a:lnTo>
                  <a:lnTo>
                    <a:pt x="38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50" y="0"/>
                  </a:lnTo>
                  <a:lnTo>
                    <a:pt x="56" y="0"/>
                  </a:lnTo>
                  <a:lnTo>
                    <a:pt x="58" y="2"/>
                  </a:lnTo>
                  <a:lnTo>
                    <a:pt x="60" y="4"/>
                  </a:lnTo>
                  <a:lnTo>
                    <a:pt x="60" y="6"/>
                  </a:lnTo>
                  <a:lnTo>
                    <a:pt x="60" y="8"/>
                  </a:lnTo>
                  <a:lnTo>
                    <a:pt x="52" y="10"/>
                  </a:lnTo>
                  <a:lnTo>
                    <a:pt x="52" y="12"/>
                  </a:lnTo>
                  <a:lnTo>
                    <a:pt x="50" y="12"/>
                  </a:lnTo>
                  <a:lnTo>
                    <a:pt x="44" y="10"/>
                  </a:lnTo>
                  <a:lnTo>
                    <a:pt x="42" y="10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36" y="4"/>
                  </a:lnTo>
                  <a:lnTo>
                    <a:pt x="34" y="6"/>
                  </a:lnTo>
                  <a:lnTo>
                    <a:pt x="38" y="8"/>
                  </a:lnTo>
                  <a:lnTo>
                    <a:pt x="40" y="10"/>
                  </a:lnTo>
                  <a:lnTo>
                    <a:pt x="44" y="12"/>
                  </a:lnTo>
                  <a:lnTo>
                    <a:pt x="52" y="14"/>
                  </a:lnTo>
                  <a:lnTo>
                    <a:pt x="56" y="14"/>
                  </a:lnTo>
                  <a:lnTo>
                    <a:pt x="58" y="14"/>
                  </a:lnTo>
                  <a:lnTo>
                    <a:pt x="62" y="16"/>
                  </a:lnTo>
                  <a:lnTo>
                    <a:pt x="64" y="18"/>
                  </a:lnTo>
                  <a:lnTo>
                    <a:pt x="64" y="20"/>
                  </a:lnTo>
                  <a:lnTo>
                    <a:pt x="54" y="20"/>
                  </a:lnTo>
                  <a:lnTo>
                    <a:pt x="52" y="20"/>
                  </a:lnTo>
                  <a:lnTo>
                    <a:pt x="50" y="20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50" y="22"/>
                  </a:lnTo>
                  <a:lnTo>
                    <a:pt x="52" y="22"/>
                  </a:lnTo>
                  <a:lnTo>
                    <a:pt x="54" y="22"/>
                  </a:lnTo>
                  <a:lnTo>
                    <a:pt x="56" y="22"/>
                  </a:lnTo>
                  <a:lnTo>
                    <a:pt x="60" y="22"/>
                  </a:lnTo>
                  <a:lnTo>
                    <a:pt x="66" y="24"/>
                  </a:lnTo>
                  <a:lnTo>
                    <a:pt x="66" y="26"/>
                  </a:lnTo>
                  <a:lnTo>
                    <a:pt x="66" y="28"/>
                  </a:lnTo>
                  <a:lnTo>
                    <a:pt x="68" y="30"/>
                  </a:lnTo>
                  <a:lnTo>
                    <a:pt x="70" y="3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3" name="Freeform 263"/>
            <p:cNvSpPr>
              <a:spLocks/>
            </p:cNvSpPr>
            <p:nvPr/>
          </p:nvSpPr>
          <p:spPr bwMode="auto">
            <a:xfrm>
              <a:off x="2580" y="3980"/>
              <a:ext cx="8" cy="4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6" y="0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lnTo>
                    <a:pt x="8" y="0"/>
                  </a:lnTo>
                  <a:lnTo>
                    <a:pt x="8" y="4"/>
                  </a:lnTo>
                  <a:lnTo>
                    <a:pt x="6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4" name="Freeform 264"/>
            <p:cNvSpPr>
              <a:spLocks/>
            </p:cNvSpPr>
            <p:nvPr/>
          </p:nvSpPr>
          <p:spPr bwMode="auto">
            <a:xfrm>
              <a:off x="2554" y="3992"/>
              <a:ext cx="6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8"/>
                </a:cxn>
              </a:cxnLst>
              <a:rect l="0" t="0" r="r" b="b"/>
              <a:pathLst>
                <a:path w="6" h="8">
                  <a:moveTo>
                    <a:pt x="0" y="8"/>
                  </a:moveTo>
                  <a:lnTo>
                    <a:pt x="2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5" name="Freeform 265"/>
            <p:cNvSpPr>
              <a:spLocks/>
            </p:cNvSpPr>
            <p:nvPr/>
          </p:nvSpPr>
          <p:spPr bwMode="auto">
            <a:xfrm>
              <a:off x="2560" y="3998"/>
              <a:ext cx="12" cy="12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0"/>
                </a:cxn>
                <a:cxn ang="0">
                  <a:pos x="6" y="8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0" y="8"/>
                </a:cxn>
                <a:cxn ang="0">
                  <a:pos x="12" y="10"/>
                </a:cxn>
                <a:cxn ang="0">
                  <a:pos x="10" y="10"/>
                </a:cxn>
                <a:cxn ang="0">
                  <a:pos x="10" y="12"/>
                </a:cxn>
                <a:cxn ang="0">
                  <a:pos x="8" y="12"/>
                </a:cxn>
              </a:cxnLst>
              <a:rect l="0" t="0" r="r" b="b"/>
              <a:pathLst>
                <a:path w="12" h="12">
                  <a:moveTo>
                    <a:pt x="8" y="12"/>
                  </a:moveTo>
                  <a:lnTo>
                    <a:pt x="8" y="10"/>
                  </a:lnTo>
                  <a:lnTo>
                    <a:pt x="6" y="8"/>
                  </a:lnTo>
                  <a:lnTo>
                    <a:pt x="4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8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6" name="Freeform 266"/>
            <p:cNvSpPr>
              <a:spLocks/>
            </p:cNvSpPr>
            <p:nvPr/>
          </p:nvSpPr>
          <p:spPr bwMode="auto">
            <a:xfrm>
              <a:off x="2550" y="4010"/>
              <a:ext cx="12" cy="6"/>
            </a:xfrm>
            <a:custGeom>
              <a:avLst/>
              <a:gdLst/>
              <a:ahLst/>
              <a:cxnLst>
                <a:cxn ang="0">
                  <a:pos x="8" y="6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12" y="2"/>
                </a:cxn>
                <a:cxn ang="0">
                  <a:pos x="12" y="4"/>
                </a:cxn>
                <a:cxn ang="0">
                  <a:pos x="10" y="4"/>
                </a:cxn>
                <a:cxn ang="0">
                  <a:pos x="8" y="4"/>
                </a:cxn>
                <a:cxn ang="0">
                  <a:pos x="8" y="6"/>
                </a:cxn>
              </a:cxnLst>
              <a:rect l="0" t="0" r="r" b="b"/>
              <a:pathLst>
                <a:path w="12" h="6">
                  <a:moveTo>
                    <a:pt x="8" y="6"/>
                  </a:moveTo>
                  <a:lnTo>
                    <a:pt x="8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7" name="Freeform 267"/>
            <p:cNvSpPr>
              <a:spLocks/>
            </p:cNvSpPr>
            <p:nvPr/>
          </p:nvSpPr>
          <p:spPr bwMode="auto">
            <a:xfrm>
              <a:off x="2566" y="4010"/>
              <a:ext cx="6" cy="6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6"/>
                </a:cxn>
              </a:cxnLst>
              <a:rect l="0" t="0" r="r" b="b"/>
              <a:pathLst>
                <a:path w="6" h="6">
                  <a:moveTo>
                    <a:pt x="4" y="6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10" name="Group 268"/>
          <p:cNvGrpSpPr>
            <a:grpSpLocks/>
          </p:cNvGrpSpPr>
          <p:nvPr/>
        </p:nvGrpSpPr>
        <p:grpSpPr bwMode="auto">
          <a:xfrm>
            <a:off x="3640765" y="1275192"/>
            <a:ext cx="881062" cy="796925"/>
            <a:chOff x="2336" y="326"/>
            <a:chExt cx="730" cy="624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59" name="Freeform 269"/>
            <p:cNvSpPr>
              <a:spLocks/>
            </p:cNvSpPr>
            <p:nvPr/>
          </p:nvSpPr>
          <p:spPr bwMode="auto">
            <a:xfrm>
              <a:off x="2336" y="326"/>
              <a:ext cx="730" cy="624"/>
            </a:xfrm>
            <a:custGeom>
              <a:avLst/>
              <a:gdLst/>
              <a:ahLst/>
              <a:cxnLst>
                <a:cxn ang="0">
                  <a:pos x="688" y="262"/>
                </a:cxn>
                <a:cxn ang="0">
                  <a:pos x="690" y="286"/>
                </a:cxn>
                <a:cxn ang="0">
                  <a:pos x="660" y="316"/>
                </a:cxn>
                <a:cxn ang="0">
                  <a:pos x="688" y="380"/>
                </a:cxn>
                <a:cxn ang="0">
                  <a:pos x="660" y="416"/>
                </a:cxn>
                <a:cxn ang="0">
                  <a:pos x="618" y="434"/>
                </a:cxn>
                <a:cxn ang="0">
                  <a:pos x="576" y="440"/>
                </a:cxn>
                <a:cxn ang="0">
                  <a:pos x="546" y="446"/>
                </a:cxn>
                <a:cxn ang="0">
                  <a:pos x="510" y="448"/>
                </a:cxn>
                <a:cxn ang="0">
                  <a:pos x="478" y="436"/>
                </a:cxn>
                <a:cxn ang="0">
                  <a:pos x="474" y="444"/>
                </a:cxn>
                <a:cxn ang="0">
                  <a:pos x="506" y="506"/>
                </a:cxn>
                <a:cxn ang="0">
                  <a:pos x="532" y="544"/>
                </a:cxn>
                <a:cxn ang="0">
                  <a:pos x="494" y="580"/>
                </a:cxn>
                <a:cxn ang="0">
                  <a:pos x="446" y="604"/>
                </a:cxn>
                <a:cxn ang="0">
                  <a:pos x="426" y="624"/>
                </a:cxn>
                <a:cxn ang="0">
                  <a:pos x="404" y="614"/>
                </a:cxn>
                <a:cxn ang="0">
                  <a:pos x="336" y="544"/>
                </a:cxn>
                <a:cxn ang="0">
                  <a:pos x="302" y="508"/>
                </a:cxn>
                <a:cxn ang="0">
                  <a:pos x="316" y="458"/>
                </a:cxn>
                <a:cxn ang="0">
                  <a:pos x="302" y="400"/>
                </a:cxn>
                <a:cxn ang="0">
                  <a:pos x="310" y="354"/>
                </a:cxn>
                <a:cxn ang="0">
                  <a:pos x="318" y="324"/>
                </a:cxn>
                <a:cxn ang="0">
                  <a:pos x="274" y="326"/>
                </a:cxn>
                <a:cxn ang="0">
                  <a:pos x="228" y="326"/>
                </a:cxn>
                <a:cxn ang="0">
                  <a:pos x="164" y="284"/>
                </a:cxn>
                <a:cxn ang="0">
                  <a:pos x="100" y="278"/>
                </a:cxn>
                <a:cxn ang="0">
                  <a:pos x="66" y="266"/>
                </a:cxn>
                <a:cxn ang="0">
                  <a:pos x="54" y="206"/>
                </a:cxn>
                <a:cxn ang="0">
                  <a:pos x="8" y="150"/>
                </a:cxn>
                <a:cxn ang="0">
                  <a:pos x="46" y="62"/>
                </a:cxn>
                <a:cxn ang="0">
                  <a:pos x="108" y="24"/>
                </a:cxn>
                <a:cxn ang="0">
                  <a:pos x="80" y="48"/>
                </a:cxn>
                <a:cxn ang="0">
                  <a:pos x="88" y="98"/>
                </a:cxn>
                <a:cxn ang="0">
                  <a:pos x="88" y="160"/>
                </a:cxn>
                <a:cxn ang="0">
                  <a:pos x="126" y="154"/>
                </a:cxn>
                <a:cxn ang="0">
                  <a:pos x="100" y="88"/>
                </a:cxn>
                <a:cxn ang="0">
                  <a:pos x="134" y="54"/>
                </a:cxn>
                <a:cxn ang="0">
                  <a:pos x="180" y="40"/>
                </a:cxn>
                <a:cxn ang="0">
                  <a:pos x="170" y="32"/>
                </a:cxn>
                <a:cxn ang="0">
                  <a:pos x="190" y="8"/>
                </a:cxn>
                <a:cxn ang="0">
                  <a:pos x="206" y="36"/>
                </a:cxn>
                <a:cxn ang="0">
                  <a:pos x="268" y="56"/>
                </a:cxn>
                <a:cxn ang="0">
                  <a:pos x="296" y="92"/>
                </a:cxn>
                <a:cxn ang="0">
                  <a:pos x="380" y="82"/>
                </a:cxn>
                <a:cxn ang="0">
                  <a:pos x="446" y="114"/>
                </a:cxn>
                <a:cxn ang="0">
                  <a:pos x="498" y="92"/>
                </a:cxn>
                <a:cxn ang="0">
                  <a:pos x="494" y="84"/>
                </a:cxn>
                <a:cxn ang="0">
                  <a:pos x="568" y="76"/>
                </a:cxn>
                <a:cxn ang="0">
                  <a:pos x="606" y="82"/>
                </a:cxn>
                <a:cxn ang="0">
                  <a:pos x="562" y="86"/>
                </a:cxn>
                <a:cxn ang="0">
                  <a:pos x="560" y="98"/>
                </a:cxn>
                <a:cxn ang="0">
                  <a:pos x="562" y="112"/>
                </a:cxn>
                <a:cxn ang="0">
                  <a:pos x="580" y="104"/>
                </a:cxn>
                <a:cxn ang="0">
                  <a:pos x="598" y="120"/>
                </a:cxn>
                <a:cxn ang="0">
                  <a:pos x="598" y="118"/>
                </a:cxn>
                <a:cxn ang="0">
                  <a:pos x="626" y="126"/>
                </a:cxn>
                <a:cxn ang="0">
                  <a:pos x="644" y="132"/>
                </a:cxn>
                <a:cxn ang="0">
                  <a:pos x="660" y="164"/>
                </a:cxn>
                <a:cxn ang="0">
                  <a:pos x="648" y="192"/>
                </a:cxn>
                <a:cxn ang="0">
                  <a:pos x="666" y="196"/>
                </a:cxn>
                <a:cxn ang="0">
                  <a:pos x="730" y="206"/>
                </a:cxn>
              </a:cxnLst>
              <a:rect l="0" t="0" r="r" b="b"/>
              <a:pathLst>
                <a:path w="730" h="624">
                  <a:moveTo>
                    <a:pt x="706" y="228"/>
                  </a:moveTo>
                  <a:lnTo>
                    <a:pt x="704" y="230"/>
                  </a:lnTo>
                  <a:lnTo>
                    <a:pt x="692" y="234"/>
                  </a:lnTo>
                  <a:lnTo>
                    <a:pt x="690" y="240"/>
                  </a:lnTo>
                  <a:lnTo>
                    <a:pt x="690" y="244"/>
                  </a:lnTo>
                  <a:lnTo>
                    <a:pt x="686" y="248"/>
                  </a:lnTo>
                  <a:lnTo>
                    <a:pt x="684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4" y="254"/>
                  </a:lnTo>
                  <a:lnTo>
                    <a:pt x="686" y="254"/>
                  </a:lnTo>
                  <a:lnTo>
                    <a:pt x="688" y="258"/>
                  </a:lnTo>
                  <a:lnTo>
                    <a:pt x="690" y="260"/>
                  </a:lnTo>
                  <a:lnTo>
                    <a:pt x="690" y="262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6"/>
                  </a:lnTo>
                  <a:lnTo>
                    <a:pt x="688" y="268"/>
                  </a:lnTo>
                  <a:lnTo>
                    <a:pt x="692" y="270"/>
                  </a:lnTo>
                  <a:lnTo>
                    <a:pt x="694" y="270"/>
                  </a:lnTo>
                  <a:lnTo>
                    <a:pt x="696" y="268"/>
                  </a:lnTo>
                  <a:lnTo>
                    <a:pt x="702" y="268"/>
                  </a:lnTo>
                  <a:lnTo>
                    <a:pt x="704" y="270"/>
                  </a:lnTo>
                  <a:lnTo>
                    <a:pt x="706" y="272"/>
                  </a:lnTo>
                  <a:lnTo>
                    <a:pt x="706" y="274"/>
                  </a:lnTo>
                  <a:lnTo>
                    <a:pt x="700" y="282"/>
                  </a:lnTo>
                  <a:lnTo>
                    <a:pt x="696" y="284"/>
                  </a:lnTo>
                  <a:lnTo>
                    <a:pt x="694" y="284"/>
                  </a:lnTo>
                  <a:lnTo>
                    <a:pt x="692" y="286"/>
                  </a:lnTo>
                  <a:lnTo>
                    <a:pt x="690" y="286"/>
                  </a:lnTo>
                  <a:lnTo>
                    <a:pt x="688" y="288"/>
                  </a:lnTo>
                  <a:lnTo>
                    <a:pt x="686" y="290"/>
                  </a:lnTo>
                  <a:lnTo>
                    <a:pt x="684" y="290"/>
                  </a:lnTo>
                  <a:lnTo>
                    <a:pt x="682" y="292"/>
                  </a:lnTo>
                  <a:lnTo>
                    <a:pt x="678" y="290"/>
                  </a:lnTo>
                  <a:lnTo>
                    <a:pt x="674" y="290"/>
                  </a:lnTo>
                  <a:lnTo>
                    <a:pt x="672" y="294"/>
                  </a:lnTo>
                  <a:lnTo>
                    <a:pt x="666" y="294"/>
                  </a:lnTo>
                  <a:lnTo>
                    <a:pt x="664" y="292"/>
                  </a:lnTo>
                  <a:lnTo>
                    <a:pt x="660" y="294"/>
                  </a:lnTo>
                  <a:lnTo>
                    <a:pt x="658" y="298"/>
                  </a:lnTo>
                  <a:lnTo>
                    <a:pt x="656" y="302"/>
                  </a:lnTo>
                  <a:lnTo>
                    <a:pt x="656" y="304"/>
                  </a:lnTo>
                  <a:lnTo>
                    <a:pt x="660" y="310"/>
                  </a:lnTo>
                  <a:lnTo>
                    <a:pt x="660" y="316"/>
                  </a:lnTo>
                  <a:lnTo>
                    <a:pt x="660" y="324"/>
                  </a:lnTo>
                  <a:lnTo>
                    <a:pt x="654" y="326"/>
                  </a:lnTo>
                  <a:lnTo>
                    <a:pt x="654" y="328"/>
                  </a:lnTo>
                  <a:lnTo>
                    <a:pt x="654" y="330"/>
                  </a:lnTo>
                  <a:lnTo>
                    <a:pt x="652" y="334"/>
                  </a:lnTo>
                  <a:lnTo>
                    <a:pt x="650" y="334"/>
                  </a:lnTo>
                  <a:lnTo>
                    <a:pt x="648" y="336"/>
                  </a:lnTo>
                  <a:lnTo>
                    <a:pt x="662" y="352"/>
                  </a:lnTo>
                  <a:lnTo>
                    <a:pt x="676" y="368"/>
                  </a:lnTo>
                  <a:lnTo>
                    <a:pt x="680" y="374"/>
                  </a:lnTo>
                  <a:lnTo>
                    <a:pt x="682" y="376"/>
                  </a:lnTo>
                  <a:lnTo>
                    <a:pt x="684" y="376"/>
                  </a:lnTo>
                  <a:lnTo>
                    <a:pt x="686" y="376"/>
                  </a:lnTo>
                  <a:lnTo>
                    <a:pt x="688" y="378"/>
                  </a:lnTo>
                  <a:lnTo>
                    <a:pt x="688" y="380"/>
                  </a:lnTo>
                  <a:lnTo>
                    <a:pt x="692" y="388"/>
                  </a:lnTo>
                  <a:lnTo>
                    <a:pt x="692" y="390"/>
                  </a:lnTo>
                  <a:lnTo>
                    <a:pt x="692" y="392"/>
                  </a:lnTo>
                  <a:lnTo>
                    <a:pt x="688" y="396"/>
                  </a:lnTo>
                  <a:lnTo>
                    <a:pt x="686" y="398"/>
                  </a:lnTo>
                  <a:lnTo>
                    <a:pt x="684" y="400"/>
                  </a:lnTo>
                  <a:lnTo>
                    <a:pt x="678" y="402"/>
                  </a:lnTo>
                  <a:lnTo>
                    <a:pt x="676" y="402"/>
                  </a:lnTo>
                  <a:lnTo>
                    <a:pt x="674" y="402"/>
                  </a:lnTo>
                  <a:lnTo>
                    <a:pt x="674" y="408"/>
                  </a:lnTo>
                  <a:lnTo>
                    <a:pt x="674" y="410"/>
                  </a:lnTo>
                  <a:lnTo>
                    <a:pt x="672" y="412"/>
                  </a:lnTo>
                  <a:lnTo>
                    <a:pt x="670" y="414"/>
                  </a:lnTo>
                  <a:lnTo>
                    <a:pt x="666" y="414"/>
                  </a:lnTo>
                  <a:lnTo>
                    <a:pt x="660" y="416"/>
                  </a:lnTo>
                  <a:lnTo>
                    <a:pt x="652" y="414"/>
                  </a:lnTo>
                  <a:lnTo>
                    <a:pt x="642" y="420"/>
                  </a:lnTo>
                  <a:lnTo>
                    <a:pt x="642" y="422"/>
                  </a:lnTo>
                  <a:lnTo>
                    <a:pt x="642" y="424"/>
                  </a:lnTo>
                  <a:lnTo>
                    <a:pt x="642" y="426"/>
                  </a:lnTo>
                  <a:lnTo>
                    <a:pt x="640" y="428"/>
                  </a:lnTo>
                  <a:lnTo>
                    <a:pt x="636" y="428"/>
                  </a:lnTo>
                  <a:lnTo>
                    <a:pt x="634" y="428"/>
                  </a:lnTo>
                  <a:lnTo>
                    <a:pt x="632" y="428"/>
                  </a:lnTo>
                  <a:lnTo>
                    <a:pt x="628" y="428"/>
                  </a:lnTo>
                  <a:lnTo>
                    <a:pt x="626" y="430"/>
                  </a:lnTo>
                  <a:lnTo>
                    <a:pt x="626" y="432"/>
                  </a:lnTo>
                  <a:lnTo>
                    <a:pt x="624" y="434"/>
                  </a:lnTo>
                  <a:lnTo>
                    <a:pt x="620" y="434"/>
                  </a:lnTo>
                  <a:lnTo>
                    <a:pt x="618" y="434"/>
                  </a:lnTo>
                  <a:lnTo>
                    <a:pt x="616" y="434"/>
                  </a:lnTo>
                  <a:lnTo>
                    <a:pt x="612" y="434"/>
                  </a:lnTo>
                  <a:lnTo>
                    <a:pt x="612" y="436"/>
                  </a:lnTo>
                  <a:lnTo>
                    <a:pt x="610" y="436"/>
                  </a:lnTo>
                  <a:lnTo>
                    <a:pt x="608" y="436"/>
                  </a:lnTo>
                  <a:lnTo>
                    <a:pt x="606" y="436"/>
                  </a:lnTo>
                  <a:lnTo>
                    <a:pt x="604" y="436"/>
                  </a:lnTo>
                  <a:lnTo>
                    <a:pt x="600" y="436"/>
                  </a:lnTo>
                  <a:lnTo>
                    <a:pt x="598" y="434"/>
                  </a:lnTo>
                  <a:lnTo>
                    <a:pt x="594" y="432"/>
                  </a:lnTo>
                  <a:lnTo>
                    <a:pt x="592" y="432"/>
                  </a:lnTo>
                  <a:lnTo>
                    <a:pt x="586" y="436"/>
                  </a:lnTo>
                  <a:lnTo>
                    <a:pt x="582" y="440"/>
                  </a:lnTo>
                  <a:lnTo>
                    <a:pt x="580" y="440"/>
                  </a:lnTo>
                  <a:lnTo>
                    <a:pt x="576" y="440"/>
                  </a:lnTo>
                  <a:lnTo>
                    <a:pt x="574" y="442"/>
                  </a:lnTo>
                  <a:lnTo>
                    <a:pt x="574" y="448"/>
                  </a:lnTo>
                  <a:lnTo>
                    <a:pt x="574" y="452"/>
                  </a:lnTo>
                  <a:lnTo>
                    <a:pt x="576" y="454"/>
                  </a:lnTo>
                  <a:lnTo>
                    <a:pt x="576" y="456"/>
                  </a:lnTo>
                  <a:lnTo>
                    <a:pt x="576" y="458"/>
                  </a:lnTo>
                  <a:lnTo>
                    <a:pt x="576" y="460"/>
                  </a:lnTo>
                  <a:lnTo>
                    <a:pt x="576" y="462"/>
                  </a:lnTo>
                  <a:lnTo>
                    <a:pt x="574" y="464"/>
                  </a:lnTo>
                  <a:lnTo>
                    <a:pt x="568" y="466"/>
                  </a:lnTo>
                  <a:lnTo>
                    <a:pt x="566" y="466"/>
                  </a:lnTo>
                  <a:lnTo>
                    <a:pt x="562" y="464"/>
                  </a:lnTo>
                  <a:lnTo>
                    <a:pt x="552" y="454"/>
                  </a:lnTo>
                  <a:lnTo>
                    <a:pt x="548" y="448"/>
                  </a:lnTo>
                  <a:lnTo>
                    <a:pt x="546" y="446"/>
                  </a:lnTo>
                  <a:lnTo>
                    <a:pt x="544" y="444"/>
                  </a:lnTo>
                  <a:lnTo>
                    <a:pt x="542" y="444"/>
                  </a:lnTo>
                  <a:lnTo>
                    <a:pt x="540" y="444"/>
                  </a:lnTo>
                  <a:lnTo>
                    <a:pt x="538" y="446"/>
                  </a:lnTo>
                  <a:lnTo>
                    <a:pt x="538" y="448"/>
                  </a:lnTo>
                  <a:lnTo>
                    <a:pt x="536" y="450"/>
                  </a:lnTo>
                  <a:lnTo>
                    <a:pt x="534" y="450"/>
                  </a:lnTo>
                  <a:lnTo>
                    <a:pt x="532" y="450"/>
                  </a:lnTo>
                  <a:lnTo>
                    <a:pt x="530" y="448"/>
                  </a:lnTo>
                  <a:lnTo>
                    <a:pt x="530" y="446"/>
                  </a:lnTo>
                  <a:lnTo>
                    <a:pt x="528" y="446"/>
                  </a:lnTo>
                  <a:lnTo>
                    <a:pt x="526" y="446"/>
                  </a:lnTo>
                  <a:lnTo>
                    <a:pt x="516" y="444"/>
                  </a:lnTo>
                  <a:lnTo>
                    <a:pt x="512" y="446"/>
                  </a:lnTo>
                  <a:lnTo>
                    <a:pt x="510" y="448"/>
                  </a:lnTo>
                  <a:lnTo>
                    <a:pt x="508" y="450"/>
                  </a:lnTo>
                  <a:lnTo>
                    <a:pt x="506" y="448"/>
                  </a:lnTo>
                  <a:lnTo>
                    <a:pt x="504" y="448"/>
                  </a:lnTo>
                  <a:lnTo>
                    <a:pt x="504" y="446"/>
                  </a:lnTo>
                  <a:lnTo>
                    <a:pt x="502" y="440"/>
                  </a:lnTo>
                  <a:lnTo>
                    <a:pt x="502" y="438"/>
                  </a:lnTo>
                  <a:lnTo>
                    <a:pt x="500" y="436"/>
                  </a:lnTo>
                  <a:lnTo>
                    <a:pt x="496" y="436"/>
                  </a:lnTo>
                  <a:lnTo>
                    <a:pt x="494" y="436"/>
                  </a:lnTo>
                  <a:lnTo>
                    <a:pt x="490" y="434"/>
                  </a:lnTo>
                  <a:lnTo>
                    <a:pt x="488" y="434"/>
                  </a:lnTo>
                  <a:lnTo>
                    <a:pt x="486" y="434"/>
                  </a:lnTo>
                  <a:lnTo>
                    <a:pt x="484" y="436"/>
                  </a:lnTo>
                  <a:lnTo>
                    <a:pt x="482" y="436"/>
                  </a:lnTo>
                  <a:lnTo>
                    <a:pt x="478" y="436"/>
                  </a:lnTo>
                  <a:lnTo>
                    <a:pt x="476" y="436"/>
                  </a:lnTo>
                  <a:lnTo>
                    <a:pt x="474" y="436"/>
                  </a:lnTo>
                  <a:lnTo>
                    <a:pt x="472" y="430"/>
                  </a:lnTo>
                  <a:lnTo>
                    <a:pt x="470" y="428"/>
                  </a:lnTo>
                  <a:lnTo>
                    <a:pt x="468" y="428"/>
                  </a:lnTo>
                  <a:lnTo>
                    <a:pt x="466" y="428"/>
                  </a:lnTo>
                  <a:lnTo>
                    <a:pt x="464" y="428"/>
                  </a:lnTo>
                  <a:lnTo>
                    <a:pt x="464" y="432"/>
                  </a:lnTo>
                  <a:lnTo>
                    <a:pt x="466" y="432"/>
                  </a:lnTo>
                  <a:lnTo>
                    <a:pt x="468" y="434"/>
                  </a:lnTo>
                  <a:lnTo>
                    <a:pt x="470" y="436"/>
                  </a:lnTo>
                  <a:lnTo>
                    <a:pt x="470" y="438"/>
                  </a:lnTo>
                  <a:lnTo>
                    <a:pt x="472" y="442"/>
                  </a:lnTo>
                  <a:lnTo>
                    <a:pt x="472" y="444"/>
                  </a:lnTo>
                  <a:lnTo>
                    <a:pt x="474" y="444"/>
                  </a:lnTo>
                  <a:lnTo>
                    <a:pt x="480" y="450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8" y="456"/>
                  </a:lnTo>
                  <a:lnTo>
                    <a:pt x="490" y="458"/>
                  </a:lnTo>
                  <a:lnTo>
                    <a:pt x="498" y="464"/>
                  </a:lnTo>
                  <a:lnTo>
                    <a:pt x="498" y="468"/>
                  </a:lnTo>
                  <a:lnTo>
                    <a:pt x="498" y="470"/>
                  </a:lnTo>
                  <a:lnTo>
                    <a:pt x="496" y="472"/>
                  </a:lnTo>
                  <a:lnTo>
                    <a:pt x="494" y="474"/>
                  </a:lnTo>
                  <a:lnTo>
                    <a:pt x="496" y="478"/>
                  </a:lnTo>
                  <a:lnTo>
                    <a:pt x="496" y="486"/>
                  </a:lnTo>
                  <a:lnTo>
                    <a:pt x="500" y="494"/>
                  </a:lnTo>
                  <a:lnTo>
                    <a:pt x="504" y="500"/>
                  </a:lnTo>
                  <a:lnTo>
                    <a:pt x="506" y="506"/>
                  </a:lnTo>
                  <a:lnTo>
                    <a:pt x="508" y="512"/>
                  </a:lnTo>
                  <a:lnTo>
                    <a:pt x="508" y="518"/>
                  </a:lnTo>
                  <a:lnTo>
                    <a:pt x="508" y="520"/>
                  </a:lnTo>
                  <a:lnTo>
                    <a:pt x="506" y="522"/>
                  </a:lnTo>
                  <a:lnTo>
                    <a:pt x="506" y="524"/>
                  </a:lnTo>
                  <a:lnTo>
                    <a:pt x="506" y="526"/>
                  </a:lnTo>
                  <a:lnTo>
                    <a:pt x="518" y="528"/>
                  </a:lnTo>
                  <a:lnTo>
                    <a:pt x="520" y="528"/>
                  </a:lnTo>
                  <a:lnTo>
                    <a:pt x="530" y="528"/>
                  </a:lnTo>
                  <a:lnTo>
                    <a:pt x="542" y="528"/>
                  </a:lnTo>
                  <a:lnTo>
                    <a:pt x="544" y="528"/>
                  </a:lnTo>
                  <a:lnTo>
                    <a:pt x="542" y="538"/>
                  </a:lnTo>
                  <a:lnTo>
                    <a:pt x="540" y="544"/>
                  </a:lnTo>
                  <a:lnTo>
                    <a:pt x="536" y="544"/>
                  </a:lnTo>
                  <a:lnTo>
                    <a:pt x="532" y="544"/>
                  </a:lnTo>
                  <a:lnTo>
                    <a:pt x="528" y="546"/>
                  </a:lnTo>
                  <a:lnTo>
                    <a:pt x="524" y="550"/>
                  </a:lnTo>
                  <a:lnTo>
                    <a:pt x="522" y="550"/>
                  </a:lnTo>
                  <a:lnTo>
                    <a:pt x="518" y="552"/>
                  </a:lnTo>
                  <a:lnTo>
                    <a:pt x="512" y="552"/>
                  </a:lnTo>
                  <a:lnTo>
                    <a:pt x="510" y="552"/>
                  </a:lnTo>
                  <a:lnTo>
                    <a:pt x="508" y="554"/>
                  </a:lnTo>
                  <a:lnTo>
                    <a:pt x="506" y="556"/>
                  </a:lnTo>
                  <a:lnTo>
                    <a:pt x="506" y="558"/>
                  </a:lnTo>
                  <a:lnTo>
                    <a:pt x="506" y="560"/>
                  </a:lnTo>
                  <a:lnTo>
                    <a:pt x="506" y="562"/>
                  </a:lnTo>
                  <a:lnTo>
                    <a:pt x="506" y="568"/>
                  </a:lnTo>
                  <a:lnTo>
                    <a:pt x="504" y="570"/>
                  </a:lnTo>
                  <a:lnTo>
                    <a:pt x="502" y="574"/>
                  </a:lnTo>
                  <a:lnTo>
                    <a:pt x="494" y="580"/>
                  </a:lnTo>
                  <a:lnTo>
                    <a:pt x="488" y="578"/>
                  </a:lnTo>
                  <a:lnTo>
                    <a:pt x="480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76" y="588"/>
                  </a:lnTo>
                  <a:lnTo>
                    <a:pt x="470" y="592"/>
                  </a:lnTo>
                  <a:lnTo>
                    <a:pt x="468" y="592"/>
                  </a:lnTo>
                  <a:lnTo>
                    <a:pt x="466" y="592"/>
                  </a:lnTo>
                  <a:lnTo>
                    <a:pt x="464" y="590"/>
                  </a:lnTo>
                  <a:lnTo>
                    <a:pt x="456" y="594"/>
                  </a:lnTo>
                  <a:lnTo>
                    <a:pt x="454" y="596"/>
                  </a:lnTo>
                  <a:lnTo>
                    <a:pt x="448" y="598"/>
                  </a:lnTo>
                  <a:lnTo>
                    <a:pt x="446" y="600"/>
                  </a:lnTo>
                  <a:lnTo>
                    <a:pt x="446" y="602"/>
                  </a:lnTo>
                  <a:lnTo>
                    <a:pt x="446" y="604"/>
                  </a:lnTo>
                  <a:lnTo>
                    <a:pt x="446" y="606"/>
                  </a:lnTo>
                  <a:lnTo>
                    <a:pt x="446" y="608"/>
                  </a:lnTo>
                  <a:lnTo>
                    <a:pt x="444" y="608"/>
                  </a:lnTo>
                  <a:lnTo>
                    <a:pt x="444" y="610"/>
                  </a:lnTo>
                  <a:lnTo>
                    <a:pt x="442" y="610"/>
                  </a:lnTo>
                  <a:lnTo>
                    <a:pt x="440" y="610"/>
                  </a:lnTo>
                  <a:lnTo>
                    <a:pt x="438" y="610"/>
                  </a:lnTo>
                  <a:lnTo>
                    <a:pt x="436" y="610"/>
                  </a:lnTo>
                  <a:lnTo>
                    <a:pt x="434" y="614"/>
                  </a:lnTo>
                  <a:lnTo>
                    <a:pt x="434" y="616"/>
                  </a:lnTo>
                  <a:lnTo>
                    <a:pt x="432" y="618"/>
                  </a:lnTo>
                  <a:lnTo>
                    <a:pt x="432" y="620"/>
                  </a:lnTo>
                  <a:lnTo>
                    <a:pt x="430" y="622"/>
                  </a:lnTo>
                  <a:lnTo>
                    <a:pt x="428" y="624"/>
                  </a:lnTo>
                  <a:lnTo>
                    <a:pt x="426" y="624"/>
                  </a:lnTo>
                  <a:lnTo>
                    <a:pt x="424" y="624"/>
                  </a:lnTo>
                  <a:lnTo>
                    <a:pt x="422" y="622"/>
                  </a:lnTo>
                  <a:lnTo>
                    <a:pt x="422" y="620"/>
                  </a:lnTo>
                  <a:lnTo>
                    <a:pt x="424" y="618"/>
                  </a:lnTo>
                  <a:lnTo>
                    <a:pt x="426" y="616"/>
                  </a:lnTo>
                  <a:lnTo>
                    <a:pt x="426" y="614"/>
                  </a:lnTo>
                  <a:lnTo>
                    <a:pt x="426" y="612"/>
                  </a:lnTo>
                  <a:lnTo>
                    <a:pt x="426" y="610"/>
                  </a:lnTo>
                  <a:lnTo>
                    <a:pt x="424" y="608"/>
                  </a:lnTo>
                  <a:lnTo>
                    <a:pt x="422" y="606"/>
                  </a:lnTo>
                  <a:lnTo>
                    <a:pt x="418" y="606"/>
                  </a:lnTo>
                  <a:lnTo>
                    <a:pt x="414" y="606"/>
                  </a:lnTo>
                  <a:lnTo>
                    <a:pt x="406" y="610"/>
                  </a:lnTo>
                  <a:lnTo>
                    <a:pt x="404" y="612"/>
                  </a:lnTo>
                  <a:lnTo>
                    <a:pt x="404" y="614"/>
                  </a:lnTo>
                  <a:lnTo>
                    <a:pt x="402" y="616"/>
                  </a:lnTo>
                  <a:lnTo>
                    <a:pt x="400" y="616"/>
                  </a:lnTo>
                  <a:lnTo>
                    <a:pt x="394" y="620"/>
                  </a:lnTo>
                  <a:lnTo>
                    <a:pt x="384" y="620"/>
                  </a:lnTo>
                  <a:lnTo>
                    <a:pt x="382" y="620"/>
                  </a:lnTo>
                  <a:lnTo>
                    <a:pt x="382" y="618"/>
                  </a:lnTo>
                  <a:lnTo>
                    <a:pt x="358" y="598"/>
                  </a:lnTo>
                  <a:lnTo>
                    <a:pt x="352" y="594"/>
                  </a:lnTo>
                  <a:lnTo>
                    <a:pt x="352" y="592"/>
                  </a:lnTo>
                  <a:lnTo>
                    <a:pt x="352" y="590"/>
                  </a:lnTo>
                  <a:lnTo>
                    <a:pt x="350" y="582"/>
                  </a:lnTo>
                  <a:lnTo>
                    <a:pt x="346" y="568"/>
                  </a:lnTo>
                  <a:lnTo>
                    <a:pt x="340" y="550"/>
                  </a:lnTo>
                  <a:lnTo>
                    <a:pt x="338" y="544"/>
                  </a:lnTo>
                  <a:lnTo>
                    <a:pt x="336" y="544"/>
                  </a:lnTo>
                  <a:lnTo>
                    <a:pt x="336" y="540"/>
                  </a:lnTo>
                  <a:lnTo>
                    <a:pt x="334" y="538"/>
                  </a:lnTo>
                  <a:lnTo>
                    <a:pt x="334" y="536"/>
                  </a:lnTo>
                  <a:lnTo>
                    <a:pt x="336" y="534"/>
                  </a:lnTo>
                  <a:lnTo>
                    <a:pt x="336" y="530"/>
                  </a:lnTo>
                  <a:lnTo>
                    <a:pt x="334" y="528"/>
                  </a:lnTo>
                  <a:lnTo>
                    <a:pt x="332" y="528"/>
                  </a:lnTo>
                  <a:lnTo>
                    <a:pt x="330" y="528"/>
                  </a:lnTo>
                  <a:lnTo>
                    <a:pt x="328" y="526"/>
                  </a:lnTo>
                  <a:lnTo>
                    <a:pt x="320" y="516"/>
                  </a:lnTo>
                  <a:lnTo>
                    <a:pt x="316" y="514"/>
                  </a:lnTo>
                  <a:lnTo>
                    <a:pt x="314" y="510"/>
                  </a:lnTo>
                  <a:lnTo>
                    <a:pt x="312" y="508"/>
                  </a:lnTo>
                  <a:lnTo>
                    <a:pt x="304" y="506"/>
                  </a:lnTo>
                  <a:lnTo>
                    <a:pt x="302" y="508"/>
                  </a:lnTo>
                  <a:lnTo>
                    <a:pt x="300" y="504"/>
                  </a:lnTo>
                  <a:lnTo>
                    <a:pt x="310" y="494"/>
                  </a:lnTo>
                  <a:lnTo>
                    <a:pt x="318" y="488"/>
                  </a:lnTo>
                  <a:lnTo>
                    <a:pt x="322" y="484"/>
                  </a:lnTo>
                  <a:lnTo>
                    <a:pt x="326" y="480"/>
                  </a:lnTo>
                  <a:lnTo>
                    <a:pt x="330" y="476"/>
                  </a:lnTo>
                  <a:lnTo>
                    <a:pt x="328" y="474"/>
                  </a:lnTo>
                  <a:lnTo>
                    <a:pt x="326" y="472"/>
                  </a:lnTo>
                  <a:lnTo>
                    <a:pt x="324" y="472"/>
                  </a:lnTo>
                  <a:lnTo>
                    <a:pt x="324" y="470"/>
                  </a:lnTo>
                  <a:lnTo>
                    <a:pt x="322" y="464"/>
                  </a:lnTo>
                  <a:lnTo>
                    <a:pt x="322" y="462"/>
                  </a:lnTo>
                  <a:lnTo>
                    <a:pt x="320" y="458"/>
                  </a:lnTo>
                  <a:lnTo>
                    <a:pt x="318" y="456"/>
                  </a:lnTo>
                  <a:lnTo>
                    <a:pt x="316" y="458"/>
                  </a:lnTo>
                  <a:lnTo>
                    <a:pt x="314" y="458"/>
                  </a:lnTo>
                  <a:lnTo>
                    <a:pt x="312" y="456"/>
                  </a:lnTo>
                  <a:lnTo>
                    <a:pt x="310" y="454"/>
                  </a:lnTo>
                  <a:lnTo>
                    <a:pt x="308" y="448"/>
                  </a:lnTo>
                  <a:lnTo>
                    <a:pt x="308" y="444"/>
                  </a:lnTo>
                  <a:lnTo>
                    <a:pt x="306" y="440"/>
                  </a:lnTo>
                  <a:lnTo>
                    <a:pt x="306" y="438"/>
                  </a:lnTo>
                  <a:lnTo>
                    <a:pt x="304" y="434"/>
                  </a:lnTo>
                  <a:lnTo>
                    <a:pt x="302" y="430"/>
                  </a:lnTo>
                  <a:lnTo>
                    <a:pt x="302" y="428"/>
                  </a:lnTo>
                  <a:lnTo>
                    <a:pt x="302" y="426"/>
                  </a:lnTo>
                  <a:lnTo>
                    <a:pt x="304" y="424"/>
                  </a:lnTo>
                  <a:lnTo>
                    <a:pt x="298" y="412"/>
                  </a:lnTo>
                  <a:lnTo>
                    <a:pt x="300" y="402"/>
                  </a:lnTo>
                  <a:lnTo>
                    <a:pt x="302" y="400"/>
                  </a:lnTo>
                  <a:lnTo>
                    <a:pt x="302" y="398"/>
                  </a:lnTo>
                  <a:lnTo>
                    <a:pt x="302" y="390"/>
                  </a:lnTo>
                  <a:lnTo>
                    <a:pt x="302" y="386"/>
                  </a:lnTo>
                  <a:lnTo>
                    <a:pt x="300" y="384"/>
                  </a:lnTo>
                  <a:lnTo>
                    <a:pt x="300" y="382"/>
                  </a:lnTo>
                  <a:lnTo>
                    <a:pt x="300" y="372"/>
                  </a:lnTo>
                  <a:lnTo>
                    <a:pt x="302" y="368"/>
                  </a:lnTo>
                  <a:lnTo>
                    <a:pt x="304" y="366"/>
                  </a:lnTo>
                  <a:lnTo>
                    <a:pt x="306" y="366"/>
                  </a:lnTo>
                  <a:lnTo>
                    <a:pt x="308" y="364"/>
                  </a:lnTo>
                  <a:lnTo>
                    <a:pt x="310" y="362"/>
                  </a:lnTo>
                  <a:lnTo>
                    <a:pt x="312" y="360"/>
                  </a:lnTo>
                  <a:lnTo>
                    <a:pt x="310" y="358"/>
                  </a:lnTo>
                  <a:lnTo>
                    <a:pt x="310" y="356"/>
                  </a:lnTo>
                  <a:lnTo>
                    <a:pt x="310" y="354"/>
                  </a:lnTo>
                  <a:lnTo>
                    <a:pt x="310" y="352"/>
                  </a:lnTo>
                  <a:lnTo>
                    <a:pt x="310" y="350"/>
                  </a:lnTo>
                  <a:lnTo>
                    <a:pt x="312" y="346"/>
                  </a:lnTo>
                  <a:lnTo>
                    <a:pt x="312" y="344"/>
                  </a:lnTo>
                  <a:lnTo>
                    <a:pt x="316" y="340"/>
                  </a:lnTo>
                  <a:lnTo>
                    <a:pt x="320" y="338"/>
                  </a:lnTo>
                  <a:lnTo>
                    <a:pt x="322" y="336"/>
                  </a:lnTo>
                  <a:lnTo>
                    <a:pt x="322" y="334"/>
                  </a:lnTo>
                  <a:lnTo>
                    <a:pt x="322" y="332"/>
                  </a:lnTo>
                  <a:lnTo>
                    <a:pt x="320" y="330"/>
                  </a:lnTo>
                  <a:lnTo>
                    <a:pt x="318" y="330"/>
                  </a:lnTo>
                  <a:lnTo>
                    <a:pt x="318" y="328"/>
                  </a:lnTo>
                  <a:lnTo>
                    <a:pt x="318" y="326"/>
                  </a:lnTo>
                  <a:lnTo>
                    <a:pt x="320" y="324"/>
                  </a:lnTo>
                  <a:lnTo>
                    <a:pt x="318" y="324"/>
                  </a:lnTo>
                  <a:lnTo>
                    <a:pt x="316" y="322"/>
                  </a:lnTo>
                  <a:lnTo>
                    <a:pt x="314" y="320"/>
                  </a:lnTo>
                  <a:lnTo>
                    <a:pt x="310" y="320"/>
                  </a:lnTo>
                  <a:lnTo>
                    <a:pt x="306" y="318"/>
                  </a:lnTo>
                  <a:lnTo>
                    <a:pt x="300" y="318"/>
                  </a:lnTo>
                  <a:lnTo>
                    <a:pt x="296" y="322"/>
                  </a:lnTo>
                  <a:lnTo>
                    <a:pt x="292" y="324"/>
                  </a:lnTo>
                  <a:lnTo>
                    <a:pt x="290" y="324"/>
                  </a:lnTo>
                  <a:lnTo>
                    <a:pt x="288" y="324"/>
                  </a:lnTo>
                  <a:lnTo>
                    <a:pt x="286" y="324"/>
                  </a:lnTo>
                  <a:lnTo>
                    <a:pt x="284" y="324"/>
                  </a:lnTo>
                  <a:lnTo>
                    <a:pt x="282" y="324"/>
                  </a:lnTo>
                  <a:lnTo>
                    <a:pt x="280" y="324"/>
                  </a:lnTo>
                  <a:lnTo>
                    <a:pt x="278" y="324"/>
                  </a:lnTo>
                  <a:lnTo>
                    <a:pt x="274" y="326"/>
                  </a:lnTo>
                  <a:lnTo>
                    <a:pt x="270" y="326"/>
                  </a:lnTo>
                  <a:lnTo>
                    <a:pt x="268" y="324"/>
                  </a:lnTo>
                  <a:lnTo>
                    <a:pt x="266" y="324"/>
                  </a:lnTo>
                  <a:lnTo>
                    <a:pt x="266" y="326"/>
                  </a:lnTo>
                  <a:lnTo>
                    <a:pt x="262" y="326"/>
                  </a:lnTo>
                  <a:lnTo>
                    <a:pt x="256" y="328"/>
                  </a:lnTo>
                  <a:lnTo>
                    <a:pt x="254" y="326"/>
                  </a:lnTo>
                  <a:lnTo>
                    <a:pt x="252" y="326"/>
                  </a:lnTo>
                  <a:lnTo>
                    <a:pt x="250" y="326"/>
                  </a:lnTo>
                  <a:lnTo>
                    <a:pt x="246" y="326"/>
                  </a:lnTo>
                  <a:lnTo>
                    <a:pt x="236" y="324"/>
                  </a:lnTo>
                  <a:lnTo>
                    <a:pt x="234" y="324"/>
                  </a:lnTo>
                  <a:lnTo>
                    <a:pt x="232" y="324"/>
                  </a:lnTo>
                  <a:lnTo>
                    <a:pt x="230" y="326"/>
                  </a:lnTo>
                  <a:lnTo>
                    <a:pt x="228" y="326"/>
                  </a:lnTo>
                  <a:lnTo>
                    <a:pt x="226" y="330"/>
                  </a:lnTo>
                  <a:lnTo>
                    <a:pt x="224" y="330"/>
                  </a:lnTo>
                  <a:lnTo>
                    <a:pt x="222" y="330"/>
                  </a:lnTo>
                  <a:lnTo>
                    <a:pt x="220" y="328"/>
                  </a:lnTo>
                  <a:lnTo>
                    <a:pt x="220" y="326"/>
                  </a:lnTo>
                  <a:lnTo>
                    <a:pt x="216" y="326"/>
                  </a:lnTo>
                  <a:lnTo>
                    <a:pt x="214" y="328"/>
                  </a:lnTo>
                  <a:lnTo>
                    <a:pt x="198" y="308"/>
                  </a:lnTo>
                  <a:lnTo>
                    <a:pt x="176" y="282"/>
                  </a:lnTo>
                  <a:lnTo>
                    <a:pt x="174" y="282"/>
                  </a:lnTo>
                  <a:lnTo>
                    <a:pt x="170" y="282"/>
                  </a:lnTo>
                  <a:lnTo>
                    <a:pt x="170" y="284"/>
                  </a:lnTo>
                  <a:lnTo>
                    <a:pt x="168" y="284"/>
                  </a:lnTo>
                  <a:lnTo>
                    <a:pt x="166" y="284"/>
                  </a:lnTo>
                  <a:lnTo>
                    <a:pt x="164" y="284"/>
                  </a:lnTo>
                  <a:lnTo>
                    <a:pt x="162" y="282"/>
                  </a:lnTo>
                  <a:lnTo>
                    <a:pt x="158" y="280"/>
                  </a:lnTo>
                  <a:lnTo>
                    <a:pt x="154" y="27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6" y="276"/>
                  </a:lnTo>
                  <a:lnTo>
                    <a:pt x="134" y="278"/>
                  </a:lnTo>
                  <a:lnTo>
                    <a:pt x="130" y="280"/>
                  </a:lnTo>
                  <a:lnTo>
                    <a:pt x="128" y="282"/>
                  </a:lnTo>
                  <a:lnTo>
                    <a:pt x="120" y="284"/>
                  </a:lnTo>
                  <a:lnTo>
                    <a:pt x="114" y="282"/>
                  </a:lnTo>
                  <a:lnTo>
                    <a:pt x="110" y="280"/>
                  </a:lnTo>
                  <a:lnTo>
                    <a:pt x="104" y="280"/>
                  </a:lnTo>
                  <a:lnTo>
                    <a:pt x="102" y="280"/>
                  </a:lnTo>
                  <a:lnTo>
                    <a:pt x="100" y="278"/>
                  </a:lnTo>
                  <a:lnTo>
                    <a:pt x="96" y="278"/>
                  </a:lnTo>
                  <a:lnTo>
                    <a:pt x="94" y="278"/>
                  </a:lnTo>
                  <a:lnTo>
                    <a:pt x="90" y="278"/>
                  </a:lnTo>
                  <a:lnTo>
                    <a:pt x="86" y="280"/>
                  </a:lnTo>
                  <a:lnTo>
                    <a:pt x="84" y="282"/>
                  </a:lnTo>
                  <a:lnTo>
                    <a:pt x="82" y="282"/>
                  </a:lnTo>
                  <a:lnTo>
                    <a:pt x="80" y="280"/>
                  </a:lnTo>
                  <a:lnTo>
                    <a:pt x="76" y="280"/>
                  </a:lnTo>
                  <a:lnTo>
                    <a:pt x="72" y="278"/>
                  </a:lnTo>
                  <a:lnTo>
                    <a:pt x="70" y="276"/>
                  </a:lnTo>
                  <a:lnTo>
                    <a:pt x="68" y="274"/>
                  </a:lnTo>
                  <a:lnTo>
                    <a:pt x="68" y="272"/>
                  </a:lnTo>
                  <a:lnTo>
                    <a:pt x="66" y="270"/>
                  </a:lnTo>
                  <a:lnTo>
                    <a:pt x="66" y="268"/>
                  </a:lnTo>
                  <a:lnTo>
                    <a:pt x="66" y="266"/>
                  </a:lnTo>
                  <a:lnTo>
                    <a:pt x="66" y="264"/>
                  </a:lnTo>
                  <a:lnTo>
                    <a:pt x="62" y="260"/>
                  </a:lnTo>
                  <a:lnTo>
                    <a:pt x="58" y="260"/>
                  </a:lnTo>
                  <a:lnTo>
                    <a:pt x="54" y="258"/>
                  </a:lnTo>
                  <a:lnTo>
                    <a:pt x="52" y="258"/>
                  </a:lnTo>
                  <a:lnTo>
                    <a:pt x="50" y="254"/>
                  </a:lnTo>
                  <a:lnTo>
                    <a:pt x="50" y="246"/>
                  </a:lnTo>
                  <a:lnTo>
                    <a:pt x="50" y="232"/>
                  </a:lnTo>
                  <a:lnTo>
                    <a:pt x="54" y="224"/>
                  </a:lnTo>
                  <a:lnTo>
                    <a:pt x="56" y="224"/>
                  </a:lnTo>
                  <a:lnTo>
                    <a:pt x="58" y="224"/>
                  </a:lnTo>
                  <a:lnTo>
                    <a:pt x="58" y="222"/>
                  </a:lnTo>
                  <a:lnTo>
                    <a:pt x="56" y="218"/>
                  </a:lnTo>
                  <a:lnTo>
                    <a:pt x="54" y="208"/>
                  </a:lnTo>
                  <a:lnTo>
                    <a:pt x="54" y="206"/>
                  </a:lnTo>
                  <a:lnTo>
                    <a:pt x="52" y="206"/>
                  </a:lnTo>
                  <a:lnTo>
                    <a:pt x="40" y="192"/>
                  </a:lnTo>
                  <a:lnTo>
                    <a:pt x="36" y="178"/>
                  </a:lnTo>
                  <a:lnTo>
                    <a:pt x="32" y="168"/>
                  </a:lnTo>
                  <a:lnTo>
                    <a:pt x="28" y="166"/>
                  </a:lnTo>
                  <a:lnTo>
                    <a:pt x="24" y="162"/>
                  </a:lnTo>
                  <a:lnTo>
                    <a:pt x="22" y="160"/>
                  </a:lnTo>
                  <a:lnTo>
                    <a:pt x="20" y="156"/>
                  </a:lnTo>
                  <a:lnTo>
                    <a:pt x="14" y="160"/>
                  </a:lnTo>
                  <a:lnTo>
                    <a:pt x="12" y="162"/>
                  </a:lnTo>
                  <a:lnTo>
                    <a:pt x="10" y="164"/>
                  </a:lnTo>
                  <a:lnTo>
                    <a:pt x="2" y="164"/>
                  </a:lnTo>
                  <a:lnTo>
                    <a:pt x="0" y="164"/>
                  </a:lnTo>
                  <a:lnTo>
                    <a:pt x="2" y="160"/>
                  </a:lnTo>
                  <a:lnTo>
                    <a:pt x="8" y="150"/>
                  </a:lnTo>
                  <a:lnTo>
                    <a:pt x="14" y="142"/>
                  </a:lnTo>
                  <a:lnTo>
                    <a:pt x="16" y="140"/>
                  </a:lnTo>
                  <a:lnTo>
                    <a:pt x="22" y="132"/>
                  </a:lnTo>
                  <a:lnTo>
                    <a:pt x="22" y="124"/>
                  </a:lnTo>
                  <a:lnTo>
                    <a:pt x="22" y="118"/>
                  </a:lnTo>
                  <a:lnTo>
                    <a:pt x="24" y="114"/>
                  </a:lnTo>
                  <a:lnTo>
                    <a:pt x="24" y="112"/>
                  </a:lnTo>
                  <a:lnTo>
                    <a:pt x="26" y="100"/>
                  </a:lnTo>
                  <a:lnTo>
                    <a:pt x="26" y="96"/>
                  </a:lnTo>
                  <a:lnTo>
                    <a:pt x="26" y="94"/>
                  </a:lnTo>
                  <a:lnTo>
                    <a:pt x="30" y="88"/>
                  </a:lnTo>
                  <a:lnTo>
                    <a:pt x="32" y="86"/>
                  </a:lnTo>
                  <a:lnTo>
                    <a:pt x="36" y="76"/>
                  </a:lnTo>
                  <a:lnTo>
                    <a:pt x="42" y="70"/>
                  </a:lnTo>
                  <a:lnTo>
                    <a:pt x="46" y="62"/>
                  </a:lnTo>
                  <a:lnTo>
                    <a:pt x="48" y="58"/>
                  </a:lnTo>
                  <a:lnTo>
                    <a:pt x="50" y="58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64" y="50"/>
                  </a:lnTo>
                  <a:lnTo>
                    <a:pt x="70" y="38"/>
                  </a:lnTo>
                  <a:lnTo>
                    <a:pt x="76" y="28"/>
                  </a:lnTo>
                  <a:lnTo>
                    <a:pt x="86" y="26"/>
                  </a:lnTo>
                  <a:lnTo>
                    <a:pt x="90" y="26"/>
                  </a:lnTo>
                  <a:lnTo>
                    <a:pt x="94" y="24"/>
                  </a:lnTo>
                  <a:lnTo>
                    <a:pt x="102" y="22"/>
                  </a:lnTo>
                  <a:lnTo>
                    <a:pt x="106" y="20"/>
                  </a:lnTo>
                  <a:lnTo>
                    <a:pt x="110" y="18"/>
                  </a:lnTo>
                  <a:lnTo>
                    <a:pt x="110" y="22"/>
                  </a:lnTo>
                  <a:lnTo>
                    <a:pt x="108" y="24"/>
                  </a:lnTo>
                  <a:lnTo>
                    <a:pt x="104" y="26"/>
                  </a:lnTo>
                  <a:lnTo>
                    <a:pt x="102" y="26"/>
                  </a:lnTo>
                  <a:lnTo>
                    <a:pt x="100" y="26"/>
                  </a:lnTo>
                  <a:lnTo>
                    <a:pt x="94" y="28"/>
                  </a:lnTo>
                  <a:lnTo>
                    <a:pt x="90" y="28"/>
                  </a:lnTo>
                  <a:lnTo>
                    <a:pt x="86" y="28"/>
                  </a:lnTo>
                  <a:lnTo>
                    <a:pt x="84" y="30"/>
                  </a:lnTo>
                  <a:lnTo>
                    <a:pt x="78" y="32"/>
                  </a:lnTo>
                  <a:lnTo>
                    <a:pt x="76" y="34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8" y="42"/>
                  </a:lnTo>
                  <a:lnTo>
                    <a:pt x="78" y="44"/>
                  </a:lnTo>
                  <a:lnTo>
                    <a:pt x="78" y="46"/>
                  </a:lnTo>
                  <a:lnTo>
                    <a:pt x="80" y="48"/>
                  </a:lnTo>
                  <a:lnTo>
                    <a:pt x="82" y="52"/>
                  </a:lnTo>
                  <a:lnTo>
                    <a:pt x="84" y="54"/>
                  </a:lnTo>
                  <a:lnTo>
                    <a:pt x="86" y="58"/>
                  </a:lnTo>
                  <a:lnTo>
                    <a:pt x="88" y="62"/>
                  </a:lnTo>
                  <a:lnTo>
                    <a:pt x="88" y="64"/>
                  </a:lnTo>
                  <a:lnTo>
                    <a:pt x="92" y="74"/>
                  </a:lnTo>
                  <a:lnTo>
                    <a:pt x="92" y="76"/>
                  </a:lnTo>
                  <a:lnTo>
                    <a:pt x="96" y="78"/>
                  </a:lnTo>
                  <a:lnTo>
                    <a:pt x="96" y="80"/>
                  </a:lnTo>
                  <a:lnTo>
                    <a:pt x="98" y="80"/>
                  </a:lnTo>
                  <a:lnTo>
                    <a:pt x="98" y="82"/>
                  </a:lnTo>
                  <a:lnTo>
                    <a:pt x="94" y="92"/>
                  </a:lnTo>
                  <a:lnTo>
                    <a:pt x="94" y="94"/>
                  </a:lnTo>
                  <a:lnTo>
                    <a:pt x="92" y="96"/>
                  </a:lnTo>
                  <a:lnTo>
                    <a:pt x="88" y="98"/>
                  </a:lnTo>
                  <a:lnTo>
                    <a:pt x="86" y="100"/>
                  </a:lnTo>
                  <a:lnTo>
                    <a:pt x="86" y="102"/>
                  </a:lnTo>
                  <a:lnTo>
                    <a:pt x="84" y="106"/>
                  </a:lnTo>
                  <a:lnTo>
                    <a:pt x="80" y="112"/>
                  </a:lnTo>
                  <a:lnTo>
                    <a:pt x="68" y="128"/>
                  </a:lnTo>
                  <a:lnTo>
                    <a:pt x="70" y="132"/>
                  </a:lnTo>
                  <a:lnTo>
                    <a:pt x="72" y="134"/>
                  </a:lnTo>
                  <a:lnTo>
                    <a:pt x="74" y="138"/>
                  </a:lnTo>
                  <a:lnTo>
                    <a:pt x="76" y="140"/>
                  </a:lnTo>
                  <a:lnTo>
                    <a:pt x="78" y="142"/>
                  </a:lnTo>
                  <a:lnTo>
                    <a:pt x="80" y="146"/>
                  </a:lnTo>
                  <a:lnTo>
                    <a:pt x="88" y="152"/>
                  </a:lnTo>
                  <a:lnTo>
                    <a:pt x="90" y="154"/>
                  </a:lnTo>
                  <a:lnTo>
                    <a:pt x="88" y="156"/>
                  </a:lnTo>
                  <a:lnTo>
                    <a:pt x="88" y="160"/>
                  </a:lnTo>
                  <a:lnTo>
                    <a:pt x="88" y="166"/>
                  </a:lnTo>
                  <a:lnTo>
                    <a:pt x="88" y="168"/>
                  </a:lnTo>
                  <a:lnTo>
                    <a:pt x="90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100" y="170"/>
                  </a:lnTo>
                  <a:lnTo>
                    <a:pt x="102" y="170"/>
                  </a:lnTo>
                  <a:lnTo>
                    <a:pt x="112" y="166"/>
                  </a:lnTo>
                  <a:lnTo>
                    <a:pt x="116" y="164"/>
                  </a:lnTo>
                  <a:lnTo>
                    <a:pt x="116" y="162"/>
                  </a:lnTo>
                  <a:lnTo>
                    <a:pt x="118" y="160"/>
                  </a:lnTo>
                  <a:lnTo>
                    <a:pt x="120" y="158"/>
                  </a:lnTo>
                  <a:lnTo>
                    <a:pt x="122" y="158"/>
                  </a:lnTo>
                  <a:lnTo>
                    <a:pt x="124" y="156"/>
                  </a:lnTo>
                  <a:lnTo>
                    <a:pt x="126" y="154"/>
                  </a:lnTo>
                  <a:lnTo>
                    <a:pt x="124" y="152"/>
                  </a:lnTo>
                  <a:lnTo>
                    <a:pt x="124" y="144"/>
                  </a:lnTo>
                  <a:lnTo>
                    <a:pt x="124" y="142"/>
                  </a:lnTo>
                  <a:lnTo>
                    <a:pt x="124" y="140"/>
                  </a:lnTo>
                  <a:lnTo>
                    <a:pt x="126" y="134"/>
                  </a:lnTo>
                  <a:lnTo>
                    <a:pt x="124" y="126"/>
                  </a:lnTo>
                  <a:lnTo>
                    <a:pt x="122" y="124"/>
                  </a:lnTo>
                  <a:lnTo>
                    <a:pt x="120" y="122"/>
                  </a:lnTo>
                  <a:lnTo>
                    <a:pt x="114" y="110"/>
                  </a:lnTo>
                  <a:lnTo>
                    <a:pt x="112" y="108"/>
                  </a:lnTo>
                  <a:lnTo>
                    <a:pt x="108" y="104"/>
                  </a:lnTo>
                  <a:lnTo>
                    <a:pt x="104" y="98"/>
                  </a:lnTo>
                  <a:lnTo>
                    <a:pt x="104" y="94"/>
                  </a:lnTo>
                  <a:lnTo>
                    <a:pt x="100" y="90"/>
                  </a:lnTo>
                  <a:lnTo>
                    <a:pt x="100" y="88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4" y="68"/>
                  </a:lnTo>
                  <a:lnTo>
                    <a:pt x="102" y="66"/>
                  </a:lnTo>
                  <a:lnTo>
                    <a:pt x="104" y="66"/>
                  </a:lnTo>
                  <a:lnTo>
                    <a:pt x="106" y="66"/>
                  </a:lnTo>
                  <a:lnTo>
                    <a:pt x="108" y="66"/>
                  </a:lnTo>
                  <a:lnTo>
                    <a:pt x="110" y="66"/>
                  </a:lnTo>
                  <a:lnTo>
                    <a:pt x="114" y="66"/>
                  </a:lnTo>
                  <a:lnTo>
                    <a:pt x="120" y="62"/>
                  </a:lnTo>
                  <a:lnTo>
                    <a:pt x="124" y="60"/>
                  </a:lnTo>
                  <a:lnTo>
                    <a:pt x="126" y="58"/>
                  </a:lnTo>
                  <a:lnTo>
                    <a:pt x="128" y="58"/>
                  </a:lnTo>
                  <a:lnTo>
                    <a:pt x="132" y="56"/>
                  </a:lnTo>
                  <a:lnTo>
                    <a:pt x="134" y="54"/>
                  </a:lnTo>
                  <a:lnTo>
                    <a:pt x="136" y="54"/>
                  </a:lnTo>
                  <a:lnTo>
                    <a:pt x="138" y="52"/>
                  </a:lnTo>
                  <a:lnTo>
                    <a:pt x="142" y="52"/>
                  </a:lnTo>
                  <a:lnTo>
                    <a:pt x="146" y="52"/>
                  </a:lnTo>
                  <a:lnTo>
                    <a:pt x="148" y="52"/>
                  </a:lnTo>
                  <a:lnTo>
                    <a:pt x="152" y="50"/>
                  </a:lnTo>
                  <a:lnTo>
                    <a:pt x="154" y="50"/>
                  </a:lnTo>
                  <a:lnTo>
                    <a:pt x="156" y="50"/>
                  </a:lnTo>
                  <a:lnTo>
                    <a:pt x="158" y="50"/>
                  </a:lnTo>
                  <a:lnTo>
                    <a:pt x="158" y="48"/>
                  </a:lnTo>
                  <a:lnTo>
                    <a:pt x="164" y="46"/>
                  </a:lnTo>
                  <a:lnTo>
                    <a:pt x="168" y="46"/>
                  </a:lnTo>
                  <a:lnTo>
                    <a:pt x="174" y="42"/>
                  </a:lnTo>
                  <a:lnTo>
                    <a:pt x="176" y="40"/>
                  </a:lnTo>
                  <a:lnTo>
                    <a:pt x="180" y="40"/>
                  </a:lnTo>
                  <a:lnTo>
                    <a:pt x="180" y="38"/>
                  </a:lnTo>
                  <a:lnTo>
                    <a:pt x="178" y="36"/>
                  </a:lnTo>
                  <a:lnTo>
                    <a:pt x="182" y="36"/>
                  </a:lnTo>
                  <a:lnTo>
                    <a:pt x="188" y="40"/>
                  </a:lnTo>
                  <a:lnTo>
                    <a:pt x="188" y="42"/>
                  </a:lnTo>
                  <a:lnTo>
                    <a:pt x="190" y="42"/>
                  </a:lnTo>
                  <a:lnTo>
                    <a:pt x="192" y="42"/>
                  </a:lnTo>
                  <a:lnTo>
                    <a:pt x="194" y="36"/>
                  </a:lnTo>
                  <a:lnTo>
                    <a:pt x="194" y="32"/>
                  </a:lnTo>
                  <a:lnTo>
                    <a:pt x="194" y="30"/>
                  </a:lnTo>
                  <a:lnTo>
                    <a:pt x="192" y="28"/>
                  </a:lnTo>
                  <a:lnTo>
                    <a:pt x="190" y="28"/>
                  </a:lnTo>
                  <a:lnTo>
                    <a:pt x="180" y="30"/>
                  </a:lnTo>
                  <a:lnTo>
                    <a:pt x="172" y="32"/>
                  </a:lnTo>
                  <a:lnTo>
                    <a:pt x="170" y="32"/>
                  </a:lnTo>
                  <a:lnTo>
                    <a:pt x="168" y="30"/>
                  </a:lnTo>
                  <a:lnTo>
                    <a:pt x="170" y="30"/>
                  </a:lnTo>
                  <a:lnTo>
                    <a:pt x="168" y="22"/>
                  </a:lnTo>
                  <a:lnTo>
                    <a:pt x="166" y="18"/>
                  </a:lnTo>
                  <a:lnTo>
                    <a:pt x="166" y="16"/>
                  </a:lnTo>
                  <a:lnTo>
                    <a:pt x="166" y="14"/>
                  </a:lnTo>
                  <a:lnTo>
                    <a:pt x="168" y="12"/>
                  </a:lnTo>
                  <a:lnTo>
                    <a:pt x="170" y="6"/>
                  </a:lnTo>
                  <a:lnTo>
                    <a:pt x="172" y="4"/>
                  </a:lnTo>
                  <a:lnTo>
                    <a:pt x="178" y="0"/>
                  </a:lnTo>
                  <a:lnTo>
                    <a:pt x="180" y="0"/>
                  </a:lnTo>
                  <a:lnTo>
                    <a:pt x="184" y="0"/>
                  </a:lnTo>
                  <a:lnTo>
                    <a:pt x="186" y="2"/>
                  </a:lnTo>
                  <a:lnTo>
                    <a:pt x="190" y="6"/>
                  </a:lnTo>
                  <a:lnTo>
                    <a:pt x="190" y="8"/>
                  </a:lnTo>
                  <a:lnTo>
                    <a:pt x="192" y="12"/>
                  </a:lnTo>
                  <a:lnTo>
                    <a:pt x="192" y="14"/>
                  </a:lnTo>
                  <a:lnTo>
                    <a:pt x="192" y="16"/>
                  </a:lnTo>
                  <a:lnTo>
                    <a:pt x="192" y="18"/>
                  </a:lnTo>
                  <a:lnTo>
                    <a:pt x="192" y="22"/>
                  </a:lnTo>
                  <a:lnTo>
                    <a:pt x="194" y="26"/>
                  </a:lnTo>
                  <a:lnTo>
                    <a:pt x="194" y="28"/>
                  </a:lnTo>
                  <a:lnTo>
                    <a:pt x="196" y="32"/>
                  </a:lnTo>
                  <a:lnTo>
                    <a:pt x="196" y="34"/>
                  </a:lnTo>
                  <a:lnTo>
                    <a:pt x="198" y="36"/>
                  </a:lnTo>
                  <a:lnTo>
                    <a:pt x="202" y="38"/>
                  </a:lnTo>
                  <a:lnTo>
                    <a:pt x="202" y="40"/>
                  </a:lnTo>
                  <a:lnTo>
                    <a:pt x="204" y="38"/>
                  </a:lnTo>
                  <a:lnTo>
                    <a:pt x="206" y="38"/>
                  </a:lnTo>
                  <a:lnTo>
                    <a:pt x="206" y="36"/>
                  </a:lnTo>
                  <a:lnTo>
                    <a:pt x="208" y="36"/>
                  </a:lnTo>
                  <a:lnTo>
                    <a:pt x="212" y="36"/>
                  </a:lnTo>
                  <a:lnTo>
                    <a:pt x="214" y="38"/>
                  </a:lnTo>
                  <a:lnTo>
                    <a:pt x="216" y="38"/>
                  </a:lnTo>
                  <a:lnTo>
                    <a:pt x="218" y="36"/>
                  </a:lnTo>
                  <a:lnTo>
                    <a:pt x="220" y="34"/>
                  </a:lnTo>
                  <a:lnTo>
                    <a:pt x="230" y="38"/>
                  </a:lnTo>
                  <a:lnTo>
                    <a:pt x="238" y="40"/>
                  </a:lnTo>
                  <a:lnTo>
                    <a:pt x="244" y="40"/>
                  </a:lnTo>
                  <a:lnTo>
                    <a:pt x="252" y="46"/>
                  </a:lnTo>
                  <a:lnTo>
                    <a:pt x="256" y="48"/>
                  </a:lnTo>
                  <a:lnTo>
                    <a:pt x="258" y="50"/>
                  </a:lnTo>
                  <a:lnTo>
                    <a:pt x="260" y="50"/>
                  </a:lnTo>
                  <a:lnTo>
                    <a:pt x="266" y="54"/>
                  </a:lnTo>
                  <a:lnTo>
                    <a:pt x="268" y="56"/>
                  </a:lnTo>
                  <a:lnTo>
                    <a:pt x="270" y="62"/>
                  </a:lnTo>
                  <a:lnTo>
                    <a:pt x="276" y="70"/>
                  </a:lnTo>
                  <a:lnTo>
                    <a:pt x="276" y="72"/>
                  </a:lnTo>
                  <a:lnTo>
                    <a:pt x="272" y="72"/>
                  </a:lnTo>
                  <a:lnTo>
                    <a:pt x="270" y="72"/>
                  </a:lnTo>
                  <a:lnTo>
                    <a:pt x="270" y="74"/>
                  </a:lnTo>
                  <a:lnTo>
                    <a:pt x="270" y="76"/>
                  </a:lnTo>
                  <a:lnTo>
                    <a:pt x="274" y="84"/>
                  </a:lnTo>
                  <a:lnTo>
                    <a:pt x="276" y="86"/>
                  </a:lnTo>
                  <a:lnTo>
                    <a:pt x="280" y="90"/>
                  </a:lnTo>
                  <a:lnTo>
                    <a:pt x="284" y="92"/>
                  </a:lnTo>
                  <a:lnTo>
                    <a:pt x="286" y="92"/>
                  </a:lnTo>
                  <a:lnTo>
                    <a:pt x="288" y="92"/>
                  </a:lnTo>
                  <a:lnTo>
                    <a:pt x="294" y="92"/>
                  </a:lnTo>
                  <a:lnTo>
                    <a:pt x="296" y="92"/>
                  </a:lnTo>
                  <a:lnTo>
                    <a:pt x="298" y="92"/>
                  </a:lnTo>
                  <a:lnTo>
                    <a:pt x="300" y="92"/>
                  </a:lnTo>
                  <a:lnTo>
                    <a:pt x="314" y="88"/>
                  </a:lnTo>
                  <a:lnTo>
                    <a:pt x="318" y="88"/>
                  </a:lnTo>
                  <a:lnTo>
                    <a:pt x="322" y="88"/>
                  </a:lnTo>
                  <a:lnTo>
                    <a:pt x="328" y="88"/>
                  </a:lnTo>
                  <a:lnTo>
                    <a:pt x="336" y="86"/>
                  </a:lnTo>
                  <a:lnTo>
                    <a:pt x="342" y="86"/>
                  </a:lnTo>
                  <a:lnTo>
                    <a:pt x="368" y="84"/>
                  </a:lnTo>
                  <a:lnTo>
                    <a:pt x="370" y="84"/>
                  </a:lnTo>
                  <a:lnTo>
                    <a:pt x="374" y="84"/>
                  </a:lnTo>
                  <a:lnTo>
                    <a:pt x="376" y="84"/>
                  </a:lnTo>
                  <a:lnTo>
                    <a:pt x="378" y="86"/>
                  </a:lnTo>
                  <a:lnTo>
                    <a:pt x="378" y="84"/>
                  </a:lnTo>
                  <a:lnTo>
                    <a:pt x="380" y="82"/>
                  </a:lnTo>
                  <a:lnTo>
                    <a:pt x="384" y="84"/>
                  </a:lnTo>
                  <a:lnTo>
                    <a:pt x="392" y="86"/>
                  </a:lnTo>
                  <a:lnTo>
                    <a:pt x="390" y="88"/>
                  </a:lnTo>
                  <a:lnTo>
                    <a:pt x="390" y="90"/>
                  </a:lnTo>
                  <a:lnTo>
                    <a:pt x="390" y="92"/>
                  </a:lnTo>
                  <a:lnTo>
                    <a:pt x="392" y="94"/>
                  </a:lnTo>
                  <a:lnTo>
                    <a:pt x="398" y="98"/>
                  </a:lnTo>
                  <a:lnTo>
                    <a:pt x="400" y="102"/>
                  </a:lnTo>
                  <a:lnTo>
                    <a:pt x="406" y="106"/>
                  </a:lnTo>
                  <a:lnTo>
                    <a:pt x="408" y="106"/>
                  </a:lnTo>
                  <a:lnTo>
                    <a:pt x="412" y="106"/>
                  </a:lnTo>
                  <a:lnTo>
                    <a:pt x="420" y="108"/>
                  </a:lnTo>
                  <a:lnTo>
                    <a:pt x="428" y="110"/>
                  </a:lnTo>
                  <a:lnTo>
                    <a:pt x="434" y="110"/>
                  </a:lnTo>
                  <a:lnTo>
                    <a:pt x="446" y="114"/>
                  </a:lnTo>
                  <a:lnTo>
                    <a:pt x="460" y="112"/>
                  </a:lnTo>
                  <a:lnTo>
                    <a:pt x="462" y="112"/>
                  </a:lnTo>
                  <a:lnTo>
                    <a:pt x="464" y="110"/>
                  </a:lnTo>
                  <a:lnTo>
                    <a:pt x="466" y="106"/>
                  </a:lnTo>
                  <a:lnTo>
                    <a:pt x="470" y="104"/>
                  </a:lnTo>
                  <a:lnTo>
                    <a:pt x="472" y="104"/>
                  </a:lnTo>
                  <a:lnTo>
                    <a:pt x="474" y="104"/>
                  </a:lnTo>
                  <a:lnTo>
                    <a:pt x="478" y="104"/>
                  </a:lnTo>
                  <a:lnTo>
                    <a:pt x="484" y="100"/>
                  </a:lnTo>
                  <a:lnTo>
                    <a:pt x="482" y="98"/>
                  </a:lnTo>
                  <a:lnTo>
                    <a:pt x="482" y="96"/>
                  </a:lnTo>
                  <a:lnTo>
                    <a:pt x="484" y="96"/>
                  </a:lnTo>
                  <a:lnTo>
                    <a:pt x="492" y="92"/>
                  </a:lnTo>
                  <a:lnTo>
                    <a:pt x="494" y="92"/>
                  </a:lnTo>
                  <a:lnTo>
                    <a:pt x="498" y="92"/>
                  </a:lnTo>
                  <a:lnTo>
                    <a:pt x="500" y="92"/>
                  </a:lnTo>
                  <a:lnTo>
                    <a:pt x="510" y="92"/>
                  </a:lnTo>
                  <a:lnTo>
                    <a:pt x="514" y="92"/>
                  </a:lnTo>
                  <a:lnTo>
                    <a:pt x="518" y="90"/>
                  </a:lnTo>
                  <a:lnTo>
                    <a:pt x="520" y="90"/>
                  </a:lnTo>
                  <a:lnTo>
                    <a:pt x="514" y="88"/>
                  </a:lnTo>
                  <a:lnTo>
                    <a:pt x="512" y="86"/>
                  </a:lnTo>
                  <a:lnTo>
                    <a:pt x="506" y="86"/>
                  </a:lnTo>
                  <a:lnTo>
                    <a:pt x="494" y="86"/>
                  </a:lnTo>
                  <a:lnTo>
                    <a:pt x="492" y="86"/>
                  </a:lnTo>
                  <a:lnTo>
                    <a:pt x="492" y="88"/>
                  </a:lnTo>
                  <a:lnTo>
                    <a:pt x="490" y="88"/>
                  </a:lnTo>
                  <a:lnTo>
                    <a:pt x="488" y="82"/>
                  </a:lnTo>
                  <a:lnTo>
                    <a:pt x="490" y="82"/>
                  </a:lnTo>
                  <a:lnTo>
                    <a:pt x="494" y="84"/>
                  </a:lnTo>
                  <a:lnTo>
                    <a:pt x="504" y="82"/>
                  </a:lnTo>
                  <a:lnTo>
                    <a:pt x="510" y="82"/>
                  </a:lnTo>
                  <a:lnTo>
                    <a:pt x="520" y="82"/>
                  </a:lnTo>
                  <a:lnTo>
                    <a:pt x="528" y="82"/>
                  </a:lnTo>
                  <a:lnTo>
                    <a:pt x="530" y="82"/>
                  </a:lnTo>
                  <a:lnTo>
                    <a:pt x="538" y="80"/>
                  </a:lnTo>
                  <a:lnTo>
                    <a:pt x="542" y="80"/>
                  </a:lnTo>
                  <a:lnTo>
                    <a:pt x="544" y="80"/>
                  </a:lnTo>
                  <a:lnTo>
                    <a:pt x="544" y="78"/>
                  </a:lnTo>
                  <a:lnTo>
                    <a:pt x="546" y="78"/>
                  </a:lnTo>
                  <a:lnTo>
                    <a:pt x="556" y="78"/>
                  </a:lnTo>
                  <a:lnTo>
                    <a:pt x="558" y="78"/>
                  </a:lnTo>
                  <a:lnTo>
                    <a:pt x="560" y="78"/>
                  </a:lnTo>
                  <a:lnTo>
                    <a:pt x="562" y="78"/>
                  </a:lnTo>
                  <a:lnTo>
                    <a:pt x="568" y="76"/>
                  </a:lnTo>
                  <a:lnTo>
                    <a:pt x="570" y="76"/>
                  </a:lnTo>
                  <a:lnTo>
                    <a:pt x="572" y="76"/>
                  </a:lnTo>
                  <a:lnTo>
                    <a:pt x="582" y="76"/>
                  </a:lnTo>
                  <a:lnTo>
                    <a:pt x="584" y="76"/>
                  </a:lnTo>
                  <a:lnTo>
                    <a:pt x="590" y="78"/>
                  </a:lnTo>
                  <a:lnTo>
                    <a:pt x="594" y="78"/>
                  </a:lnTo>
                  <a:lnTo>
                    <a:pt x="600" y="78"/>
                  </a:lnTo>
                  <a:lnTo>
                    <a:pt x="602" y="78"/>
                  </a:lnTo>
                  <a:lnTo>
                    <a:pt x="610" y="76"/>
                  </a:lnTo>
                  <a:lnTo>
                    <a:pt x="616" y="76"/>
                  </a:lnTo>
                  <a:lnTo>
                    <a:pt x="616" y="78"/>
                  </a:lnTo>
                  <a:lnTo>
                    <a:pt x="614" y="80"/>
                  </a:lnTo>
                  <a:lnTo>
                    <a:pt x="612" y="80"/>
                  </a:lnTo>
                  <a:lnTo>
                    <a:pt x="608" y="82"/>
                  </a:lnTo>
                  <a:lnTo>
                    <a:pt x="606" y="82"/>
                  </a:lnTo>
                  <a:lnTo>
                    <a:pt x="604" y="82"/>
                  </a:lnTo>
                  <a:lnTo>
                    <a:pt x="602" y="82"/>
                  </a:lnTo>
                  <a:lnTo>
                    <a:pt x="600" y="82"/>
                  </a:lnTo>
                  <a:lnTo>
                    <a:pt x="596" y="82"/>
                  </a:lnTo>
                  <a:lnTo>
                    <a:pt x="596" y="84"/>
                  </a:lnTo>
                  <a:lnTo>
                    <a:pt x="594" y="84"/>
                  </a:lnTo>
                  <a:lnTo>
                    <a:pt x="594" y="86"/>
                  </a:lnTo>
                  <a:lnTo>
                    <a:pt x="592" y="86"/>
                  </a:lnTo>
                  <a:lnTo>
                    <a:pt x="586" y="86"/>
                  </a:lnTo>
                  <a:lnTo>
                    <a:pt x="582" y="86"/>
                  </a:lnTo>
                  <a:lnTo>
                    <a:pt x="580" y="86"/>
                  </a:lnTo>
                  <a:lnTo>
                    <a:pt x="576" y="86"/>
                  </a:lnTo>
                  <a:lnTo>
                    <a:pt x="574" y="86"/>
                  </a:lnTo>
                  <a:lnTo>
                    <a:pt x="566" y="86"/>
                  </a:lnTo>
                  <a:lnTo>
                    <a:pt x="562" y="86"/>
                  </a:lnTo>
                  <a:lnTo>
                    <a:pt x="556" y="92"/>
                  </a:lnTo>
                  <a:lnTo>
                    <a:pt x="558" y="90"/>
                  </a:lnTo>
                  <a:lnTo>
                    <a:pt x="560" y="90"/>
                  </a:lnTo>
                  <a:lnTo>
                    <a:pt x="562" y="88"/>
                  </a:lnTo>
                  <a:lnTo>
                    <a:pt x="564" y="88"/>
                  </a:lnTo>
                  <a:lnTo>
                    <a:pt x="566" y="92"/>
                  </a:lnTo>
                  <a:lnTo>
                    <a:pt x="564" y="94"/>
                  </a:lnTo>
                  <a:lnTo>
                    <a:pt x="562" y="94"/>
                  </a:lnTo>
                  <a:lnTo>
                    <a:pt x="560" y="94"/>
                  </a:lnTo>
                  <a:lnTo>
                    <a:pt x="558" y="94"/>
                  </a:lnTo>
                  <a:lnTo>
                    <a:pt x="556" y="94"/>
                  </a:lnTo>
                  <a:lnTo>
                    <a:pt x="558" y="102"/>
                  </a:lnTo>
                  <a:lnTo>
                    <a:pt x="560" y="102"/>
                  </a:lnTo>
                  <a:lnTo>
                    <a:pt x="562" y="100"/>
                  </a:lnTo>
                  <a:lnTo>
                    <a:pt x="560" y="98"/>
                  </a:lnTo>
                  <a:lnTo>
                    <a:pt x="560" y="96"/>
                  </a:lnTo>
                  <a:lnTo>
                    <a:pt x="560" y="94"/>
                  </a:lnTo>
                  <a:lnTo>
                    <a:pt x="562" y="94"/>
                  </a:lnTo>
                  <a:lnTo>
                    <a:pt x="562" y="96"/>
                  </a:lnTo>
                  <a:lnTo>
                    <a:pt x="564" y="96"/>
                  </a:lnTo>
                  <a:lnTo>
                    <a:pt x="566" y="94"/>
                  </a:lnTo>
                  <a:lnTo>
                    <a:pt x="568" y="94"/>
                  </a:lnTo>
                  <a:lnTo>
                    <a:pt x="570" y="96"/>
                  </a:lnTo>
                  <a:lnTo>
                    <a:pt x="574" y="100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2" y="112"/>
                  </a:lnTo>
                  <a:lnTo>
                    <a:pt x="568" y="112"/>
                  </a:lnTo>
                  <a:lnTo>
                    <a:pt x="566" y="114"/>
                  </a:lnTo>
                  <a:lnTo>
                    <a:pt x="562" y="112"/>
                  </a:lnTo>
                  <a:lnTo>
                    <a:pt x="562" y="110"/>
                  </a:lnTo>
                  <a:lnTo>
                    <a:pt x="560" y="110"/>
                  </a:lnTo>
                  <a:lnTo>
                    <a:pt x="556" y="110"/>
                  </a:lnTo>
                  <a:lnTo>
                    <a:pt x="558" y="112"/>
                  </a:lnTo>
                  <a:lnTo>
                    <a:pt x="560" y="112"/>
                  </a:lnTo>
                  <a:lnTo>
                    <a:pt x="562" y="112"/>
                  </a:lnTo>
                  <a:lnTo>
                    <a:pt x="564" y="114"/>
                  </a:lnTo>
                  <a:lnTo>
                    <a:pt x="568" y="116"/>
                  </a:lnTo>
                  <a:lnTo>
                    <a:pt x="574" y="114"/>
                  </a:lnTo>
                  <a:lnTo>
                    <a:pt x="576" y="112"/>
                  </a:lnTo>
                  <a:lnTo>
                    <a:pt x="578" y="110"/>
                  </a:lnTo>
                  <a:lnTo>
                    <a:pt x="578" y="108"/>
                  </a:lnTo>
                  <a:lnTo>
                    <a:pt x="578" y="106"/>
                  </a:lnTo>
                  <a:lnTo>
                    <a:pt x="578" y="104"/>
                  </a:lnTo>
                  <a:lnTo>
                    <a:pt x="580" y="104"/>
                  </a:lnTo>
                  <a:lnTo>
                    <a:pt x="582" y="106"/>
                  </a:lnTo>
                  <a:lnTo>
                    <a:pt x="584" y="106"/>
                  </a:lnTo>
                  <a:lnTo>
                    <a:pt x="584" y="108"/>
                  </a:lnTo>
                  <a:lnTo>
                    <a:pt x="586" y="110"/>
                  </a:lnTo>
                  <a:lnTo>
                    <a:pt x="588" y="118"/>
                  </a:lnTo>
                  <a:lnTo>
                    <a:pt x="590" y="122"/>
                  </a:lnTo>
                  <a:lnTo>
                    <a:pt x="594" y="128"/>
                  </a:lnTo>
                  <a:lnTo>
                    <a:pt x="594" y="130"/>
                  </a:lnTo>
                  <a:lnTo>
                    <a:pt x="594" y="132"/>
                  </a:lnTo>
                  <a:lnTo>
                    <a:pt x="596" y="130"/>
                  </a:lnTo>
                  <a:lnTo>
                    <a:pt x="596" y="128"/>
                  </a:lnTo>
                  <a:lnTo>
                    <a:pt x="598" y="126"/>
                  </a:lnTo>
                  <a:lnTo>
                    <a:pt x="598" y="124"/>
                  </a:lnTo>
                  <a:lnTo>
                    <a:pt x="598" y="122"/>
                  </a:lnTo>
                  <a:lnTo>
                    <a:pt x="598" y="120"/>
                  </a:lnTo>
                  <a:lnTo>
                    <a:pt x="598" y="118"/>
                  </a:lnTo>
                  <a:lnTo>
                    <a:pt x="600" y="120"/>
                  </a:lnTo>
                  <a:lnTo>
                    <a:pt x="600" y="124"/>
                  </a:lnTo>
                  <a:lnTo>
                    <a:pt x="602" y="132"/>
                  </a:lnTo>
                  <a:lnTo>
                    <a:pt x="600" y="136"/>
                  </a:lnTo>
                  <a:lnTo>
                    <a:pt x="602" y="134"/>
                  </a:lnTo>
                  <a:lnTo>
                    <a:pt x="602" y="132"/>
                  </a:lnTo>
                  <a:lnTo>
                    <a:pt x="604" y="128"/>
                  </a:lnTo>
                  <a:lnTo>
                    <a:pt x="604" y="124"/>
                  </a:lnTo>
                  <a:lnTo>
                    <a:pt x="610" y="124"/>
                  </a:lnTo>
                  <a:lnTo>
                    <a:pt x="608" y="122"/>
                  </a:lnTo>
                  <a:lnTo>
                    <a:pt x="604" y="120"/>
                  </a:lnTo>
                  <a:lnTo>
                    <a:pt x="602" y="118"/>
                  </a:lnTo>
                  <a:lnTo>
                    <a:pt x="600" y="120"/>
                  </a:lnTo>
                  <a:lnTo>
                    <a:pt x="598" y="118"/>
                  </a:lnTo>
                  <a:lnTo>
                    <a:pt x="600" y="116"/>
                  </a:lnTo>
                  <a:lnTo>
                    <a:pt x="600" y="114"/>
                  </a:lnTo>
                  <a:lnTo>
                    <a:pt x="606" y="116"/>
                  </a:lnTo>
                  <a:lnTo>
                    <a:pt x="608" y="116"/>
                  </a:lnTo>
                  <a:lnTo>
                    <a:pt x="614" y="120"/>
                  </a:lnTo>
                  <a:lnTo>
                    <a:pt x="620" y="128"/>
                  </a:lnTo>
                  <a:lnTo>
                    <a:pt x="626" y="138"/>
                  </a:lnTo>
                  <a:lnTo>
                    <a:pt x="626" y="136"/>
                  </a:lnTo>
                  <a:lnTo>
                    <a:pt x="626" y="134"/>
                  </a:lnTo>
                  <a:lnTo>
                    <a:pt x="626" y="132"/>
                  </a:lnTo>
                  <a:lnTo>
                    <a:pt x="624" y="128"/>
                  </a:lnTo>
                  <a:lnTo>
                    <a:pt x="622" y="128"/>
                  </a:lnTo>
                  <a:lnTo>
                    <a:pt x="622" y="126"/>
                  </a:lnTo>
                  <a:lnTo>
                    <a:pt x="622" y="124"/>
                  </a:lnTo>
                  <a:lnTo>
                    <a:pt x="626" y="126"/>
                  </a:lnTo>
                  <a:lnTo>
                    <a:pt x="628" y="126"/>
                  </a:lnTo>
                  <a:lnTo>
                    <a:pt x="630" y="126"/>
                  </a:lnTo>
                  <a:lnTo>
                    <a:pt x="632" y="126"/>
                  </a:lnTo>
                  <a:lnTo>
                    <a:pt x="634" y="126"/>
                  </a:lnTo>
                  <a:lnTo>
                    <a:pt x="634" y="124"/>
                  </a:lnTo>
                  <a:lnTo>
                    <a:pt x="632" y="124"/>
                  </a:lnTo>
                  <a:lnTo>
                    <a:pt x="630" y="122"/>
                  </a:lnTo>
                  <a:lnTo>
                    <a:pt x="632" y="120"/>
                  </a:lnTo>
                  <a:lnTo>
                    <a:pt x="634" y="122"/>
                  </a:lnTo>
                  <a:lnTo>
                    <a:pt x="636" y="122"/>
                  </a:lnTo>
                  <a:lnTo>
                    <a:pt x="638" y="124"/>
                  </a:lnTo>
                  <a:lnTo>
                    <a:pt x="640" y="126"/>
                  </a:lnTo>
                  <a:lnTo>
                    <a:pt x="642" y="130"/>
                  </a:lnTo>
                  <a:lnTo>
                    <a:pt x="642" y="132"/>
                  </a:lnTo>
                  <a:lnTo>
                    <a:pt x="644" y="132"/>
                  </a:lnTo>
                  <a:lnTo>
                    <a:pt x="652" y="138"/>
                  </a:lnTo>
                  <a:lnTo>
                    <a:pt x="654" y="138"/>
                  </a:lnTo>
                  <a:lnTo>
                    <a:pt x="660" y="138"/>
                  </a:lnTo>
                  <a:lnTo>
                    <a:pt x="662" y="138"/>
                  </a:lnTo>
                  <a:lnTo>
                    <a:pt x="666" y="140"/>
                  </a:lnTo>
                  <a:lnTo>
                    <a:pt x="668" y="140"/>
                  </a:lnTo>
                  <a:lnTo>
                    <a:pt x="674" y="144"/>
                  </a:lnTo>
                  <a:lnTo>
                    <a:pt x="676" y="148"/>
                  </a:lnTo>
                  <a:lnTo>
                    <a:pt x="676" y="152"/>
                  </a:lnTo>
                  <a:lnTo>
                    <a:pt x="674" y="154"/>
                  </a:lnTo>
                  <a:lnTo>
                    <a:pt x="674" y="156"/>
                  </a:lnTo>
                  <a:lnTo>
                    <a:pt x="670" y="156"/>
                  </a:lnTo>
                  <a:lnTo>
                    <a:pt x="666" y="160"/>
                  </a:lnTo>
                  <a:lnTo>
                    <a:pt x="662" y="162"/>
                  </a:lnTo>
                  <a:lnTo>
                    <a:pt x="660" y="164"/>
                  </a:lnTo>
                  <a:lnTo>
                    <a:pt x="660" y="166"/>
                  </a:lnTo>
                  <a:lnTo>
                    <a:pt x="662" y="166"/>
                  </a:lnTo>
                  <a:lnTo>
                    <a:pt x="662" y="164"/>
                  </a:lnTo>
                  <a:lnTo>
                    <a:pt x="666" y="160"/>
                  </a:lnTo>
                  <a:lnTo>
                    <a:pt x="668" y="160"/>
                  </a:lnTo>
                  <a:lnTo>
                    <a:pt x="664" y="168"/>
                  </a:lnTo>
                  <a:lnTo>
                    <a:pt x="662" y="170"/>
                  </a:lnTo>
                  <a:lnTo>
                    <a:pt x="660" y="172"/>
                  </a:lnTo>
                  <a:lnTo>
                    <a:pt x="658" y="176"/>
                  </a:lnTo>
                  <a:lnTo>
                    <a:pt x="656" y="184"/>
                  </a:lnTo>
                  <a:lnTo>
                    <a:pt x="656" y="186"/>
                  </a:lnTo>
                  <a:lnTo>
                    <a:pt x="656" y="190"/>
                  </a:lnTo>
                  <a:lnTo>
                    <a:pt x="654" y="192"/>
                  </a:lnTo>
                  <a:lnTo>
                    <a:pt x="652" y="192"/>
                  </a:lnTo>
                  <a:lnTo>
                    <a:pt x="648" y="192"/>
                  </a:lnTo>
                  <a:lnTo>
                    <a:pt x="642" y="192"/>
                  </a:lnTo>
                  <a:lnTo>
                    <a:pt x="638" y="192"/>
                  </a:lnTo>
                  <a:lnTo>
                    <a:pt x="636" y="192"/>
                  </a:lnTo>
                  <a:lnTo>
                    <a:pt x="634" y="190"/>
                  </a:lnTo>
                  <a:lnTo>
                    <a:pt x="634" y="194"/>
                  </a:lnTo>
                  <a:lnTo>
                    <a:pt x="640" y="196"/>
                  </a:lnTo>
                  <a:lnTo>
                    <a:pt x="644" y="198"/>
                  </a:lnTo>
                  <a:lnTo>
                    <a:pt x="648" y="200"/>
                  </a:lnTo>
                  <a:lnTo>
                    <a:pt x="654" y="198"/>
                  </a:lnTo>
                  <a:lnTo>
                    <a:pt x="656" y="198"/>
                  </a:lnTo>
                  <a:lnTo>
                    <a:pt x="662" y="198"/>
                  </a:lnTo>
                  <a:lnTo>
                    <a:pt x="662" y="200"/>
                  </a:lnTo>
                  <a:lnTo>
                    <a:pt x="662" y="202"/>
                  </a:lnTo>
                  <a:lnTo>
                    <a:pt x="666" y="198"/>
                  </a:lnTo>
                  <a:lnTo>
                    <a:pt x="666" y="196"/>
                  </a:lnTo>
                  <a:lnTo>
                    <a:pt x="668" y="194"/>
                  </a:lnTo>
                  <a:lnTo>
                    <a:pt x="672" y="192"/>
                  </a:lnTo>
                  <a:lnTo>
                    <a:pt x="682" y="190"/>
                  </a:lnTo>
                  <a:lnTo>
                    <a:pt x="684" y="192"/>
                  </a:lnTo>
                  <a:lnTo>
                    <a:pt x="686" y="194"/>
                  </a:lnTo>
                  <a:lnTo>
                    <a:pt x="694" y="196"/>
                  </a:lnTo>
                  <a:lnTo>
                    <a:pt x="696" y="192"/>
                  </a:lnTo>
                  <a:lnTo>
                    <a:pt x="698" y="190"/>
                  </a:lnTo>
                  <a:lnTo>
                    <a:pt x="708" y="190"/>
                  </a:lnTo>
                  <a:lnTo>
                    <a:pt x="712" y="190"/>
                  </a:lnTo>
                  <a:lnTo>
                    <a:pt x="718" y="194"/>
                  </a:lnTo>
                  <a:lnTo>
                    <a:pt x="720" y="194"/>
                  </a:lnTo>
                  <a:lnTo>
                    <a:pt x="720" y="196"/>
                  </a:lnTo>
                  <a:lnTo>
                    <a:pt x="726" y="202"/>
                  </a:lnTo>
                  <a:lnTo>
                    <a:pt x="730" y="206"/>
                  </a:lnTo>
                  <a:lnTo>
                    <a:pt x="730" y="208"/>
                  </a:lnTo>
                  <a:lnTo>
                    <a:pt x="728" y="210"/>
                  </a:lnTo>
                  <a:lnTo>
                    <a:pt x="726" y="212"/>
                  </a:lnTo>
                  <a:lnTo>
                    <a:pt x="724" y="212"/>
                  </a:lnTo>
                  <a:lnTo>
                    <a:pt x="722" y="214"/>
                  </a:lnTo>
                  <a:lnTo>
                    <a:pt x="720" y="216"/>
                  </a:lnTo>
                  <a:lnTo>
                    <a:pt x="720" y="220"/>
                  </a:lnTo>
                  <a:lnTo>
                    <a:pt x="718" y="222"/>
                  </a:lnTo>
                  <a:lnTo>
                    <a:pt x="716" y="222"/>
                  </a:lnTo>
                  <a:lnTo>
                    <a:pt x="714" y="222"/>
                  </a:lnTo>
                  <a:lnTo>
                    <a:pt x="706" y="22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0" name="Freeform 270"/>
            <p:cNvSpPr>
              <a:spLocks/>
            </p:cNvSpPr>
            <p:nvPr/>
          </p:nvSpPr>
          <p:spPr bwMode="auto">
            <a:xfrm>
              <a:off x="2816" y="378"/>
              <a:ext cx="32" cy="18"/>
            </a:xfrm>
            <a:custGeom>
              <a:avLst/>
              <a:gdLst/>
              <a:ahLst/>
              <a:cxnLst>
                <a:cxn ang="0">
                  <a:pos x="20" y="18"/>
                </a:cxn>
                <a:cxn ang="0">
                  <a:pos x="16" y="14"/>
                </a:cxn>
                <a:cxn ang="0">
                  <a:pos x="14" y="14"/>
                </a:cxn>
                <a:cxn ang="0">
                  <a:pos x="12" y="12"/>
                </a:cxn>
                <a:cxn ang="0">
                  <a:pos x="12" y="14"/>
                </a:cxn>
                <a:cxn ang="0">
                  <a:pos x="10" y="14"/>
                </a:cxn>
                <a:cxn ang="0">
                  <a:pos x="4" y="14"/>
                </a:cxn>
                <a:cxn ang="0">
                  <a:pos x="0" y="12"/>
                </a:cxn>
                <a:cxn ang="0">
                  <a:pos x="2" y="8"/>
                </a:cxn>
                <a:cxn ang="0">
                  <a:pos x="10" y="6"/>
                </a:cxn>
                <a:cxn ang="0">
                  <a:pos x="12" y="6"/>
                </a:cxn>
                <a:cxn ang="0">
                  <a:pos x="12" y="8"/>
                </a:cxn>
                <a:cxn ang="0">
                  <a:pos x="16" y="10"/>
                </a:cxn>
                <a:cxn ang="0">
                  <a:pos x="18" y="12"/>
                </a:cxn>
                <a:cxn ang="0">
                  <a:pos x="20" y="12"/>
                </a:cxn>
                <a:cxn ang="0">
                  <a:pos x="22" y="10"/>
                </a:cxn>
                <a:cxn ang="0">
                  <a:pos x="24" y="6"/>
                </a:cxn>
                <a:cxn ang="0">
                  <a:pos x="26" y="4"/>
                </a:cxn>
                <a:cxn ang="0">
                  <a:pos x="28" y="0"/>
                </a:cxn>
                <a:cxn ang="0">
                  <a:pos x="30" y="4"/>
                </a:cxn>
                <a:cxn ang="0">
                  <a:pos x="32" y="10"/>
                </a:cxn>
                <a:cxn ang="0">
                  <a:pos x="32" y="12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20" y="18"/>
                </a:cxn>
              </a:cxnLst>
              <a:rect l="0" t="0" r="r" b="b"/>
              <a:pathLst>
                <a:path w="32" h="18">
                  <a:moveTo>
                    <a:pt x="20" y="18"/>
                  </a:moveTo>
                  <a:lnTo>
                    <a:pt x="16" y="14"/>
                  </a:lnTo>
                  <a:lnTo>
                    <a:pt x="14" y="14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0" y="14"/>
                  </a:lnTo>
                  <a:lnTo>
                    <a:pt x="4" y="14"/>
                  </a:lnTo>
                  <a:lnTo>
                    <a:pt x="0" y="12"/>
                  </a:lnTo>
                  <a:lnTo>
                    <a:pt x="2" y="8"/>
                  </a:lnTo>
                  <a:lnTo>
                    <a:pt x="10" y="6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6" y="10"/>
                  </a:lnTo>
                  <a:lnTo>
                    <a:pt x="18" y="12"/>
                  </a:lnTo>
                  <a:lnTo>
                    <a:pt x="20" y="12"/>
                  </a:lnTo>
                  <a:lnTo>
                    <a:pt x="22" y="10"/>
                  </a:lnTo>
                  <a:lnTo>
                    <a:pt x="24" y="6"/>
                  </a:lnTo>
                  <a:lnTo>
                    <a:pt x="26" y="4"/>
                  </a:lnTo>
                  <a:lnTo>
                    <a:pt x="28" y="0"/>
                  </a:lnTo>
                  <a:lnTo>
                    <a:pt x="30" y="4"/>
                  </a:lnTo>
                  <a:lnTo>
                    <a:pt x="32" y="10"/>
                  </a:lnTo>
                  <a:lnTo>
                    <a:pt x="32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1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1" name="Freeform 271"/>
            <p:cNvSpPr>
              <a:spLocks/>
            </p:cNvSpPr>
            <p:nvPr/>
          </p:nvSpPr>
          <p:spPr bwMode="auto">
            <a:xfrm>
              <a:off x="2762" y="390"/>
              <a:ext cx="12" cy="4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2"/>
                </a:cxn>
                <a:cxn ang="0">
                  <a:pos x="12" y="4"/>
                </a:cxn>
                <a:cxn ang="0">
                  <a:pos x="8" y="4"/>
                </a:cxn>
              </a:cxnLst>
              <a:rect l="0" t="0" r="r" b="b"/>
              <a:pathLst>
                <a:path w="12" h="4">
                  <a:moveTo>
                    <a:pt x="8" y="4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162" name="Freeform 273"/>
          <p:cNvSpPr>
            <a:spLocks/>
          </p:cNvSpPr>
          <p:nvPr/>
        </p:nvSpPr>
        <p:spPr bwMode="auto">
          <a:xfrm>
            <a:off x="4442452" y="1489428"/>
            <a:ext cx="11113" cy="12700"/>
          </a:xfrm>
          <a:custGeom>
            <a:avLst/>
            <a:gdLst/>
            <a:ahLst/>
            <a:cxnLst>
              <a:cxn ang="0">
                <a:pos x="6" y="8"/>
              </a:cxn>
              <a:cxn ang="0">
                <a:pos x="4" y="8"/>
              </a:cxn>
              <a:cxn ang="0">
                <a:pos x="0" y="10"/>
              </a:cxn>
              <a:cxn ang="0">
                <a:pos x="4" y="0"/>
              </a:cxn>
              <a:cxn ang="0">
                <a:pos x="6" y="0"/>
              </a:cxn>
              <a:cxn ang="0">
                <a:pos x="8" y="0"/>
              </a:cxn>
              <a:cxn ang="0">
                <a:pos x="10" y="0"/>
              </a:cxn>
              <a:cxn ang="0">
                <a:pos x="10" y="2"/>
              </a:cxn>
              <a:cxn ang="0">
                <a:pos x="10" y="4"/>
              </a:cxn>
              <a:cxn ang="0">
                <a:pos x="8" y="6"/>
              </a:cxn>
              <a:cxn ang="0">
                <a:pos x="6" y="8"/>
              </a:cxn>
            </a:cxnLst>
            <a:rect l="0" t="0" r="r" b="b"/>
            <a:pathLst>
              <a:path w="10" h="10">
                <a:moveTo>
                  <a:pt x="6" y="8"/>
                </a:moveTo>
                <a:lnTo>
                  <a:pt x="4" y="8"/>
                </a:lnTo>
                <a:lnTo>
                  <a:pt x="0" y="10"/>
                </a:lnTo>
                <a:lnTo>
                  <a:pt x="4" y="0"/>
                </a:lnTo>
                <a:lnTo>
                  <a:pt x="6" y="0"/>
                </a:lnTo>
                <a:lnTo>
                  <a:pt x="8" y="0"/>
                </a:lnTo>
                <a:lnTo>
                  <a:pt x="10" y="0"/>
                </a:lnTo>
                <a:lnTo>
                  <a:pt x="10" y="2"/>
                </a:lnTo>
                <a:lnTo>
                  <a:pt x="10" y="4"/>
                </a:lnTo>
                <a:lnTo>
                  <a:pt x="8" y="6"/>
                </a:lnTo>
                <a:lnTo>
                  <a:pt x="6" y="8"/>
                </a:lnTo>
                <a:close/>
              </a:path>
            </a:pathLst>
          </a:custGeom>
          <a:solidFill>
            <a:srgbClr val="C4E0DD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63" name="Freeform 274"/>
          <p:cNvSpPr>
            <a:spLocks/>
          </p:cNvSpPr>
          <p:nvPr/>
        </p:nvSpPr>
        <p:spPr bwMode="auto">
          <a:xfrm>
            <a:off x="4431381" y="1502204"/>
            <a:ext cx="22225" cy="11113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0" y="6"/>
              </a:cxn>
              <a:cxn ang="0">
                <a:pos x="2" y="6"/>
              </a:cxn>
              <a:cxn ang="0">
                <a:pos x="4" y="4"/>
              </a:cxn>
              <a:cxn ang="0">
                <a:pos x="6" y="2"/>
              </a:cxn>
              <a:cxn ang="0">
                <a:pos x="8" y="0"/>
              </a:cxn>
              <a:cxn ang="0">
                <a:pos x="18" y="0"/>
              </a:cxn>
              <a:cxn ang="0">
                <a:pos x="12" y="4"/>
              </a:cxn>
              <a:cxn ang="0">
                <a:pos x="12" y="6"/>
              </a:cxn>
              <a:cxn ang="0">
                <a:pos x="10" y="6"/>
              </a:cxn>
              <a:cxn ang="0">
                <a:pos x="6" y="6"/>
              </a:cxn>
              <a:cxn ang="0">
                <a:pos x="4" y="8"/>
              </a:cxn>
              <a:cxn ang="0">
                <a:pos x="2" y="8"/>
              </a:cxn>
              <a:cxn ang="0">
                <a:pos x="0" y="8"/>
              </a:cxn>
            </a:cxnLst>
            <a:rect l="0" t="0" r="r" b="b"/>
            <a:pathLst>
              <a:path w="18" h="8">
                <a:moveTo>
                  <a:pt x="0" y="8"/>
                </a:moveTo>
                <a:lnTo>
                  <a:pt x="0" y="6"/>
                </a:lnTo>
                <a:lnTo>
                  <a:pt x="2" y="6"/>
                </a:lnTo>
                <a:lnTo>
                  <a:pt x="4" y="4"/>
                </a:lnTo>
                <a:lnTo>
                  <a:pt x="6" y="2"/>
                </a:lnTo>
                <a:lnTo>
                  <a:pt x="8" y="0"/>
                </a:lnTo>
                <a:lnTo>
                  <a:pt x="18" y="0"/>
                </a:lnTo>
                <a:lnTo>
                  <a:pt x="12" y="4"/>
                </a:lnTo>
                <a:lnTo>
                  <a:pt x="12" y="6"/>
                </a:lnTo>
                <a:lnTo>
                  <a:pt x="10" y="6"/>
                </a:lnTo>
                <a:lnTo>
                  <a:pt x="6" y="6"/>
                </a:lnTo>
                <a:lnTo>
                  <a:pt x="4" y="8"/>
                </a:lnTo>
                <a:lnTo>
                  <a:pt x="2" y="8"/>
                </a:lnTo>
                <a:lnTo>
                  <a:pt x="0" y="8"/>
                </a:lnTo>
                <a:close/>
              </a:path>
            </a:pathLst>
          </a:custGeom>
          <a:solidFill>
            <a:srgbClr val="C4E0DD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64" name="Freeform 275"/>
          <p:cNvSpPr>
            <a:spLocks/>
          </p:cNvSpPr>
          <p:nvPr/>
        </p:nvSpPr>
        <p:spPr bwMode="auto">
          <a:xfrm>
            <a:off x="4444045" y="1510142"/>
            <a:ext cx="12700" cy="7937"/>
          </a:xfrm>
          <a:custGeom>
            <a:avLst/>
            <a:gdLst/>
            <a:ahLst/>
            <a:cxnLst>
              <a:cxn ang="0">
                <a:pos x="4" y="6"/>
              </a:cxn>
              <a:cxn ang="0">
                <a:pos x="2" y="6"/>
              </a:cxn>
              <a:cxn ang="0">
                <a:pos x="0" y="6"/>
              </a:cxn>
              <a:cxn ang="0">
                <a:pos x="8" y="0"/>
              </a:cxn>
              <a:cxn ang="0">
                <a:pos x="10" y="0"/>
              </a:cxn>
              <a:cxn ang="0">
                <a:pos x="10" y="2"/>
              </a:cxn>
              <a:cxn ang="0">
                <a:pos x="10" y="4"/>
              </a:cxn>
              <a:cxn ang="0">
                <a:pos x="8" y="4"/>
              </a:cxn>
              <a:cxn ang="0">
                <a:pos x="4" y="6"/>
              </a:cxn>
            </a:cxnLst>
            <a:rect l="0" t="0" r="r" b="b"/>
            <a:pathLst>
              <a:path w="10" h="6">
                <a:moveTo>
                  <a:pt x="4" y="6"/>
                </a:moveTo>
                <a:lnTo>
                  <a:pt x="2" y="6"/>
                </a:lnTo>
                <a:lnTo>
                  <a:pt x="0" y="6"/>
                </a:lnTo>
                <a:lnTo>
                  <a:pt x="8" y="0"/>
                </a:lnTo>
                <a:lnTo>
                  <a:pt x="10" y="0"/>
                </a:lnTo>
                <a:lnTo>
                  <a:pt x="10" y="2"/>
                </a:lnTo>
                <a:lnTo>
                  <a:pt x="10" y="4"/>
                </a:lnTo>
                <a:lnTo>
                  <a:pt x="8" y="4"/>
                </a:lnTo>
                <a:lnTo>
                  <a:pt x="4" y="6"/>
                </a:lnTo>
                <a:close/>
              </a:path>
            </a:pathLst>
          </a:custGeom>
          <a:solidFill>
            <a:srgbClr val="C4E0DD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65" name="Freeform 276"/>
          <p:cNvSpPr>
            <a:spLocks/>
          </p:cNvSpPr>
          <p:nvPr/>
        </p:nvSpPr>
        <p:spPr bwMode="auto">
          <a:xfrm>
            <a:off x="4431342" y="1510142"/>
            <a:ext cx="17462" cy="7937"/>
          </a:xfrm>
          <a:custGeom>
            <a:avLst/>
            <a:gdLst/>
            <a:ahLst/>
            <a:cxnLst>
              <a:cxn ang="0">
                <a:pos x="8" y="6"/>
              </a:cxn>
              <a:cxn ang="0">
                <a:pos x="6" y="6"/>
              </a:cxn>
              <a:cxn ang="0">
                <a:pos x="2" y="4"/>
              </a:cxn>
              <a:cxn ang="0">
                <a:pos x="0" y="4"/>
              </a:cxn>
              <a:cxn ang="0">
                <a:pos x="4" y="2"/>
              </a:cxn>
              <a:cxn ang="0">
                <a:pos x="8" y="0"/>
              </a:cxn>
              <a:cxn ang="0">
                <a:pos x="14" y="0"/>
              </a:cxn>
              <a:cxn ang="0">
                <a:pos x="12" y="2"/>
              </a:cxn>
              <a:cxn ang="0">
                <a:pos x="10" y="4"/>
              </a:cxn>
              <a:cxn ang="0">
                <a:pos x="8" y="4"/>
              </a:cxn>
              <a:cxn ang="0">
                <a:pos x="8" y="6"/>
              </a:cxn>
            </a:cxnLst>
            <a:rect l="0" t="0" r="r" b="b"/>
            <a:pathLst>
              <a:path w="14" h="6">
                <a:moveTo>
                  <a:pt x="8" y="6"/>
                </a:moveTo>
                <a:lnTo>
                  <a:pt x="6" y="6"/>
                </a:lnTo>
                <a:lnTo>
                  <a:pt x="2" y="4"/>
                </a:lnTo>
                <a:lnTo>
                  <a:pt x="0" y="4"/>
                </a:lnTo>
                <a:lnTo>
                  <a:pt x="4" y="2"/>
                </a:lnTo>
                <a:lnTo>
                  <a:pt x="8" y="0"/>
                </a:lnTo>
                <a:lnTo>
                  <a:pt x="14" y="0"/>
                </a:lnTo>
                <a:lnTo>
                  <a:pt x="12" y="2"/>
                </a:lnTo>
                <a:lnTo>
                  <a:pt x="10" y="4"/>
                </a:lnTo>
                <a:lnTo>
                  <a:pt x="8" y="4"/>
                </a:lnTo>
                <a:lnTo>
                  <a:pt x="8" y="6"/>
                </a:lnTo>
                <a:close/>
              </a:path>
            </a:pathLst>
          </a:custGeom>
          <a:solidFill>
            <a:srgbClr val="C4E0DD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66" name="Freeform 277"/>
          <p:cNvSpPr>
            <a:spLocks/>
          </p:cNvSpPr>
          <p:nvPr/>
        </p:nvSpPr>
        <p:spPr bwMode="auto">
          <a:xfrm>
            <a:off x="4426577" y="1518079"/>
            <a:ext cx="17463" cy="9525"/>
          </a:xfrm>
          <a:custGeom>
            <a:avLst/>
            <a:gdLst/>
            <a:ahLst/>
            <a:cxnLst>
              <a:cxn ang="0">
                <a:pos x="6" y="8"/>
              </a:cxn>
              <a:cxn ang="0">
                <a:pos x="4" y="6"/>
              </a:cxn>
              <a:cxn ang="0">
                <a:pos x="0" y="6"/>
              </a:cxn>
              <a:cxn ang="0">
                <a:pos x="0" y="4"/>
              </a:cxn>
              <a:cxn ang="0">
                <a:pos x="2" y="4"/>
              </a:cxn>
              <a:cxn ang="0">
                <a:pos x="4" y="4"/>
              </a:cxn>
              <a:cxn ang="0">
                <a:pos x="6" y="4"/>
              </a:cxn>
              <a:cxn ang="0">
                <a:pos x="10" y="0"/>
              </a:cxn>
              <a:cxn ang="0">
                <a:pos x="12" y="0"/>
              </a:cxn>
              <a:cxn ang="0">
                <a:pos x="14" y="2"/>
              </a:cxn>
              <a:cxn ang="0">
                <a:pos x="14" y="4"/>
              </a:cxn>
              <a:cxn ang="0">
                <a:pos x="12" y="6"/>
              </a:cxn>
              <a:cxn ang="0">
                <a:pos x="6" y="8"/>
              </a:cxn>
            </a:cxnLst>
            <a:rect l="0" t="0" r="r" b="b"/>
            <a:pathLst>
              <a:path w="14" h="8">
                <a:moveTo>
                  <a:pt x="6" y="8"/>
                </a:moveTo>
                <a:lnTo>
                  <a:pt x="4" y="6"/>
                </a:lnTo>
                <a:lnTo>
                  <a:pt x="0" y="6"/>
                </a:lnTo>
                <a:lnTo>
                  <a:pt x="0" y="4"/>
                </a:lnTo>
                <a:lnTo>
                  <a:pt x="2" y="4"/>
                </a:lnTo>
                <a:lnTo>
                  <a:pt x="4" y="4"/>
                </a:lnTo>
                <a:lnTo>
                  <a:pt x="6" y="4"/>
                </a:lnTo>
                <a:lnTo>
                  <a:pt x="10" y="0"/>
                </a:lnTo>
                <a:lnTo>
                  <a:pt x="12" y="0"/>
                </a:lnTo>
                <a:lnTo>
                  <a:pt x="14" y="2"/>
                </a:lnTo>
                <a:lnTo>
                  <a:pt x="14" y="4"/>
                </a:lnTo>
                <a:lnTo>
                  <a:pt x="12" y="6"/>
                </a:lnTo>
                <a:lnTo>
                  <a:pt x="6" y="8"/>
                </a:lnTo>
                <a:close/>
              </a:path>
            </a:pathLst>
          </a:custGeom>
          <a:solidFill>
            <a:srgbClr val="C4E0DD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67" name="Freeform 278"/>
          <p:cNvSpPr>
            <a:spLocks/>
          </p:cNvSpPr>
          <p:nvPr/>
        </p:nvSpPr>
        <p:spPr bwMode="auto">
          <a:xfrm>
            <a:off x="3121693" y="2119742"/>
            <a:ext cx="823913" cy="1266825"/>
          </a:xfrm>
          <a:custGeom>
            <a:avLst/>
            <a:gdLst/>
            <a:ahLst/>
            <a:cxnLst>
              <a:cxn ang="0">
                <a:pos x="674" y="658"/>
              </a:cxn>
              <a:cxn ang="0">
                <a:pos x="666" y="712"/>
              </a:cxn>
              <a:cxn ang="0">
                <a:pos x="666" y="768"/>
              </a:cxn>
              <a:cxn ang="0">
                <a:pos x="648" y="814"/>
              </a:cxn>
              <a:cxn ang="0">
                <a:pos x="664" y="876"/>
              </a:cxn>
              <a:cxn ang="0">
                <a:pos x="652" y="906"/>
              </a:cxn>
              <a:cxn ang="0">
                <a:pos x="628" y="952"/>
              </a:cxn>
              <a:cxn ang="0">
                <a:pos x="610" y="986"/>
              </a:cxn>
              <a:cxn ang="0">
                <a:pos x="576" y="984"/>
              </a:cxn>
              <a:cxn ang="0">
                <a:pos x="536" y="946"/>
              </a:cxn>
              <a:cxn ang="0">
                <a:pos x="506" y="922"/>
              </a:cxn>
              <a:cxn ang="0">
                <a:pos x="462" y="898"/>
              </a:cxn>
              <a:cxn ang="0">
                <a:pos x="400" y="866"/>
              </a:cxn>
              <a:cxn ang="0">
                <a:pos x="348" y="838"/>
              </a:cxn>
              <a:cxn ang="0">
                <a:pos x="302" y="796"/>
              </a:cxn>
              <a:cxn ang="0">
                <a:pos x="272" y="752"/>
              </a:cxn>
              <a:cxn ang="0">
                <a:pos x="272" y="712"/>
              </a:cxn>
              <a:cxn ang="0">
                <a:pos x="248" y="668"/>
              </a:cxn>
              <a:cxn ang="0">
                <a:pos x="218" y="620"/>
              </a:cxn>
              <a:cxn ang="0">
                <a:pos x="190" y="574"/>
              </a:cxn>
              <a:cxn ang="0">
                <a:pos x="160" y="506"/>
              </a:cxn>
              <a:cxn ang="0">
                <a:pos x="142" y="464"/>
              </a:cxn>
              <a:cxn ang="0">
                <a:pos x="104" y="416"/>
              </a:cxn>
              <a:cxn ang="0">
                <a:pos x="88" y="382"/>
              </a:cxn>
              <a:cxn ang="0">
                <a:pos x="44" y="346"/>
              </a:cxn>
              <a:cxn ang="0">
                <a:pos x="18" y="316"/>
              </a:cxn>
              <a:cxn ang="0">
                <a:pos x="14" y="286"/>
              </a:cxn>
              <a:cxn ang="0">
                <a:pos x="4" y="234"/>
              </a:cxn>
              <a:cxn ang="0">
                <a:pos x="36" y="196"/>
              </a:cxn>
              <a:cxn ang="0">
                <a:pos x="60" y="188"/>
              </a:cxn>
              <a:cxn ang="0">
                <a:pos x="48" y="226"/>
              </a:cxn>
              <a:cxn ang="0">
                <a:pos x="60" y="234"/>
              </a:cxn>
              <a:cxn ang="0">
                <a:pos x="98" y="246"/>
              </a:cxn>
              <a:cxn ang="0">
                <a:pos x="132" y="258"/>
              </a:cxn>
              <a:cxn ang="0">
                <a:pos x="144" y="232"/>
              </a:cxn>
              <a:cxn ang="0">
                <a:pos x="160" y="196"/>
              </a:cxn>
              <a:cxn ang="0">
                <a:pos x="168" y="180"/>
              </a:cxn>
              <a:cxn ang="0">
                <a:pos x="240" y="142"/>
              </a:cxn>
              <a:cxn ang="0">
                <a:pos x="320" y="48"/>
              </a:cxn>
              <a:cxn ang="0">
                <a:pos x="320" y="20"/>
              </a:cxn>
              <a:cxn ang="0">
                <a:pos x="330" y="4"/>
              </a:cxn>
              <a:cxn ang="0">
                <a:pos x="362" y="20"/>
              </a:cxn>
              <a:cxn ang="0">
                <a:pos x="386" y="54"/>
              </a:cxn>
              <a:cxn ang="0">
                <a:pos x="424" y="94"/>
              </a:cxn>
              <a:cxn ang="0">
                <a:pos x="450" y="128"/>
              </a:cxn>
              <a:cxn ang="0">
                <a:pos x="512" y="126"/>
              </a:cxn>
              <a:cxn ang="0">
                <a:pos x="568" y="118"/>
              </a:cxn>
              <a:cxn ang="0">
                <a:pos x="590" y="176"/>
              </a:cxn>
              <a:cxn ang="0">
                <a:pos x="600" y="208"/>
              </a:cxn>
              <a:cxn ang="0">
                <a:pos x="600" y="230"/>
              </a:cxn>
              <a:cxn ang="0">
                <a:pos x="566" y="230"/>
              </a:cxn>
              <a:cxn ang="0">
                <a:pos x="492" y="256"/>
              </a:cxn>
              <a:cxn ang="0">
                <a:pos x="454" y="292"/>
              </a:cxn>
              <a:cxn ang="0">
                <a:pos x="444" y="344"/>
              </a:cxn>
              <a:cxn ang="0">
                <a:pos x="410" y="384"/>
              </a:cxn>
              <a:cxn ang="0">
                <a:pos x="412" y="418"/>
              </a:cxn>
              <a:cxn ang="0">
                <a:pos x="426" y="454"/>
              </a:cxn>
              <a:cxn ang="0">
                <a:pos x="454" y="488"/>
              </a:cxn>
              <a:cxn ang="0">
                <a:pos x="484" y="512"/>
              </a:cxn>
              <a:cxn ang="0">
                <a:pos x="508" y="540"/>
              </a:cxn>
              <a:cxn ang="0">
                <a:pos x="580" y="510"/>
              </a:cxn>
              <a:cxn ang="0">
                <a:pos x="578" y="558"/>
              </a:cxn>
              <a:cxn ang="0">
                <a:pos x="594" y="598"/>
              </a:cxn>
            </a:cxnLst>
            <a:rect l="0" t="0" r="r" b="b"/>
            <a:pathLst>
              <a:path w="682" h="992">
                <a:moveTo>
                  <a:pt x="634" y="590"/>
                </a:moveTo>
                <a:lnTo>
                  <a:pt x="638" y="598"/>
                </a:lnTo>
                <a:lnTo>
                  <a:pt x="642" y="602"/>
                </a:lnTo>
                <a:lnTo>
                  <a:pt x="652" y="620"/>
                </a:lnTo>
                <a:lnTo>
                  <a:pt x="654" y="622"/>
                </a:lnTo>
                <a:lnTo>
                  <a:pt x="656" y="626"/>
                </a:lnTo>
                <a:lnTo>
                  <a:pt x="662" y="636"/>
                </a:lnTo>
                <a:lnTo>
                  <a:pt x="662" y="638"/>
                </a:lnTo>
                <a:lnTo>
                  <a:pt x="664" y="640"/>
                </a:lnTo>
                <a:lnTo>
                  <a:pt x="666" y="642"/>
                </a:lnTo>
                <a:lnTo>
                  <a:pt x="666" y="644"/>
                </a:lnTo>
                <a:lnTo>
                  <a:pt x="668" y="648"/>
                </a:lnTo>
                <a:lnTo>
                  <a:pt x="672" y="654"/>
                </a:lnTo>
                <a:lnTo>
                  <a:pt x="674" y="658"/>
                </a:lnTo>
                <a:lnTo>
                  <a:pt x="678" y="668"/>
                </a:lnTo>
                <a:lnTo>
                  <a:pt x="680" y="668"/>
                </a:lnTo>
                <a:lnTo>
                  <a:pt x="680" y="674"/>
                </a:lnTo>
                <a:lnTo>
                  <a:pt x="682" y="676"/>
                </a:lnTo>
                <a:lnTo>
                  <a:pt x="678" y="680"/>
                </a:lnTo>
                <a:lnTo>
                  <a:pt x="678" y="682"/>
                </a:lnTo>
                <a:lnTo>
                  <a:pt x="674" y="688"/>
                </a:lnTo>
                <a:lnTo>
                  <a:pt x="670" y="690"/>
                </a:lnTo>
                <a:lnTo>
                  <a:pt x="668" y="692"/>
                </a:lnTo>
                <a:lnTo>
                  <a:pt x="666" y="694"/>
                </a:lnTo>
                <a:lnTo>
                  <a:pt x="666" y="702"/>
                </a:lnTo>
                <a:lnTo>
                  <a:pt x="666" y="704"/>
                </a:lnTo>
                <a:lnTo>
                  <a:pt x="666" y="708"/>
                </a:lnTo>
                <a:lnTo>
                  <a:pt x="666" y="712"/>
                </a:lnTo>
                <a:lnTo>
                  <a:pt x="666" y="716"/>
                </a:lnTo>
                <a:lnTo>
                  <a:pt x="666" y="728"/>
                </a:lnTo>
                <a:lnTo>
                  <a:pt x="666" y="730"/>
                </a:lnTo>
                <a:lnTo>
                  <a:pt x="664" y="732"/>
                </a:lnTo>
                <a:lnTo>
                  <a:pt x="662" y="736"/>
                </a:lnTo>
                <a:lnTo>
                  <a:pt x="660" y="740"/>
                </a:lnTo>
                <a:lnTo>
                  <a:pt x="662" y="746"/>
                </a:lnTo>
                <a:lnTo>
                  <a:pt x="664" y="748"/>
                </a:lnTo>
                <a:lnTo>
                  <a:pt x="664" y="754"/>
                </a:lnTo>
                <a:lnTo>
                  <a:pt x="666" y="756"/>
                </a:lnTo>
                <a:lnTo>
                  <a:pt x="668" y="758"/>
                </a:lnTo>
                <a:lnTo>
                  <a:pt x="672" y="768"/>
                </a:lnTo>
                <a:lnTo>
                  <a:pt x="668" y="768"/>
                </a:lnTo>
                <a:lnTo>
                  <a:pt x="666" y="768"/>
                </a:lnTo>
                <a:lnTo>
                  <a:pt x="664" y="768"/>
                </a:lnTo>
                <a:lnTo>
                  <a:pt x="664" y="770"/>
                </a:lnTo>
                <a:lnTo>
                  <a:pt x="664" y="774"/>
                </a:lnTo>
                <a:lnTo>
                  <a:pt x="664" y="776"/>
                </a:lnTo>
                <a:lnTo>
                  <a:pt x="658" y="782"/>
                </a:lnTo>
                <a:lnTo>
                  <a:pt x="650" y="788"/>
                </a:lnTo>
                <a:lnTo>
                  <a:pt x="650" y="790"/>
                </a:lnTo>
                <a:lnTo>
                  <a:pt x="650" y="792"/>
                </a:lnTo>
                <a:lnTo>
                  <a:pt x="650" y="794"/>
                </a:lnTo>
                <a:lnTo>
                  <a:pt x="646" y="798"/>
                </a:lnTo>
                <a:lnTo>
                  <a:pt x="644" y="798"/>
                </a:lnTo>
                <a:lnTo>
                  <a:pt x="644" y="800"/>
                </a:lnTo>
                <a:lnTo>
                  <a:pt x="644" y="808"/>
                </a:lnTo>
                <a:lnTo>
                  <a:pt x="648" y="814"/>
                </a:lnTo>
                <a:lnTo>
                  <a:pt x="652" y="820"/>
                </a:lnTo>
                <a:lnTo>
                  <a:pt x="654" y="822"/>
                </a:lnTo>
                <a:lnTo>
                  <a:pt x="656" y="824"/>
                </a:lnTo>
                <a:lnTo>
                  <a:pt x="654" y="824"/>
                </a:lnTo>
                <a:lnTo>
                  <a:pt x="652" y="824"/>
                </a:lnTo>
                <a:lnTo>
                  <a:pt x="648" y="828"/>
                </a:lnTo>
                <a:lnTo>
                  <a:pt x="644" y="834"/>
                </a:lnTo>
                <a:lnTo>
                  <a:pt x="640" y="844"/>
                </a:lnTo>
                <a:lnTo>
                  <a:pt x="652" y="874"/>
                </a:lnTo>
                <a:lnTo>
                  <a:pt x="654" y="876"/>
                </a:lnTo>
                <a:lnTo>
                  <a:pt x="656" y="878"/>
                </a:lnTo>
                <a:lnTo>
                  <a:pt x="658" y="878"/>
                </a:lnTo>
                <a:lnTo>
                  <a:pt x="660" y="876"/>
                </a:lnTo>
                <a:lnTo>
                  <a:pt x="664" y="876"/>
                </a:lnTo>
                <a:lnTo>
                  <a:pt x="666" y="878"/>
                </a:lnTo>
                <a:lnTo>
                  <a:pt x="668" y="880"/>
                </a:lnTo>
                <a:lnTo>
                  <a:pt x="670" y="880"/>
                </a:lnTo>
                <a:lnTo>
                  <a:pt x="672" y="882"/>
                </a:lnTo>
                <a:lnTo>
                  <a:pt x="672" y="884"/>
                </a:lnTo>
                <a:lnTo>
                  <a:pt x="662" y="888"/>
                </a:lnTo>
                <a:lnTo>
                  <a:pt x="660" y="890"/>
                </a:lnTo>
                <a:lnTo>
                  <a:pt x="660" y="894"/>
                </a:lnTo>
                <a:lnTo>
                  <a:pt x="660" y="898"/>
                </a:lnTo>
                <a:lnTo>
                  <a:pt x="662" y="898"/>
                </a:lnTo>
                <a:lnTo>
                  <a:pt x="662" y="900"/>
                </a:lnTo>
                <a:lnTo>
                  <a:pt x="660" y="902"/>
                </a:lnTo>
                <a:lnTo>
                  <a:pt x="656" y="904"/>
                </a:lnTo>
                <a:lnTo>
                  <a:pt x="652" y="906"/>
                </a:lnTo>
                <a:lnTo>
                  <a:pt x="644" y="916"/>
                </a:lnTo>
                <a:lnTo>
                  <a:pt x="642" y="922"/>
                </a:lnTo>
                <a:lnTo>
                  <a:pt x="640" y="922"/>
                </a:lnTo>
                <a:lnTo>
                  <a:pt x="638" y="924"/>
                </a:lnTo>
                <a:lnTo>
                  <a:pt x="634" y="926"/>
                </a:lnTo>
                <a:lnTo>
                  <a:pt x="630" y="928"/>
                </a:lnTo>
                <a:lnTo>
                  <a:pt x="628" y="930"/>
                </a:lnTo>
                <a:lnTo>
                  <a:pt x="626" y="934"/>
                </a:lnTo>
                <a:lnTo>
                  <a:pt x="630" y="934"/>
                </a:lnTo>
                <a:lnTo>
                  <a:pt x="634" y="938"/>
                </a:lnTo>
                <a:lnTo>
                  <a:pt x="636" y="940"/>
                </a:lnTo>
                <a:lnTo>
                  <a:pt x="636" y="942"/>
                </a:lnTo>
                <a:lnTo>
                  <a:pt x="636" y="946"/>
                </a:lnTo>
                <a:lnTo>
                  <a:pt x="628" y="952"/>
                </a:lnTo>
                <a:lnTo>
                  <a:pt x="626" y="954"/>
                </a:lnTo>
                <a:lnTo>
                  <a:pt x="624" y="954"/>
                </a:lnTo>
                <a:lnTo>
                  <a:pt x="622" y="954"/>
                </a:lnTo>
                <a:lnTo>
                  <a:pt x="618" y="954"/>
                </a:lnTo>
                <a:lnTo>
                  <a:pt x="618" y="956"/>
                </a:lnTo>
                <a:lnTo>
                  <a:pt x="616" y="960"/>
                </a:lnTo>
                <a:lnTo>
                  <a:pt x="618" y="960"/>
                </a:lnTo>
                <a:lnTo>
                  <a:pt x="618" y="962"/>
                </a:lnTo>
                <a:lnTo>
                  <a:pt x="622" y="970"/>
                </a:lnTo>
                <a:lnTo>
                  <a:pt x="620" y="972"/>
                </a:lnTo>
                <a:lnTo>
                  <a:pt x="620" y="974"/>
                </a:lnTo>
                <a:lnTo>
                  <a:pt x="616" y="980"/>
                </a:lnTo>
                <a:lnTo>
                  <a:pt x="616" y="982"/>
                </a:lnTo>
                <a:lnTo>
                  <a:pt x="610" y="986"/>
                </a:lnTo>
                <a:lnTo>
                  <a:pt x="608" y="988"/>
                </a:lnTo>
                <a:lnTo>
                  <a:pt x="602" y="990"/>
                </a:lnTo>
                <a:lnTo>
                  <a:pt x="600" y="990"/>
                </a:lnTo>
                <a:lnTo>
                  <a:pt x="598" y="990"/>
                </a:lnTo>
                <a:lnTo>
                  <a:pt x="596" y="990"/>
                </a:lnTo>
                <a:lnTo>
                  <a:pt x="592" y="990"/>
                </a:lnTo>
                <a:lnTo>
                  <a:pt x="590" y="990"/>
                </a:lnTo>
                <a:lnTo>
                  <a:pt x="588" y="990"/>
                </a:lnTo>
                <a:lnTo>
                  <a:pt x="588" y="992"/>
                </a:lnTo>
                <a:lnTo>
                  <a:pt x="588" y="990"/>
                </a:lnTo>
                <a:lnTo>
                  <a:pt x="582" y="986"/>
                </a:lnTo>
                <a:lnTo>
                  <a:pt x="580" y="984"/>
                </a:lnTo>
                <a:lnTo>
                  <a:pt x="578" y="984"/>
                </a:lnTo>
                <a:lnTo>
                  <a:pt x="576" y="984"/>
                </a:lnTo>
                <a:lnTo>
                  <a:pt x="574" y="984"/>
                </a:lnTo>
                <a:lnTo>
                  <a:pt x="570" y="980"/>
                </a:lnTo>
                <a:lnTo>
                  <a:pt x="562" y="972"/>
                </a:lnTo>
                <a:lnTo>
                  <a:pt x="560" y="970"/>
                </a:lnTo>
                <a:lnTo>
                  <a:pt x="558" y="968"/>
                </a:lnTo>
                <a:lnTo>
                  <a:pt x="556" y="966"/>
                </a:lnTo>
                <a:lnTo>
                  <a:pt x="552" y="966"/>
                </a:lnTo>
                <a:lnTo>
                  <a:pt x="548" y="962"/>
                </a:lnTo>
                <a:lnTo>
                  <a:pt x="548" y="960"/>
                </a:lnTo>
                <a:lnTo>
                  <a:pt x="546" y="960"/>
                </a:lnTo>
                <a:lnTo>
                  <a:pt x="540" y="956"/>
                </a:lnTo>
                <a:lnTo>
                  <a:pt x="538" y="952"/>
                </a:lnTo>
                <a:lnTo>
                  <a:pt x="538" y="948"/>
                </a:lnTo>
                <a:lnTo>
                  <a:pt x="536" y="946"/>
                </a:lnTo>
                <a:lnTo>
                  <a:pt x="536" y="940"/>
                </a:lnTo>
                <a:lnTo>
                  <a:pt x="534" y="940"/>
                </a:lnTo>
                <a:lnTo>
                  <a:pt x="532" y="936"/>
                </a:lnTo>
                <a:lnTo>
                  <a:pt x="532" y="934"/>
                </a:lnTo>
                <a:lnTo>
                  <a:pt x="528" y="934"/>
                </a:lnTo>
                <a:lnTo>
                  <a:pt x="522" y="930"/>
                </a:lnTo>
                <a:lnTo>
                  <a:pt x="520" y="930"/>
                </a:lnTo>
                <a:lnTo>
                  <a:pt x="518" y="930"/>
                </a:lnTo>
                <a:lnTo>
                  <a:pt x="514" y="930"/>
                </a:lnTo>
                <a:lnTo>
                  <a:pt x="514" y="928"/>
                </a:lnTo>
                <a:lnTo>
                  <a:pt x="510" y="926"/>
                </a:lnTo>
                <a:lnTo>
                  <a:pt x="510" y="924"/>
                </a:lnTo>
                <a:lnTo>
                  <a:pt x="508" y="924"/>
                </a:lnTo>
                <a:lnTo>
                  <a:pt x="506" y="922"/>
                </a:lnTo>
                <a:lnTo>
                  <a:pt x="504" y="920"/>
                </a:lnTo>
                <a:lnTo>
                  <a:pt x="502" y="920"/>
                </a:lnTo>
                <a:lnTo>
                  <a:pt x="498" y="916"/>
                </a:lnTo>
                <a:lnTo>
                  <a:pt x="492" y="914"/>
                </a:lnTo>
                <a:lnTo>
                  <a:pt x="488" y="910"/>
                </a:lnTo>
                <a:lnTo>
                  <a:pt x="486" y="906"/>
                </a:lnTo>
                <a:lnTo>
                  <a:pt x="480" y="902"/>
                </a:lnTo>
                <a:lnTo>
                  <a:pt x="478" y="902"/>
                </a:lnTo>
                <a:lnTo>
                  <a:pt x="474" y="900"/>
                </a:lnTo>
                <a:lnTo>
                  <a:pt x="472" y="900"/>
                </a:lnTo>
                <a:lnTo>
                  <a:pt x="470" y="900"/>
                </a:lnTo>
                <a:lnTo>
                  <a:pt x="468" y="900"/>
                </a:lnTo>
                <a:lnTo>
                  <a:pt x="466" y="900"/>
                </a:lnTo>
                <a:lnTo>
                  <a:pt x="462" y="898"/>
                </a:lnTo>
                <a:lnTo>
                  <a:pt x="460" y="898"/>
                </a:lnTo>
                <a:lnTo>
                  <a:pt x="460" y="896"/>
                </a:lnTo>
                <a:lnTo>
                  <a:pt x="458" y="894"/>
                </a:lnTo>
                <a:lnTo>
                  <a:pt x="456" y="894"/>
                </a:lnTo>
                <a:lnTo>
                  <a:pt x="450" y="892"/>
                </a:lnTo>
                <a:lnTo>
                  <a:pt x="440" y="886"/>
                </a:lnTo>
                <a:lnTo>
                  <a:pt x="436" y="882"/>
                </a:lnTo>
                <a:lnTo>
                  <a:pt x="430" y="880"/>
                </a:lnTo>
                <a:lnTo>
                  <a:pt x="428" y="880"/>
                </a:lnTo>
                <a:lnTo>
                  <a:pt x="420" y="878"/>
                </a:lnTo>
                <a:lnTo>
                  <a:pt x="418" y="876"/>
                </a:lnTo>
                <a:lnTo>
                  <a:pt x="408" y="872"/>
                </a:lnTo>
                <a:lnTo>
                  <a:pt x="402" y="868"/>
                </a:lnTo>
                <a:lnTo>
                  <a:pt x="400" y="866"/>
                </a:lnTo>
                <a:lnTo>
                  <a:pt x="396" y="862"/>
                </a:lnTo>
                <a:lnTo>
                  <a:pt x="390" y="860"/>
                </a:lnTo>
                <a:lnTo>
                  <a:pt x="386" y="858"/>
                </a:lnTo>
                <a:lnTo>
                  <a:pt x="380" y="856"/>
                </a:lnTo>
                <a:lnTo>
                  <a:pt x="378" y="856"/>
                </a:lnTo>
                <a:lnTo>
                  <a:pt x="376" y="854"/>
                </a:lnTo>
                <a:lnTo>
                  <a:pt x="374" y="852"/>
                </a:lnTo>
                <a:lnTo>
                  <a:pt x="374" y="850"/>
                </a:lnTo>
                <a:lnTo>
                  <a:pt x="372" y="848"/>
                </a:lnTo>
                <a:lnTo>
                  <a:pt x="366" y="846"/>
                </a:lnTo>
                <a:lnTo>
                  <a:pt x="362" y="844"/>
                </a:lnTo>
                <a:lnTo>
                  <a:pt x="356" y="842"/>
                </a:lnTo>
                <a:lnTo>
                  <a:pt x="354" y="840"/>
                </a:lnTo>
                <a:lnTo>
                  <a:pt x="348" y="838"/>
                </a:lnTo>
                <a:lnTo>
                  <a:pt x="344" y="836"/>
                </a:lnTo>
                <a:lnTo>
                  <a:pt x="342" y="834"/>
                </a:lnTo>
                <a:lnTo>
                  <a:pt x="340" y="832"/>
                </a:lnTo>
                <a:lnTo>
                  <a:pt x="338" y="828"/>
                </a:lnTo>
                <a:lnTo>
                  <a:pt x="334" y="822"/>
                </a:lnTo>
                <a:lnTo>
                  <a:pt x="332" y="822"/>
                </a:lnTo>
                <a:lnTo>
                  <a:pt x="332" y="820"/>
                </a:lnTo>
                <a:lnTo>
                  <a:pt x="330" y="820"/>
                </a:lnTo>
                <a:lnTo>
                  <a:pt x="326" y="816"/>
                </a:lnTo>
                <a:lnTo>
                  <a:pt x="318" y="806"/>
                </a:lnTo>
                <a:lnTo>
                  <a:pt x="316" y="804"/>
                </a:lnTo>
                <a:lnTo>
                  <a:pt x="312" y="804"/>
                </a:lnTo>
                <a:lnTo>
                  <a:pt x="308" y="800"/>
                </a:lnTo>
                <a:lnTo>
                  <a:pt x="302" y="796"/>
                </a:lnTo>
                <a:lnTo>
                  <a:pt x="296" y="792"/>
                </a:lnTo>
                <a:lnTo>
                  <a:pt x="296" y="790"/>
                </a:lnTo>
                <a:lnTo>
                  <a:pt x="296" y="788"/>
                </a:lnTo>
                <a:lnTo>
                  <a:pt x="294" y="782"/>
                </a:lnTo>
                <a:lnTo>
                  <a:pt x="290" y="778"/>
                </a:lnTo>
                <a:lnTo>
                  <a:pt x="288" y="776"/>
                </a:lnTo>
                <a:lnTo>
                  <a:pt x="286" y="774"/>
                </a:lnTo>
                <a:lnTo>
                  <a:pt x="286" y="768"/>
                </a:lnTo>
                <a:lnTo>
                  <a:pt x="282" y="766"/>
                </a:lnTo>
                <a:lnTo>
                  <a:pt x="280" y="766"/>
                </a:lnTo>
                <a:lnTo>
                  <a:pt x="278" y="758"/>
                </a:lnTo>
                <a:lnTo>
                  <a:pt x="276" y="750"/>
                </a:lnTo>
                <a:lnTo>
                  <a:pt x="274" y="752"/>
                </a:lnTo>
                <a:lnTo>
                  <a:pt x="272" y="752"/>
                </a:lnTo>
                <a:lnTo>
                  <a:pt x="272" y="750"/>
                </a:lnTo>
                <a:lnTo>
                  <a:pt x="272" y="746"/>
                </a:lnTo>
                <a:lnTo>
                  <a:pt x="274" y="746"/>
                </a:lnTo>
                <a:lnTo>
                  <a:pt x="276" y="746"/>
                </a:lnTo>
                <a:lnTo>
                  <a:pt x="278" y="748"/>
                </a:lnTo>
                <a:lnTo>
                  <a:pt x="280" y="744"/>
                </a:lnTo>
                <a:lnTo>
                  <a:pt x="280" y="742"/>
                </a:lnTo>
                <a:lnTo>
                  <a:pt x="282" y="736"/>
                </a:lnTo>
                <a:lnTo>
                  <a:pt x="282" y="734"/>
                </a:lnTo>
                <a:lnTo>
                  <a:pt x="282" y="728"/>
                </a:lnTo>
                <a:lnTo>
                  <a:pt x="282" y="726"/>
                </a:lnTo>
                <a:lnTo>
                  <a:pt x="278" y="720"/>
                </a:lnTo>
                <a:lnTo>
                  <a:pt x="276" y="718"/>
                </a:lnTo>
                <a:lnTo>
                  <a:pt x="272" y="712"/>
                </a:lnTo>
                <a:lnTo>
                  <a:pt x="270" y="710"/>
                </a:lnTo>
                <a:lnTo>
                  <a:pt x="270" y="708"/>
                </a:lnTo>
                <a:lnTo>
                  <a:pt x="268" y="706"/>
                </a:lnTo>
                <a:lnTo>
                  <a:pt x="266" y="706"/>
                </a:lnTo>
                <a:lnTo>
                  <a:pt x="266" y="704"/>
                </a:lnTo>
                <a:lnTo>
                  <a:pt x="264" y="702"/>
                </a:lnTo>
                <a:lnTo>
                  <a:pt x="264" y="700"/>
                </a:lnTo>
                <a:lnTo>
                  <a:pt x="264" y="696"/>
                </a:lnTo>
                <a:lnTo>
                  <a:pt x="260" y="692"/>
                </a:lnTo>
                <a:lnTo>
                  <a:pt x="258" y="688"/>
                </a:lnTo>
                <a:lnTo>
                  <a:pt x="252" y="676"/>
                </a:lnTo>
                <a:lnTo>
                  <a:pt x="250" y="672"/>
                </a:lnTo>
                <a:lnTo>
                  <a:pt x="248" y="670"/>
                </a:lnTo>
                <a:lnTo>
                  <a:pt x="248" y="668"/>
                </a:lnTo>
                <a:lnTo>
                  <a:pt x="246" y="666"/>
                </a:lnTo>
                <a:lnTo>
                  <a:pt x="242" y="662"/>
                </a:lnTo>
                <a:lnTo>
                  <a:pt x="236" y="656"/>
                </a:lnTo>
                <a:lnTo>
                  <a:pt x="234" y="654"/>
                </a:lnTo>
                <a:lnTo>
                  <a:pt x="232" y="652"/>
                </a:lnTo>
                <a:lnTo>
                  <a:pt x="228" y="652"/>
                </a:lnTo>
                <a:lnTo>
                  <a:pt x="230" y="648"/>
                </a:lnTo>
                <a:lnTo>
                  <a:pt x="230" y="646"/>
                </a:lnTo>
                <a:lnTo>
                  <a:pt x="230" y="642"/>
                </a:lnTo>
                <a:lnTo>
                  <a:pt x="228" y="638"/>
                </a:lnTo>
                <a:lnTo>
                  <a:pt x="228" y="634"/>
                </a:lnTo>
                <a:lnTo>
                  <a:pt x="226" y="630"/>
                </a:lnTo>
                <a:lnTo>
                  <a:pt x="220" y="622"/>
                </a:lnTo>
                <a:lnTo>
                  <a:pt x="218" y="620"/>
                </a:lnTo>
                <a:lnTo>
                  <a:pt x="212" y="616"/>
                </a:lnTo>
                <a:lnTo>
                  <a:pt x="208" y="614"/>
                </a:lnTo>
                <a:lnTo>
                  <a:pt x="208" y="612"/>
                </a:lnTo>
                <a:lnTo>
                  <a:pt x="206" y="612"/>
                </a:lnTo>
                <a:lnTo>
                  <a:pt x="202" y="610"/>
                </a:lnTo>
                <a:lnTo>
                  <a:pt x="202" y="608"/>
                </a:lnTo>
                <a:lnTo>
                  <a:pt x="202" y="606"/>
                </a:lnTo>
                <a:lnTo>
                  <a:pt x="204" y="606"/>
                </a:lnTo>
                <a:lnTo>
                  <a:pt x="204" y="604"/>
                </a:lnTo>
                <a:lnTo>
                  <a:pt x="202" y="590"/>
                </a:lnTo>
                <a:lnTo>
                  <a:pt x="200" y="586"/>
                </a:lnTo>
                <a:lnTo>
                  <a:pt x="196" y="582"/>
                </a:lnTo>
                <a:lnTo>
                  <a:pt x="192" y="578"/>
                </a:lnTo>
                <a:lnTo>
                  <a:pt x="190" y="574"/>
                </a:lnTo>
                <a:lnTo>
                  <a:pt x="190" y="572"/>
                </a:lnTo>
                <a:lnTo>
                  <a:pt x="188" y="570"/>
                </a:lnTo>
                <a:lnTo>
                  <a:pt x="186" y="568"/>
                </a:lnTo>
                <a:lnTo>
                  <a:pt x="182" y="564"/>
                </a:lnTo>
                <a:lnTo>
                  <a:pt x="180" y="558"/>
                </a:lnTo>
                <a:lnTo>
                  <a:pt x="174" y="546"/>
                </a:lnTo>
                <a:lnTo>
                  <a:pt x="170" y="536"/>
                </a:lnTo>
                <a:lnTo>
                  <a:pt x="170" y="534"/>
                </a:lnTo>
                <a:lnTo>
                  <a:pt x="170" y="530"/>
                </a:lnTo>
                <a:lnTo>
                  <a:pt x="164" y="524"/>
                </a:lnTo>
                <a:lnTo>
                  <a:pt x="164" y="520"/>
                </a:lnTo>
                <a:lnTo>
                  <a:pt x="162" y="514"/>
                </a:lnTo>
                <a:lnTo>
                  <a:pt x="162" y="510"/>
                </a:lnTo>
                <a:lnTo>
                  <a:pt x="160" y="506"/>
                </a:lnTo>
                <a:lnTo>
                  <a:pt x="156" y="504"/>
                </a:lnTo>
                <a:lnTo>
                  <a:pt x="156" y="498"/>
                </a:lnTo>
                <a:lnTo>
                  <a:pt x="154" y="496"/>
                </a:lnTo>
                <a:lnTo>
                  <a:pt x="152" y="492"/>
                </a:lnTo>
                <a:lnTo>
                  <a:pt x="148" y="490"/>
                </a:lnTo>
                <a:lnTo>
                  <a:pt x="146" y="486"/>
                </a:lnTo>
                <a:lnTo>
                  <a:pt x="146" y="484"/>
                </a:lnTo>
                <a:lnTo>
                  <a:pt x="146" y="482"/>
                </a:lnTo>
                <a:lnTo>
                  <a:pt x="144" y="476"/>
                </a:lnTo>
                <a:lnTo>
                  <a:pt x="142" y="472"/>
                </a:lnTo>
                <a:lnTo>
                  <a:pt x="142" y="470"/>
                </a:lnTo>
                <a:lnTo>
                  <a:pt x="142" y="468"/>
                </a:lnTo>
                <a:lnTo>
                  <a:pt x="142" y="466"/>
                </a:lnTo>
                <a:lnTo>
                  <a:pt x="142" y="464"/>
                </a:lnTo>
                <a:lnTo>
                  <a:pt x="138" y="460"/>
                </a:lnTo>
                <a:lnTo>
                  <a:pt x="132" y="456"/>
                </a:lnTo>
                <a:lnTo>
                  <a:pt x="132" y="454"/>
                </a:lnTo>
                <a:lnTo>
                  <a:pt x="132" y="452"/>
                </a:lnTo>
                <a:lnTo>
                  <a:pt x="128" y="444"/>
                </a:lnTo>
                <a:lnTo>
                  <a:pt x="120" y="434"/>
                </a:lnTo>
                <a:lnTo>
                  <a:pt x="118" y="434"/>
                </a:lnTo>
                <a:lnTo>
                  <a:pt x="116" y="432"/>
                </a:lnTo>
                <a:lnTo>
                  <a:pt x="112" y="430"/>
                </a:lnTo>
                <a:lnTo>
                  <a:pt x="110" y="428"/>
                </a:lnTo>
                <a:lnTo>
                  <a:pt x="110" y="426"/>
                </a:lnTo>
                <a:lnTo>
                  <a:pt x="108" y="424"/>
                </a:lnTo>
                <a:lnTo>
                  <a:pt x="106" y="418"/>
                </a:lnTo>
                <a:lnTo>
                  <a:pt x="104" y="416"/>
                </a:lnTo>
                <a:lnTo>
                  <a:pt x="104" y="414"/>
                </a:lnTo>
                <a:lnTo>
                  <a:pt x="102" y="410"/>
                </a:lnTo>
                <a:lnTo>
                  <a:pt x="100" y="408"/>
                </a:lnTo>
                <a:lnTo>
                  <a:pt x="98" y="406"/>
                </a:lnTo>
                <a:lnTo>
                  <a:pt x="96" y="402"/>
                </a:lnTo>
                <a:lnTo>
                  <a:pt x="96" y="400"/>
                </a:lnTo>
                <a:lnTo>
                  <a:pt x="96" y="396"/>
                </a:lnTo>
                <a:lnTo>
                  <a:pt x="94" y="396"/>
                </a:lnTo>
                <a:lnTo>
                  <a:pt x="94" y="392"/>
                </a:lnTo>
                <a:lnTo>
                  <a:pt x="92" y="390"/>
                </a:lnTo>
                <a:lnTo>
                  <a:pt x="90" y="388"/>
                </a:lnTo>
                <a:lnTo>
                  <a:pt x="90" y="386"/>
                </a:lnTo>
                <a:lnTo>
                  <a:pt x="90" y="384"/>
                </a:lnTo>
                <a:lnTo>
                  <a:pt x="88" y="382"/>
                </a:lnTo>
                <a:lnTo>
                  <a:pt x="84" y="378"/>
                </a:lnTo>
                <a:lnTo>
                  <a:pt x="82" y="376"/>
                </a:lnTo>
                <a:lnTo>
                  <a:pt x="80" y="376"/>
                </a:lnTo>
                <a:lnTo>
                  <a:pt x="78" y="372"/>
                </a:lnTo>
                <a:lnTo>
                  <a:pt x="76" y="370"/>
                </a:lnTo>
                <a:lnTo>
                  <a:pt x="76" y="368"/>
                </a:lnTo>
                <a:lnTo>
                  <a:pt x="74" y="366"/>
                </a:lnTo>
                <a:lnTo>
                  <a:pt x="68" y="360"/>
                </a:lnTo>
                <a:lnTo>
                  <a:pt x="66" y="358"/>
                </a:lnTo>
                <a:lnTo>
                  <a:pt x="64" y="356"/>
                </a:lnTo>
                <a:lnTo>
                  <a:pt x="56" y="354"/>
                </a:lnTo>
                <a:lnTo>
                  <a:pt x="50" y="350"/>
                </a:lnTo>
                <a:lnTo>
                  <a:pt x="46" y="346"/>
                </a:lnTo>
                <a:lnTo>
                  <a:pt x="44" y="346"/>
                </a:lnTo>
                <a:lnTo>
                  <a:pt x="42" y="344"/>
                </a:lnTo>
                <a:lnTo>
                  <a:pt x="40" y="344"/>
                </a:lnTo>
                <a:lnTo>
                  <a:pt x="38" y="342"/>
                </a:lnTo>
                <a:lnTo>
                  <a:pt x="26" y="336"/>
                </a:lnTo>
                <a:lnTo>
                  <a:pt x="16" y="332"/>
                </a:lnTo>
                <a:lnTo>
                  <a:pt x="12" y="330"/>
                </a:lnTo>
                <a:lnTo>
                  <a:pt x="10" y="328"/>
                </a:lnTo>
                <a:lnTo>
                  <a:pt x="8" y="324"/>
                </a:lnTo>
                <a:lnTo>
                  <a:pt x="8" y="322"/>
                </a:lnTo>
                <a:lnTo>
                  <a:pt x="10" y="318"/>
                </a:lnTo>
                <a:lnTo>
                  <a:pt x="12" y="316"/>
                </a:lnTo>
                <a:lnTo>
                  <a:pt x="14" y="314"/>
                </a:lnTo>
                <a:lnTo>
                  <a:pt x="16" y="314"/>
                </a:lnTo>
                <a:lnTo>
                  <a:pt x="18" y="316"/>
                </a:lnTo>
                <a:lnTo>
                  <a:pt x="20" y="316"/>
                </a:lnTo>
                <a:lnTo>
                  <a:pt x="22" y="316"/>
                </a:lnTo>
                <a:lnTo>
                  <a:pt x="24" y="316"/>
                </a:lnTo>
                <a:lnTo>
                  <a:pt x="24" y="314"/>
                </a:lnTo>
                <a:lnTo>
                  <a:pt x="26" y="312"/>
                </a:lnTo>
                <a:lnTo>
                  <a:pt x="26" y="310"/>
                </a:lnTo>
                <a:lnTo>
                  <a:pt x="26" y="308"/>
                </a:lnTo>
                <a:lnTo>
                  <a:pt x="26" y="304"/>
                </a:lnTo>
                <a:lnTo>
                  <a:pt x="24" y="298"/>
                </a:lnTo>
                <a:lnTo>
                  <a:pt x="24" y="296"/>
                </a:lnTo>
                <a:lnTo>
                  <a:pt x="22" y="294"/>
                </a:lnTo>
                <a:lnTo>
                  <a:pt x="20" y="292"/>
                </a:lnTo>
                <a:lnTo>
                  <a:pt x="16" y="288"/>
                </a:lnTo>
                <a:lnTo>
                  <a:pt x="14" y="286"/>
                </a:lnTo>
                <a:lnTo>
                  <a:pt x="12" y="286"/>
                </a:lnTo>
                <a:lnTo>
                  <a:pt x="8" y="280"/>
                </a:lnTo>
                <a:lnTo>
                  <a:pt x="10" y="274"/>
                </a:lnTo>
                <a:lnTo>
                  <a:pt x="10" y="272"/>
                </a:lnTo>
                <a:lnTo>
                  <a:pt x="14" y="272"/>
                </a:lnTo>
                <a:lnTo>
                  <a:pt x="14" y="268"/>
                </a:lnTo>
                <a:lnTo>
                  <a:pt x="12" y="268"/>
                </a:lnTo>
                <a:lnTo>
                  <a:pt x="8" y="262"/>
                </a:lnTo>
                <a:lnTo>
                  <a:pt x="0" y="254"/>
                </a:lnTo>
                <a:lnTo>
                  <a:pt x="0" y="252"/>
                </a:lnTo>
                <a:lnTo>
                  <a:pt x="0" y="250"/>
                </a:lnTo>
                <a:lnTo>
                  <a:pt x="2" y="246"/>
                </a:lnTo>
                <a:lnTo>
                  <a:pt x="4" y="236"/>
                </a:lnTo>
                <a:lnTo>
                  <a:pt x="4" y="234"/>
                </a:lnTo>
                <a:lnTo>
                  <a:pt x="2" y="232"/>
                </a:lnTo>
                <a:lnTo>
                  <a:pt x="4" y="230"/>
                </a:lnTo>
                <a:lnTo>
                  <a:pt x="12" y="222"/>
                </a:lnTo>
                <a:lnTo>
                  <a:pt x="16" y="220"/>
                </a:lnTo>
                <a:lnTo>
                  <a:pt x="18" y="216"/>
                </a:lnTo>
                <a:lnTo>
                  <a:pt x="18" y="214"/>
                </a:lnTo>
                <a:lnTo>
                  <a:pt x="22" y="212"/>
                </a:lnTo>
                <a:lnTo>
                  <a:pt x="24" y="210"/>
                </a:lnTo>
                <a:lnTo>
                  <a:pt x="26" y="208"/>
                </a:lnTo>
                <a:lnTo>
                  <a:pt x="26" y="206"/>
                </a:lnTo>
                <a:lnTo>
                  <a:pt x="26" y="204"/>
                </a:lnTo>
                <a:lnTo>
                  <a:pt x="28" y="202"/>
                </a:lnTo>
                <a:lnTo>
                  <a:pt x="34" y="198"/>
                </a:lnTo>
                <a:lnTo>
                  <a:pt x="36" y="196"/>
                </a:lnTo>
                <a:lnTo>
                  <a:pt x="40" y="194"/>
                </a:lnTo>
                <a:lnTo>
                  <a:pt x="42" y="192"/>
                </a:lnTo>
                <a:lnTo>
                  <a:pt x="42" y="190"/>
                </a:lnTo>
                <a:lnTo>
                  <a:pt x="44" y="188"/>
                </a:lnTo>
                <a:lnTo>
                  <a:pt x="46" y="188"/>
                </a:lnTo>
                <a:lnTo>
                  <a:pt x="48" y="188"/>
                </a:lnTo>
                <a:lnTo>
                  <a:pt x="50" y="188"/>
                </a:lnTo>
                <a:lnTo>
                  <a:pt x="52" y="188"/>
                </a:lnTo>
                <a:lnTo>
                  <a:pt x="52" y="186"/>
                </a:lnTo>
                <a:lnTo>
                  <a:pt x="54" y="186"/>
                </a:lnTo>
                <a:lnTo>
                  <a:pt x="54" y="184"/>
                </a:lnTo>
                <a:lnTo>
                  <a:pt x="54" y="182"/>
                </a:lnTo>
                <a:lnTo>
                  <a:pt x="58" y="184"/>
                </a:lnTo>
                <a:lnTo>
                  <a:pt x="60" y="188"/>
                </a:lnTo>
                <a:lnTo>
                  <a:pt x="60" y="194"/>
                </a:lnTo>
                <a:lnTo>
                  <a:pt x="62" y="196"/>
                </a:lnTo>
                <a:lnTo>
                  <a:pt x="62" y="200"/>
                </a:lnTo>
                <a:lnTo>
                  <a:pt x="64" y="208"/>
                </a:lnTo>
                <a:lnTo>
                  <a:pt x="64" y="210"/>
                </a:lnTo>
                <a:lnTo>
                  <a:pt x="56" y="216"/>
                </a:lnTo>
                <a:lnTo>
                  <a:pt x="54" y="216"/>
                </a:lnTo>
                <a:lnTo>
                  <a:pt x="52" y="214"/>
                </a:lnTo>
                <a:lnTo>
                  <a:pt x="50" y="214"/>
                </a:lnTo>
                <a:lnTo>
                  <a:pt x="48" y="214"/>
                </a:lnTo>
                <a:lnTo>
                  <a:pt x="46" y="218"/>
                </a:lnTo>
                <a:lnTo>
                  <a:pt x="46" y="222"/>
                </a:lnTo>
                <a:lnTo>
                  <a:pt x="46" y="224"/>
                </a:lnTo>
                <a:lnTo>
                  <a:pt x="48" y="226"/>
                </a:lnTo>
                <a:lnTo>
                  <a:pt x="48" y="228"/>
                </a:lnTo>
                <a:lnTo>
                  <a:pt x="50" y="226"/>
                </a:lnTo>
                <a:lnTo>
                  <a:pt x="52" y="226"/>
                </a:lnTo>
                <a:lnTo>
                  <a:pt x="54" y="226"/>
                </a:lnTo>
                <a:lnTo>
                  <a:pt x="52" y="230"/>
                </a:lnTo>
                <a:lnTo>
                  <a:pt x="50" y="232"/>
                </a:lnTo>
                <a:lnTo>
                  <a:pt x="46" y="236"/>
                </a:lnTo>
                <a:lnTo>
                  <a:pt x="46" y="238"/>
                </a:lnTo>
                <a:lnTo>
                  <a:pt x="48" y="238"/>
                </a:lnTo>
                <a:lnTo>
                  <a:pt x="50" y="240"/>
                </a:lnTo>
                <a:lnTo>
                  <a:pt x="52" y="242"/>
                </a:lnTo>
                <a:lnTo>
                  <a:pt x="54" y="240"/>
                </a:lnTo>
                <a:lnTo>
                  <a:pt x="58" y="236"/>
                </a:lnTo>
                <a:lnTo>
                  <a:pt x="60" y="234"/>
                </a:lnTo>
                <a:lnTo>
                  <a:pt x="62" y="234"/>
                </a:lnTo>
                <a:lnTo>
                  <a:pt x="64" y="232"/>
                </a:lnTo>
                <a:lnTo>
                  <a:pt x="66" y="230"/>
                </a:lnTo>
                <a:lnTo>
                  <a:pt x="68" y="232"/>
                </a:lnTo>
                <a:lnTo>
                  <a:pt x="70" y="232"/>
                </a:lnTo>
                <a:lnTo>
                  <a:pt x="72" y="234"/>
                </a:lnTo>
                <a:lnTo>
                  <a:pt x="82" y="240"/>
                </a:lnTo>
                <a:lnTo>
                  <a:pt x="84" y="242"/>
                </a:lnTo>
                <a:lnTo>
                  <a:pt x="90" y="240"/>
                </a:lnTo>
                <a:lnTo>
                  <a:pt x="90" y="238"/>
                </a:lnTo>
                <a:lnTo>
                  <a:pt x="92" y="238"/>
                </a:lnTo>
                <a:lnTo>
                  <a:pt x="92" y="240"/>
                </a:lnTo>
                <a:lnTo>
                  <a:pt x="98" y="244"/>
                </a:lnTo>
                <a:lnTo>
                  <a:pt x="98" y="246"/>
                </a:lnTo>
                <a:lnTo>
                  <a:pt x="98" y="250"/>
                </a:lnTo>
                <a:lnTo>
                  <a:pt x="102" y="256"/>
                </a:lnTo>
                <a:lnTo>
                  <a:pt x="104" y="258"/>
                </a:lnTo>
                <a:lnTo>
                  <a:pt x="108" y="264"/>
                </a:lnTo>
                <a:lnTo>
                  <a:pt x="112" y="268"/>
                </a:lnTo>
                <a:lnTo>
                  <a:pt x="114" y="268"/>
                </a:lnTo>
                <a:lnTo>
                  <a:pt x="116" y="268"/>
                </a:lnTo>
                <a:lnTo>
                  <a:pt x="118" y="268"/>
                </a:lnTo>
                <a:lnTo>
                  <a:pt x="122" y="268"/>
                </a:lnTo>
                <a:lnTo>
                  <a:pt x="124" y="270"/>
                </a:lnTo>
                <a:lnTo>
                  <a:pt x="126" y="270"/>
                </a:lnTo>
                <a:lnTo>
                  <a:pt x="126" y="268"/>
                </a:lnTo>
                <a:lnTo>
                  <a:pt x="130" y="262"/>
                </a:lnTo>
                <a:lnTo>
                  <a:pt x="132" y="258"/>
                </a:lnTo>
                <a:lnTo>
                  <a:pt x="132" y="254"/>
                </a:lnTo>
                <a:lnTo>
                  <a:pt x="134" y="252"/>
                </a:lnTo>
                <a:lnTo>
                  <a:pt x="136" y="250"/>
                </a:lnTo>
                <a:lnTo>
                  <a:pt x="138" y="248"/>
                </a:lnTo>
                <a:lnTo>
                  <a:pt x="140" y="248"/>
                </a:lnTo>
                <a:lnTo>
                  <a:pt x="142" y="248"/>
                </a:lnTo>
                <a:lnTo>
                  <a:pt x="142" y="246"/>
                </a:lnTo>
                <a:lnTo>
                  <a:pt x="144" y="246"/>
                </a:lnTo>
                <a:lnTo>
                  <a:pt x="146" y="246"/>
                </a:lnTo>
                <a:lnTo>
                  <a:pt x="146" y="240"/>
                </a:lnTo>
                <a:lnTo>
                  <a:pt x="146" y="238"/>
                </a:lnTo>
                <a:lnTo>
                  <a:pt x="146" y="234"/>
                </a:lnTo>
                <a:lnTo>
                  <a:pt x="144" y="234"/>
                </a:lnTo>
                <a:lnTo>
                  <a:pt x="144" y="232"/>
                </a:lnTo>
                <a:lnTo>
                  <a:pt x="146" y="232"/>
                </a:lnTo>
                <a:lnTo>
                  <a:pt x="146" y="230"/>
                </a:lnTo>
                <a:lnTo>
                  <a:pt x="150" y="220"/>
                </a:lnTo>
                <a:lnTo>
                  <a:pt x="150" y="218"/>
                </a:lnTo>
                <a:lnTo>
                  <a:pt x="150" y="216"/>
                </a:lnTo>
                <a:lnTo>
                  <a:pt x="150" y="214"/>
                </a:lnTo>
                <a:lnTo>
                  <a:pt x="152" y="212"/>
                </a:lnTo>
                <a:lnTo>
                  <a:pt x="152" y="210"/>
                </a:lnTo>
                <a:lnTo>
                  <a:pt x="156" y="206"/>
                </a:lnTo>
                <a:lnTo>
                  <a:pt x="158" y="204"/>
                </a:lnTo>
                <a:lnTo>
                  <a:pt x="158" y="202"/>
                </a:lnTo>
                <a:lnTo>
                  <a:pt x="160" y="200"/>
                </a:lnTo>
                <a:lnTo>
                  <a:pt x="160" y="198"/>
                </a:lnTo>
                <a:lnTo>
                  <a:pt x="160" y="196"/>
                </a:lnTo>
                <a:lnTo>
                  <a:pt x="162" y="192"/>
                </a:lnTo>
                <a:lnTo>
                  <a:pt x="160" y="190"/>
                </a:lnTo>
                <a:lnTo>
                  <a:pt x="162" y="188"/>
                </a:lnTo>
                <a:lnTo>
                  <a:pt x="162" y="186"/>
                </a:lnTo>
                <a:lnTo>
                  <a:pt x="162" y="184"/>
                </a:lnTo>
                <a:lnTo>
                  <a:pt x="164" y="184"/>
                </a:lnTo>
                <a:lnTo>
                  <a:pt x="164" y="182"/>
                </a:lnTo>
                <a:lnTo>
                  <a:pt x="166" y="182"/>
                </a:lnTo>
                <a:lnTo>
                  <a:pt x="166" y="184"/>
                </a:lnTo>
                <a:lnTo>
                  <a:pt x="166" y="188"/>
                </a:lnTo>
                <a:lnTo>
                  <a:pt x="170" y="186"/>
                </a:lnTo>
                <a:lnTo>
                  <a:pt x="172" y="184"/>
                </a:lnTo>
                <a:lnTo>
                  <a:pt x="170" y="182"/>
                </a:lnTo>
                <a:lnTo>
                  <a:pt x="168" y="180"/>
                </a:lnTo>
                <a:lnTo>
                  <a:pt x="170" y="180"/>
                </a:lnTo>
                <a:lnTo>
                  <a:pt x="170" y="178"/>
                </a:lnTo>
                <a:lnTo>
                  <a:pt x="172" y="176"/>
                </a:lnTo>
                <a:lnTo>
                  <a:pt x="174" y="176"/>
                </a:lnTo>
                <a:lnTo>
                  <a:pt x="178" y="172"/>
                </a:lnTo>
                <a:lnTo>
                  <a:pt x="178" y="170"/>
                </a:lnTo>
                <a:lnTo>
                  <a:pt x="184" y="162"/>
                </a:lnTo>
                <a:lnTo>
                  <a:pt x="188" y="160"/>
                </a:lnTo>
                <a:lnTo>
                  <a:pt x="190" y="160"/>
                </a:lnTo>
                <a:lnTo>
                  <a:pt x="192" y="160"/>
                </a:lnTo>
                <a:lnTo>
                  <a:pt x="210" y="152"/>
                </a:lnTo>
                <a:lnTo>
                  <a:pt x="222" y="148"/>
                </a:lnTo>
                <a:lnTo>
                  <a:pt x="232" y="144"/>
                </a:lnTo>
                <a:lnTo>
                  <a:pt x="240" y="142"/>
                </a:lnTo>
                <a:lnTo>
                  <a:pt x="254" y="138"/>
                </a:lnTo>
                <a:lnTo>
                  <a:pt x="266" y="126"/>
                </a:lnTo>
                <a:lnTo>
                  <a:pt x="284" y="114"/>
                </a:lnTo>
                <a:lnTo>
                  <a:pt x="290" y="106"/>
                </a:lnTo>
                <a:lnTo>
                  <a:pt x="300" y="94"/>
                </a:lnTo>
                <a:lnTo>
                  <a:pt x="304" y="90"/>
                </a:lnTo>
                <a:lnTo>
                  <a:pt x="310" y="84"/>
                </a:lnTo>
                <a:lnTo>
                  <a:pt x="312" y="82"/>
                </a:lnTo>
                <a:lnTo>
                  <a:pt x="312" y="80"/>
                </a:lnTo>
                <a:lnTo>
                  <a:pt x="316" y="66"/>
                </a:lnTo>
                <a:lnTo>
                  <a:pt x="318" y="60"/>
                </a:lnTo>
                <a:lnTo>
                  <a:pt x="318" y="56"/>
                </a:lnTo>
                <a:lnTo>
                  <a:pt x="320" y="54"/>
                </a:lnTo>
                <a:lnTo>
                  <a:pt x="320" y="48"/>
                </a:lnTo>
                <a:lnTo>
                  <a:pt x="322" y="50"/>
                </a:lnTo>
                <a:lnTo>
                  <a:pt x="324" y="50"/>
                </a:lnTo>
                <a:lnTo>
                  <a:pt x="326" y="50"/>
                </a:lnTo>
                <a:lnTo>
                  <a:pt x="330" y="50"/>
                </a:lnTo>
                <a:lnTo>
                  <a:pt x="328" y="42"/>
                </a:lnTo>
                <a:lnTo>
                  <a:pt x="328" y="38"/>
                </a:lnTo>
                <a:lnTo>
                  <a:pt x="328" y="34"/>
                </a:lnTo>
                <a:lnTo>
                  <a:pt x="328" y="32"/>
                </a:lnTo>
                <a:lnTo>
                  <a:pt x="330" y="32"/>
                </a:lnTo>
                <a:lnTo>
                  <a:pt x="330" y="28"/>
                </a:lnTo>
                <a:lnTo>
                  <a:pt x="328" y="26"/>
                </a:lnTo>
                <a:lnTo>
                  <a:pt x="324" y="24"/>
                </a:lnTo>
                <a:lnTo>
                  <a:pt x="322" y="22"/>
                </a:lnTo>
                <a:lnTo>
                  <a:pt x="320" y="20"/>
                </a:lnTo>
                <a:lnTo>
                  <a:pt x="320" y="18"/>
                </a:lnTo>
                <a:lnTo>
                  <a:pt x="318" y="16"/>
                </a:lnTo>
                <a:lnTo>
                  <a:pt x="318" y="14"/>
                </a:lnTo>
                <a:lnTo>
                  <a:pt x="316" y="10"/>
                </a:lnTo>
                <a:lnTo>
                  <a:pt x="312" y="8"/>
                </a:lnTo>
                <a:lnTo>
                  <a:pt x="310" y="8"/>
                </a:lnTo>
                <a:lnTo>
                  <a:pt x="310" y="4"/>
                </a:lnTo>
                <a:lnTo>
                  <a:pt x="314" y="4"/>
                </a:lnTo>
                <a:lnTo>
                  <a:pt x="316" y="6"/>
                </a:lnTo>
                <a:lnTo>
                  <a:pt x="320" y="8"/>
                </a:lnTo>
                <a:lnTo>
                  <a:pt x="324" y="6"/>
                </a:lnTo>
                <a:lnTo>
                  <a:pt x="326" y="6"/>
                </a:lnTo>
                <a:lnTo>
                  <a:pt x="328" y="4"/>
                </a:lnTo>
                <a:lnTo>
                  <a:pt x="330" y="4"/>
                </a:lnTo>
                <a:lnTo>
                  <a:pt x="330" y="2"/>
                </a:lnTo>
                <a:lnTo>
                  <a:pt x="332" y="0"/>
                </a:lnTo>
                <a:lnTo>
                  <a:pt x="336" y="0"/>
                </a:lnTo>
                <a:lnTo>
                  <a:pt x="342" y="4"/>
                </a:lnTo>
                <a:lnTo>
                  <a:pt x="346" y="8"/>
                </a:lnTo>
                <a:lnTo>
                  <a:pt x="350" y="10"/>
                </a:lnTo>
                <a:lnTo>
                  <a:pt x="352" y="10"/>
                </a:lnTo>
                <a:lnTo>
                  <a:pt x="354" y="10"/>
                </a:lnTo>
                <a:lnTo>
                  <a:pt x="356" y="12"/>
                </a:lnTo>
                <a:lnTo>
                  <a:pt x="358" y="12"/>
                </a:lnTo>
                <a:lnTo>
                  <a:pt x="358" y="14"/>
                </a:lnTo>
                <a:lnTo>
                  <a:pt x="358" y="16"/>
                </a:lnTo>
                <a:lnTo>
                  <a:pt x="358" y="18"/>
                </a:lnTo>
                <a:lnTo>
                  <a:pt x="362" y="20"/>
                </a:lnTo>
                <a:lnTo>
                  <a:pt x="364" y="18"/>
                </a:lnTo>
                <a:lnTo>
                  <a:pt x="366" y="20"/>
                </a:lnTo>
                <a:lnTo>
                  <a:pt x="376" y="28"/>
                </a:lnTo>
                <a:lnTo>
                  <a:pt x="376" y="30"/>
                </a:lnTo>
                <a:lnTo>
                  <a:pt x="378" y="32"/>
                </a:lnTo>
                <a:lnTo>
                  <a:pt x="378" y="36"/>
                </a:lnTo>
                <a:lnTo>
                  <a:pt x="380" y="40"/>
                </a:lnTo>
                <a:lnTo>
                  <a:pt x="382" y="42"/>
                </a:lnTo>
                <a:lnTo>
                  <a:pt x="384" y="44"/>
                </a:lnTo>
                <a:lnTo>
                  <a:pt x="382" y="46"/>
                </a:lnTo>
                <a:lnTo>
                  <a:pt x="382" y="48"/>
                </a:lnTo>
                <a:lnTo>
                  <a:pt x="384" y="50"/>
                </a:lnTo>
                <a:lnTo>
                  <a:pt x="384" y="52"/>
                </a:lnTo>
                <a:lnTo>
                  <a:pt x="386" y="54"/>
                </a:lnTo>
                <a:lnTo>
                  <a:pt x="392" y="56"/>
                </a:lnTo>
                <a:lnTo>
                  <a:pt x="404" y="64"/>
                </a:lnTo>
                <a:lnTo>
                  <a:pt x="406" y="66"/>
                </a:lnTo>
                <a:lnTo>
                  <a:pt x="410" y="68"/>
                </a:lnTo>
                <a:lnTo>
                  <a:pt x="412" y="68"/>
                </a:lnTo>
                <a:lnTo>
                  <a:pt x="416" y="68"/>
                </a:lnTo>
                <a:lnTo>
                  <a:pt x="422" y="72"/>
                </a:lnTo>
                <a:lnTo>
                  <a:pt x="422" y="76"/>
                </a:lnTo>
                <a:lnTo>
                  <a:pt x="422" y="78"/>
                </a:lnTo>
                <a:lnTo>
                  <a:pt x="424" y="82"/>
                </a:lnTo>
                <a:lnTo>
                  <a:pt x="426" y="86"/>
                </a:lnTo>
                <a:lnTo>
                  <a:pt x="424" y="88"/>
                </a:lnTo>
                <a:lnTo>
                  <a:pt x="424" y="92"/>
                </a:lnTo>
                <a:lnTo>
                  <a:pt x="424" y="94"/>
                </a:lnTo>
                <a:lnTo>
                  <a:pt x="428" y="96"/>
                </a:lnTo>
                <a:lnTo>
                  <a:pt x="436" y="100"/>
                </a:lnTo>
                <a:lnTo>
                  <a:pt x="438" y="98"/>
                </a:lnTo>
                <a:lnTo>
                  <a:pt x="440" y="96"/>
                </a:lnTo>
                <a:lnTo>
                  <a:pt x="444" y="98"/>
                </a:lnTo>
                <a:lnTo>
                  <a:pt x="446" y="102"/>
                </a:lnTo>
                <a:lnTo>
                  <a:pt x="448" y="114"/>
                </a:lnTo>
                <a:lnTo>
                  <a:pt x="446" y="118"/>
                </a:lnTo>
                <a:lnTo>
                  <a:pt x="446" y="120"/>
                </a:lnTo>
                <a:lnTo>
                  <a:pt x="444" y="120"/>
                </a:lnTo>
                <a:lnTo>
                  <a:pt x="444" y="124"/>
                </a:lnTo>
                <a:lnTo>
                  <a:pt x="446" y="124"/>
                </a:lnTo>
                <a:lnTo>
                  <a:pt x="446" y="126"/>
                </a:lnTo>
                <a:lnTo>
                  <a:pt x="450" y="128"/>
                </a:lnTo>
                <a:lnTo>
                  <a:pt x="452" y="128"/>
                </a:lnTo>
                <a:lnTo>
                  <a:pt x="454" y="128"/>
                </a:lnTo>
                <a:lnTo>
                  <a:pt x="456" y="130"/>
                </a:lnTo>
                <a:lnTo>
                  <a:pt x="458" y="134"/>
                </a:lnTo>
                <a:lnTo>
                  <a:pt x="460" y="132"/>
                </a:lnTo>
                <a:lnTo>
                  <a:pt x="468" y="130"/>
                </a:lnTo>
                <a:lnTo>
                  <a:pt x="474" y="128"/>
                </a:lnTo>
                <a:lnTo>
                  <a:pt x="480" y="130"/>
                </a:lnTo>
                <a:lnTo>
                  <a:pt x="488" y="132"/>
                </a:lnTo>
                <a:lnTo>
                  <a:pt x="494" y="134"/>
                </a:lnTo>
                <a:lnTo>
                  <a:pt x="502" y="128"/>
                </a:lnTo>
                <a:lnTo>
                  <a:pt x="506" y="126"/>
                </a:lnTo>
                <a:lnTo>
                  <a:pt x="508" y="126"/>
                </a:lnTo>
                <a:lnTo>
                  <a:pt x="512" y="126"/>
                </a:lnTo>
                <a:lnTo>
                  <a:pt x="512" y="124"/>
                </a:lnTo>
                <a:lnTo>
                  <a:pt x="516" y="118"/>
                </a:lnTo>
                <a:lnTo>
                  <a:pt x="520" y="114"/>
                </a:lnTo>
                <a:lnTo>
                  <a:pt x="522" y="114"/>
                </a:lnTo>
                <a:lnTo>
                  <a:pt x="522" y="116"/>
                </a:lnTo>
                <a:lnTo>
                  <a:pt x="522" y="118"/>
                </a:lnTo>
                <a:lnTo>
                  <a:pt x="528" y="120"/>
                </a:lnTo>
                <a:lnTo>
                  <a:pt x="532" y="120"/>
                </a:lnTo>
                <a:lnTo>
                  <a:pt x="536" y="122"/>
                </a:lnTo>
                <a:lnTo>
                  <a:pt x="540" y="124"/>
                </a:lnTo>
                <a:lnTo>
                  <a:pt x="550" y="126"/>
                </a:lnTo>
                <a:lnTo>
                  <a:pt x="554" y="124"/>
                </a:lnTo>
                <a:lnTo>
                  <a:pt x="560" y="122"/>
                </a:lnTo>
                <a:lnTo>
                  <a:pt x="568" y="118"/>
                </a:lnTo>
                <a:lnTo>
                  <a:pt x="578" y="126"/>
                </a:lnTo>
                <a:lnTo>
                  <a:pt x="578" y="128"/>
                </a:lnTo>
                <a:lnTo>
                  <a:pt x="582" y="132"/>
                </a:lnTo>
                <a:lnTo>
                  <a:pt x="592" y="134"/>
                </a:lnTo>
                <a:lnTo>
                  <a:pt x="594" y="134"/>
                </a:lnTo>
                <a:lnTo>
                  <a:pt x="596" y="132"/>
                </a:lnTo>
                <a:lnTo>
                  <a:pt x="598" y="134"/>
                </a:lnTo>
                <a:lnTo>
                  <a:pt x="602" y="138"/>
                </a:lnTo>
                <a:lnTo>
                  <a:pt x="602" y="140"/>
                </a:lnTo>
                <a:lnTo>
                  <a:pt x="604" y="142"/>
                </a:lnTo>
                <a:lnTo>
                  <a:pt x="606" y="144"/>
                </a:lnTo>
                <a:lnTo>
                  <a:pt x="608" y="144"/>
                </a:lnTo>
                <a:lnTo>
                  <a:pt x="610" y="146"/>
                </a:lnTo>
                <a:lnTo>
                  <a:pt x="590" y="176"/>
                </a:lnTo>
                <a:lnTo>
                  <a:pt x="588" y="180"/>
                </a:lnTo>
                <a:lnTo>
                  <a:pt x="582" y="190"/>
                </a:lnTo>
                <a:lnTo>
                  <a:pt x="580" y="194"/>
                </a:lnTo>
                <a:lnTo>
                  <a:pt x="576" y="198"/>
                </a:lnTo>
                <a:lnTo>
                  <a:pt x="574" y="202"/>
                </a:lnTo>
                <a:lnTo>
                  <a:pt x="580" y="206"/>
                </a:lnTo>
                <a:lnTo>
                  <a:pt x="584" y="206"/>
                </a:lnTo>
                <a:lnTo>
                  <a:pt x="586" y="206"/>
                </a:lnTo>
                <a:lnTo>
                  <a:pt x="588" y="206"/>
                </a:lnTo>
                <a:lnTo>
                  <a:pt x="590" y="204"/>
                </a:lnTo>
                <a:lnTo>
                  <a:pt x="594" y="202"/>
                </a:lnTo>
                <a:lnTo>
                  <a:pt x="594" y="204"/>
                </a:lnTo>
                <a:lnTo>
                  <a:pt x="596" y="204"/>
                </a:lnTo>
                <a:lnTo>
                  <a:pt x="600" y="208"/>
                </a:lnTo>
                <a:lnTo>
                  <a:pt x="604" y="212"/>
                </a:lnTo>
                <a:lnTo>
                  <a:pt x="604" y="214"/>
                </a:lnTo>
                <a:lnTo>
                  <a:pt x="606" y="216"/>
                </a:lnTo>
                <a:lnTo>
                  <a:pt x="606" y="218"/>
                </a:lnTo>
                <a:lnTo>
                  <a:pt x="610" y="222"/>
                </a:lnTo>
                <a:lnTo>
                  <a:pt x="612" y="222"/>
                </a:lnTo>
                <a:lnTo>
                  <a:pt x="614" y="224"/>
                </a:lnTo>
                <a:lnTo>
                  <a:pt x="616" y="226"/>
                </a:lnTo>
                <a:lnTo>
                  <a:pt x="616" y="228"/>
                </a:lnTo>
                <a:lnTo>
                  <a:pt x="616" y="230"/>
                </a:lnTo>
                <a:lnTo>
                  <a:pt x="614" y="232"/>
                </a:lnTo>
                <a:lnTo>
                  <a:pt x="612" y="234"/>
                </a:lnTo>
                <a:lnTo>
                  <a:pt x="602" y="232"/>
                </a:lnTo>
                <a:lnTo>
                  <a:pt x="600" y="230"/>
                </a:lnTo>
                <a:lnTo>
                  <a:pt x="596" y="228"/>
                </a:lnTo>
                <a:lnTo>
                  <a:pt x="598" y="226"/>
                </a:lnTo>
                <a:lnTo>
                  <a:pt x="596" y="224"/>
                </a:lnTo>
                <a:lnTo>
                  <a:pt x="596" y="222"/>
                </a:lnTo>
                <a:lnTo>
                  <a:pt x="590" y="222"/>
                </a:lnTo>
                <a:lnTo>
                  <a:pt x="588" y="222"/>
                </a:lnTo>
                <a:lnTo>
                  <a:pt x="586" y="224"/>
                </a:lnTo>
                <a:lnTo>
                  <a:pt x="582" y="226"/>
                </a:lnTo>
                <a:lnTo>
                  <a:pt x="580" y="224"/>
                </a:lnTo>
                <a:lnTo>
                  <a:pt x="572" y="222"/>
                </a:lnTo>
                <a:lnTo>
                  <a:pt x="570" y="224"/>
                </a:lnTo>
                <a:lnTo>
                  <a:pt x="568" y="224"/>
                </a:lnTo>
                <a:lnTo>
                  <a:pt x="566" y="228"/>
                </a:lnTo>
                <a:lnTo>
                  <a:pt x="566" y="230"/>
                </a:lnTo>
                <a:lnTo>
                  <a:pt x="562" y="234"/>
                </a:lnTo>
                <a:lnTo>
                  <a:pt x="556" y="234"/>
                </a:lnTo>
                <a:lnTo>
                  <a:pt x="550" y="234"/>
                </a:lnTo>
                <a:lnTo>
                  <a:pt x="544" y="234"/>
                </a:lnTo>
                <a:lnTo>
                  <a:pt x="538" y="238"/>
                </a:lnTo>
                <a:lnTo>
                  <a:pt x="524" y="242"/>
                </a:lnTo>
                <a:lnTo>
                  <a:pt x="520" y="242"/>
                </a:lnTo>
                <a:lnTo>
                  <a:pt x="518" y="240"/>
                </a:lnTo>
                <a:lnTo>
                  <a:pt x="512" y="242"/>
                </a:lnTo>
                <a:lnTo>
                  <a:pt x="510" y="242"/>
                </a:lnTo>
                <a:lnTo>
                  <a:pt x="504" y="248"/>
                </a:lnTo>
                <a:lnTo>
                  <a:pt x="498" y="252"/>
                </a:lnTo>
                <a:lnTo>
                  <a:pt x="492" y="254"/>
                </a:lnTo>
                <a:lnTo>
                  <a:pt x="492" y="256"/>
                </a:lnTo>
                <a:lnTo>
                  <a:pt x="490" y="256"/>
                </a:lnTo>
                <a:lnTo>
                  <a:pt x="488" y="256"/>
                </a:lnTo>
                <a:lnTo>
                  <a:pt x="484" y="256"/>
                </a:lnTo>
                <a:lnTo>
                  <a:pt x="484" y="258"/>
                </a:lnTo>
                <a:lnTo>
                  <a:pt x="484" y="260"/>
                </a:lnTo>
                <a:lnTo>
                  <a:pt x="484" y="262"/>
                </a:lnTo>
                <a:lnTo>
                  <a:pt x="478" y="266"/>
                </a:lnTo>
                <a:lnTo>
                  <a:pt x="472" y="270"/>
                </a:lnTo>
                <a:lnTo>
                  <a:pt x="464" y="272"/>
                </a:lnTo>
                <a:lnTo>
                  <a:pt x="462" y="274"/>
                </a:lnTo>
                <a:lnTo>
                  <a:pt x="458" y="276"/>
                </a:lnTo>
                <a:lnTo>
                  <a:pt x="456" y="278"/>
                </a:lnTo>
                <a:lnTo>
                  <a:pt x="456" y="286"/>
                </a:lnTo>
                <a:lnTo>
                  <a:pt x="454" y="292"/>
                </a:lnTo>
                <a:lnTo>
                  <a:pt x="454" y="294"/>
                </a:lnTo>
                <a:lnTo>
                  <a:pt x="454" y="296"/>
                </a:lnTo>
                <a:lnTo>
                  <a:pt x="454" y="298"/>
                </a:lnTo>
                <a:lnTo>
                  <a:pt x="454" y="304"/>
                </a:lnTo>
                <a:lnTo>
                  <a:pt x="452" y="308"/>
                </a:lnTo>
                <a:lnTo>
                  <a:pt x="448" y="312"/>
                </a:lnTo>
                <a:lnTo>
                  <a:pt x="446" y="314"/>
                </a:lnTo>
                <a:lnTo>
                  <a:pt x="444" y="316"/>
                </a:lnTo>
                <a:lnTo>
                  <a:pt x="440" y="324"/>
                </a:lnTo>
                <a:lnTo>
                  <a:pt x="440" y="326"/>
                </a:lnTo>
                <a:lnTo>
                  <a:pt x="440" y="328"/>
                </a:lnTo>
                <a:lnTo>
                  <a:pt x="440" y="330"/>
                </a:lnTo>
                <a:lnTo>
                  <a:pt x="442" y="336"/>
                </a:lnTo>
                <a:lnTo>
                  <a:pt x="444" y="344"/>
                </a:lnTo>
                <a:lnTo>
                  <a:pt x="444" y="346"/>
                </a:lnTo>
                <a:lnTo>
                  <a:pt x="442" y="350"/>
                </a:lnTo>
                <a:lnTo>
                  <a:pt x="440" y="352"/>
                </a:lnTo>
                <a:lnTo>
                  <a:pt x="440" y="354"/>
                </a:lnTo>
                <a:lnTo>
                  <a:pt x="436" y="354"/>
                </a:lnTo>
                <a:lnTo>
                  <a:pt x="434" y="354"/>
                </a:lnTo>
                <a:lnTo>
                  <a:pt x="432" y="354"/>
                </a:lnTo>
                <a:lnTo>
                  <a:pt x="420" y="364"/>
                </a:lnTo>
                <a:lnTo>
                  <a:pt x="414" y="366"/>
                </a:lnTo>
                <a:lnTo>
                  <a:pt x="410" y="370"/>
                </a:lnTo>
                <a:lnTo>
                  <a:pt x="410" y="372"/>
                </a:lnTo>
                <a:lnTo>
                  <a:pt x="408" y="382"/>
                </a:lnTo>
                <a:lnTo>
                  <a:pt x="408" y="384"/>
                </a:lnTo>
                <a:lnTo>
                  <a:pt x="410" y="384"/>
                </a:lnTo>
                <a:lnTo>
                  <a:pt x="412" y="388"/>
                </a:lnTo>
                <a:lnTo>
                  <a:pt x="414" y="394"/>
                </a:lnTo>
                <a:lnTo>
                  <a:pt x="412" y="396"/>
                </a:lnTo>
                <a:lnTo>
                  <a:pt x="402" y="396"/>
                </a:lnTo>
                <a:lnTo>
                  <a:pt x="402" y="400"/>
                </a:lnTo>
                <a:lnTo>
                  <a:pt x="400" y="406"/>
                </a:lnTo>
                <a:lnTo>
                  <a:pt x="398" y="406"/>
                </a:lnTo>
                <a:lnTo>
                  <a:pt x="398" y="408"/>
                </a:lnTo>
                <a:lnTo>
                  <a:pt x="402" y="410"/>
                </a:lnTo>
                <a:lnTo>
                  <a:pt x="404" y="414"/>
                </a:lnTo>
                <a:lnTo>
                  <a:pt x="404" y="416"/>
                </a:lnTo>
                <a:lnTo>
                  <a:pt x="406" y="416"/>
                </a:lnTo>
                <a:lnTo>
                  <a:pt x="410" y="418"/>
                </a:lnTo>
                <a:lnTo>
                  <a:pt x="412" y="418"/>
                </a:lnTo>
                <a:lnTo>
                  <a:pt x="414" y="418"/>
                </a:lnTo>
                <a:lnTo>
                  <a:pt x="414" y="420"/>
                </a:lnTo>
                <a:lnTo>
                  <a:pt x="414" y="422"/>
                </a:lnTo>
                <a:lnTo>
                  <a:pt x="412" y="424"/>
                </a:lnTo>
                <a:lnTo>
                  <a:pt x="410" y="424"/>
                </a:lnTo>
                <a:lnTo>
                  <a:pt x="410" y="428"/>
                </a:lnTo>
                <a:lnTo>
                  <a:pt x="410" y="430"/>
                </a:lnTo>
                <a:lnTo>
                  <a:pt x="412" y="430"/>
                </a:lnTo>
                <a:lnTo>
                  <a:pt x="416" y="432"/>
                </a:lnTo>
                <a:lnTo>
                  <a:pt x="420" y="438"/>
                </a:lnTo>
                <a:lnTo>
                  <a:pt x="422" y="444"/>
                </a:lnTo>
                <a:lnTo>
                  <a:pt x="422" y="448"/>
                </a:lnTo>
                <a:lnTo>
                  <a:pt x="422" y="450"/>
                </a:lnTo>
                <a:lnTo>
                  <a:pt x="426" y="454"/>
                </a:lnTo>
                <a:lnTo>
                  <a:pt x="430" y="456"/>
                </a:lnTo>
                <a:lnTo>
                  <a:pt x="432" y="464"/>
                </a:lnTo>
                <a:lnTo>
                  <a:pt x="436" y="468"/>
                </a:lnTo>
                <a:lnTo>
                  <a:pt x="438" y="468"/>
                </a:lnTo>
                <a:lnTo>
                  <a:pt x="440" y="468"/>
                </a:lnTo>
                <a:lnTo>
                  <a:pt x="440" y="470"/>
                </a:lnTo>
                <a:lnTo>
                  <a:pt x="442" y="470"/>
                </a:lnTo>
                <a:lnTo>
                  <a:pt x="442" y="472"/>
                </a:lnTo>
                <a:lnTo>
                  <a:pt x="444" y="472"/>
                </a:lnTo>
                <a:lnTo>
                  <a:pt x="444" y="474"/>
                </a:lnTo>
                <a:lnTo>
                  <a:pt x="448" y="480"/>
                </a:lnTo>
                <a:lnTo>
                  <a:pt x="450" y="482"/>
                </a:lnTo>
                <a:lnTo>
                  <a:pt x="454" y="484"/>
                </a:lnTo>
                <a:lnTo>
                  <a:pt x="454" y="488"/>
                </a:lnTo>
                <a:lnTo>
                  <a:pt x="454" y="490"/>
                </a:lnTo>
                <a:lnTo>
                  <a:pt x="454" y="492"/>
                </a:lnTo>
                <a:lnTo>
                  <a:pt x="450" y="496"/>
                </a:lnTo>
                <a:lnTo>
                  <a:pt x="444" y="502"/>
                </a:lnTo>
                <a:lnTo>
                  <a:pt x="442" y="504"/>
                </a:lnTo>
                <a:lnTo>
                  <a:pt x="440" y="506"/>
                </a:lnTo>
                <a:lnTo>
                  <a:pt x="440" y="508"/>
                </a:lnTo>
                <a:lnTo>
                  <a:pt x="452" y="508"/>
                </a:lnTo>
                <a:lnTo>
                  <a:pt x="458" y="508"/>
                </a:lnTo>
                <a:lnTo>
                  <a:pt x="460" y="508"/>
                </a:lnTo>
                <a:lnTo>
                  <a:pt x="466" y="508"/>
                </a:lnTo>
                <a:lnTo>
                  <a:pt x="472" y="510"/>
                </a:lnTo>
                <a:lnTo>
                  <a:pt x="484" y="510"/>
                </a:lnTo>
                <a:lnTo>
                  <a:pt x="484" y="512"/>
                </a:lnTo>
                <a:lnTo>
                  <a:pt x="488" y="514"/>
                </a:lnTo>
                <a:lnTo>
                  <a:pt x="492" y="520"/>
                </a:lnTo>
                <a:lnTo>
                  <a:pt x="492" y="522"/>
                </a:lnTo>
                <a:lnTo>
                  <a:pt x="490" y="526"/>
                </a:lnTo>
                <a:lnTo>
                  <a:pt x="492" y="526"/>
                </a:lnTo>
                <a:lnTo>
                  <a:pt x="492" y="528"/>
                </a:lnTo>
                <a:lnTo>
                  <a:pt x="496" y="530"/>
                </a:lnTo>
                <a:lnTo>
                  <a:pt x="496" y="532"/>
                </a:lnTo>
                <a:lnTo>
                  <a:pt x="496" y="536"/>
                </a:lnTo>
                <a:lnTo>
                  <a:pt x="496" y="540"/>
                </a:lnTo>
                <a:lnTo>
                  <a:pt x="502" y="540"/>
                </a:lnTo>
                <a:lnTo>
                  <a:pt x="504" y="540"/>
                </a:lnTo>
                <a:lnTo>
                  <a:pt x="506" y="540"/>
                </a:lnTo>
                <a:lnTo>
                  <a:pt x="508" y="540"/>
                </a:lnTo>
                <a:lnTo>
                  <a:pt x="524" y="540"/>
                </a:lnTo>
                <a:lnTo>
                  <a:pt x="534" y="540"/>
                </a:lnTo>
                <a:lnTo>
                  <a:pt x="538" y="540"/>
                </a:lnTo>
                <a:lnTo>
                  <a:pt x="542" y="540"/>
                </a:lnTo>
                <a:lnTo>
                  <a:pt x="550" y="536"/>
                </a:lnTo>
                <a:lnTo>
                  <a:pt x="550" y="534"/>
                </a:lnTo>
                <a:lnTo>
                  <a:pt x="550" y="532"/>
                </a:lnTo>
                <a:lnTo>
                  <a:pt x="558" y="530"/>
                </a:lnTo>
                <a:lnTo>
                  <a:pt x="560" y="528"/>
                </a:lnTo>
                <a:lnTo>
                  <a:pt x="566" y="522"/>
                </a:lnTo>
                <a:lnTo>
                  <a:pt x="568" y="520"/>
                </a:lnTo>
                <a:lnTo>
                  <a:pt x="570" y="518"/>
                </a:lnTo>
                <a:lnTo>
                  <a:pt x="578" y="512"/>
                </a:lnTo>
                <a:lnTo>
                  <a:pt x="580" y="510"/>
                </a:lnTo>
                <a:lnTo>
                  <a:pt x="582" y="510"/>
                </a:lnTo>
                <a:lnTo>
                  <a:pt x="584" y="508"/>
                </a:lnTo>
                <a:lnTo>
                  <a:pt x="584" y="512"/>
                </a:lnTo>
                <a:lnTo>
                  <a:pt x="582" y="514"/>
                </a:lnTo>
                <a:lnTo>
                  <a:pt x="580" y="516"/>
                </a:lnTo>
                <a:lnTo>
                  <a:pt x="580" y="520"/>
                </a:lnTo>
                <a:lnTo>
                  <a:pt x="580" y="528"/>
                </a:lnTo>
                <a:lnTo>
                  <a:pt x="580" y="530"/>
                </a:lnTo>
                <a:lnTo>
                  <a:pt x="578" y="530"/>
                </a:lnTo>
                <a:lnTo>
                  <a:pt x="578" y="534"/>
                </a:lnTo>
                <a:lnTo>
                  <a:pt x="578" y="536"/>
                </a:lnTo>
                <a:lnTo>
                  <a:pt x="578" y="544"/>
                </a:lnTo>
                <a:lnTo>
                  <a:pt x="578" y="550"/>
                </a:lnTo>
                <a:lnTo>
                  <a:pt x="578" y="558"/>
                </a:lnTo>
                <a:lnTo>
                  <a:pt x="578" y="572"/>
                </a:lnTo>
                <a:lnTo>
                  <a:pt x="578" y="582"/>
                </a:lnTo>
                <a:lnTo>
                  <a:pt x="578" y="588"/>
                </a:lnTo>
                <a:lnTo>
                  <a:pt x="578" y="592"/>
                </a:lnTo>
                <a:lnTo>
                  <a:pt x="578" y="594"/>
                </a:lnTo>
                <a:lnTo>
                  <a:pt x="580" y="592"/>
                </a:lnTo>
                <a:lnTo>
                  <a:pt x="584" y="590"/>
                </a:lnTo>
                <a:lnTo>
                  <a:pt x="586" y="590"/>
                </a:lnTo>
                <a:lnTo>
                  <a:pt x="586" y="592"/>
                </a:lnTo>
                <a:lnTo>
                  <a:pt x="588" y="594"/>
                </a:lnTo>
                <a:lnTo>
                  <a:pt x="588" y="596"/>
                </a:lnTo>
                <a:lnTo>
                  <a:pt x="590" y="596"/>
                </a:lnTo>
                <a:lnTo>
                  <a:pt x="592" y="598"/>
                </a:lnTo>
                <a:lnTo>
                  <a:pt x="594" y="598"/>
                </a:lnTo>
                <a:lnTo>
                  <a:pt x="600" y="596"/>
                </a:lnTo>
                <a:lnTo>
                  <a:pt x="602" y="596"/>
                </a:lnTo>
                <a:lnTo>
                  <a:pt x="604" y="596"/>
                </a:lnTo>
                <a:lnTo>
                  <a:pt x="608" y="592"/>
                </a:lnTo>
                <a:lnTo>
                  <a:pt x="612" y="590"/>
                </a:lnTo>
                <a:lnTo>
                  <a:pt x="614" y="590"/>
                </a:lnTo>
                <a:lnTo>
                  <a:pt x="616" y="588"/>
                </a:lnTo>
                <a:lnTo>
                  <a:pt x="624" y="590"/>
                </a:lnTo>
                <a:lnTo>
                  <a:pt x="626" y="592"/>
                </a:lnTo>
                <a:lnTo>
                  <a:pt x="628" y="592"/>
                </a:lnTo>
                <a:lnTo>
                  <a:pt x="630" y="592"/>
                </a:lnTo>
                <a:lnTo>
                  <a:pt x="634" y="590"/>
                </a:lnTo>
                <a:close/>
              </a:path>
            </a:pathLst>
          </a:custGeom>
          <a:solidFill>
            <a:srgbClr val="92D050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68" name="Freeform 279"/>
          <p:cNvSpPr>
            <a:spLocks/>
          </p:cNvSpPr>
          <p:nvPr/>
        </p:nvSpPr>
        <p:spPr bwMode="auto">
          <a:xfrm>
            <a:off x="3877344" y="2789591"/>
            <a:ext cx="766763" cy="914400"/>
          </a:xfrm>
          <a:custGeom>
            <a:avLst/>
            <a:gdLst/>
            <a:ahLst/>
            <a:cxnLst>
              <a:cxn ang="0">
                <a:pos x="368" y="656"/>
              </a:cxn>
              <a:cxn ang="0">
                <a:pos x="350" y="670"/>
              </a:cxn>
              <a:cxn ang="0">
                <a:pos x="282" y="692"/>
              </a:cxn>
              <a:cxn ang="0">
                <a:pos x="272" y="714"/>
              </a:cxn>
              <a:cxn ang="0">
                <a:pos x="266" y="700"/>
              </a:cxn>
              <a:cxn ang="0">
                <a:pos x="206" y="674"/>
              </a:cxn>
              <a:cxn ang="0">
                <a:pos x="172" y="662"/>
              </a:cxn>
              <a:cxn ang="0">
                <a:pos x="150" y="678"/>
              </a:cxn>
              <a:cxn ang="0">
                <a:pos x="128" y="706"/>
              </a:cxn>
              <a:cxn ang="0">
                <a:pos x="88" y="690"/>
              </a:cxn>
              <a:cxn ang="0">
                <a:pos x="80" y="660"/>
              </a:cxn>
              <a:cxn ang="0">
                <a:pos x="62" y="608"/>
              </a:cxn>
              <a:cxn ang="0">
                <a:pos x="60" y="592"/>
              </a:cxn>
              <a:cxn ang="0">
                <a:pos x="46" y="578"/>
              </a:cxn>
              <a:cxn ang="0">
                <a:pos x="58" y="554"/>
              </a:cxn>
              <a:cxn ang="0">
                <a:pos x="60" y="524"/>
              </a:cxn>
              <a:cxn ang="0">
                <a:pos x="38" y="498"/>
              </a:cxn>
              <a:cxn ang="0">
                <a:pos x="32" y="472"/>
              </a:cxn>
              <a:cxn ang="0">
                <a:pos x="32" y="452"/>
              </a:cxn>
              <a:cxn ang="0">
                <a:pos x="18" y="436"/>
              </a:cxn>
              <a:cxn ang="0">
                <a:pos x="2" y="406"/>
              </a:cxn>
              <a:cxn ang="0">
                <a:pos x="34" y="378"/>
              </a:cxn>
              <a:cxn ang="0">
                <a:pos x="44" y="356"/>
              </a:cxn>
              <a:cxn ang="0">
                <a:pos x="14" y="320"/>
              </a:cxn>
              <a:cxn ang="0">
                <a:pos x="18" y="284"/>
              </a:cxn>
              <a:cxn ang="0">
                <a:pos x="38" y="252"/>
              </a:cxn>
              <a:cxn ang="0">
                <a:pos x="38" y="230"/>
              </a:cxn>
              <a:cxn ang="0">
                <a:pos x="40" y="188"/>
              </a:cxn>
              <a:cxn ang="0">
                <a:pos x="52" y="156"/>
              </a:cxn>
              <a:cxn ang="0">
                <a:pos x="40" y="118"/>
              </a:cxn>
              <a:cxn ang="0">
                <a:pos x="8" y="66"/>
              </a:cxn>
              <a:cxn ang="0">
                <a:pos x="52" y="78"/>
              </a:cxn>
              <a:cxn ang="0">
                <a:pos x="76" y="70"/>
              </a:cxn>
              <a:cxn ang="0">
                <a:pos x="102" y="52"/>
              </a:cxn>
              <a:cxn ang="0">
                <a:pos x="122" y="40"/>
              </a:cxn>
              <a:cxn ang="0">
                <a:pos x="150" y="24"/>
              </a:cxn>
              <a:cxn ang="0">
                <a:pos x="180" y="8"/>
              </a:cxn>
              <a:cxn ang="0">
                <a:pos x="226" y="4"/>
              </a:cxn>
              <a:cxn ang="0">
                <a:pos x="236" y="20"/>
              </a:cxn>
              <a:cxn ang="0">
                <a:pos x="230" y="42"/>
              </a:cxn>
              <a:cxn ang="0">
                <a:pos x="232" y="86"/>
              </a:cxn>
              <a:cxn ang="0">
                <a:pos x="242" y="112"/>
              </a:cxn>
              <a:cxn ang="0">
                <a:pos x="260" y="126"/>
              </a:cxn>
              <a:cxn ang="0">
                <a:pos x="284" y="152"/>
              </a:cxn>
              <a:cxn ang="0">
                <a:pos x="312" y="152"/>
              </a:cxn>
              <a:cxn ang="0">
                <a:pos x="348" y="162"/>
              </a:cxn>
              <a:cxn ang="0">
                <a:pos x="370" y="182"/>
              </a:cxn>
              <a:cxn ang="0">
                <a:pos x="400" y="188"/>
              </a:cxn>
              <a:cxn ang="0">
                <a:pos x="418" y="210"/>
              </a:cxn>
              <a:cxn ang="0">
                <a:pos x="464" y="214"/>
              </a:cxn>
              <a:cxn ang="0">
                <a:pos x="490" y="244"/>
              </a:cxn>
              <a:cxn ang="0">
                <a:pos x="498" y="298"/>
              </a:cxn>
              <a:cxn ang="0">
                <a:pos x="534" y="364"/>
              </a:cxn>
              <a:cxn ang="0">
                <a:pos x="598" y="370"/>
              </a:cxn>
              <a:cxn ang="0">
                <a:pos x="590" y="400"/>
              </a:cxn>
              <a:cxn ang="0">
                <a:pos x="596" y="420"/>
              </a:cxn>
              <a:cxn ang="0">
                <a:pos x="618" y="430"/>
              </a:cxn>
              <a:cxn ang="0">
                <a:pos x="626" y="450"/>
              </a:cxn>
              <a:cxn ang="0">
                <a:pos x="624" y="516"/>
              </a:cxn>
              <a:cxn ang="0">
                <a:pos x="612" y="566"/>
              </a:cxn>
              <a:cxn ang="0">
                <a:pos x="592" y="556"/>
              </a:cxn>
              <a:cxn ang="0">
                <a:pos x="500" y="528"/>
              </a:cxn>
              <a:cxn ang="0">
                <a:pos x="404" y="558"/>
              </a:cxn>
            </a:cxnLst>
            <a:rect l="0" t="0" r="r" b="b"/>
            <a:pathLst>
              <a:path w="636" h="716">
                <a:moveTo>
                  <a:pt x="386" y="588"/>
                </a:moveTo>
                <a:lnTo>
                  <a:pt x="382" y="594"/>
                </a:lnTo>
                <a:lnTo>
                  <a:pt x="382" y="596"/>
                </a:lnTo>
                <a:lnTo>
                  <a:pt x="382" y="602"/>
                </a:lnTo>
                <a:lnTo>
                  <a:pt x="382" y="606"/>
                </a:lnTo>
                <a:lnTo>
                  <a:pt x="382" y="616"/>
                </a:lnTo>
                <a:lnTo>
                  <a:pt x="382" y="620"/>
                </a:lnTo>
                <a:lnTo>
                  <a:pt x="374" y="640"/>
                </a:lnTo>
                <a:lnTo>
                  <a:pt x="368" y="656"/>
                </a:lnTo>
                <a:lnTo>
                  <a:pt x="368" y="658"/>
                </a:lnTo>
                <a:lnTo>
                  <a:pt x="366" y="664"/>
                </a:lnTo>
                <a:lnTo>
                  <a:pt x="362" y="678"/>
                </a:lnTo>
                <a:lnTo>
                  <a:pt x="358" y="684"/>
                </a:lnTo>
                <a:lnTo>
                  <a:pt x="352" y="680"/>
                </a:lnTo>
                <a:lnTo>
                  <a:pt x="350" y="676"/>
                </a:lnTo>
                <a:lnTo>
                  <a:pt x="350" y="674"/>
                </a:lnTo>
                <a:lnTo>
                  <a:pt x="350" y="672"/>
                </a:lnTo>
                <a:lnTo>
                  <a:pt x="350" y="670"/>
                </a:lnTo>
                <a:lnTo>
                  <a:pt x="346" y="670"/>
                </a:lnTo>
                <a:lnTo>
                  <a:pt x="334" y="670"/>
                </a:lnTo>
                <a:lnTo>
                  <a:pt x="310" y="670"/>
                </a:lnTo>
                <a:lnTo>
                  <a:pt x="306" y="670"/>
                </a:lnTo>
                <a:lnTo>
                  <a:pt x="302" y="670"/>
                </a:lnTo>
                <a:lnTo>
                  <a:pt x="292" y="668"/>
                </a:lnTo>
                <a:lnTo>
                  <a:pt x="290" y="674"/>
                </a:lnTo>
                <a:lnTo>
                  <a:pt x="286" y="684"/>
                </a:lnTo>
                <a:lnTo>
                  <a:pt x="282" y="692"/>
                </a:lnTo>
                <a:lnTo>
                  <a:pt x="280" y="694"/>
                </a:lnTo>
                <a:lnTo>
                  <a:pt x="278" y="696"/>
                </a:lnTo>
                <a:lnTo>
                  <a:pt x="276" y="696"/>
                </a:lnTo>
                <a:lnTo>
                  <a:pt x="276" y="700"/>
                </a:lnTo>
                <a:lnTo>
                  <a:pt x="274" y="700"/>
                </a:lnTo>
                <a:lnTo>
                  <a:pt x="274" y="704"/>
                </a:lnTo>
                <a:lnTo>
                  <a:pt x="274" y="708"/>
                </a:lnTo>
                <a:lnTo>
                  <a:pt x="274" y="710"/>
                </a:lnTo>
                <a:lnTo>
                  <a:pt x="272" y="714"/>
                </a:lnTo>
                <a:lnTo>
                  <a:pt x="272" y="716"/>
                </a:lnTo>
                <a:lnTo>
                  <a:pt x="270" y="716"/>
                </a:lnTo>
                <a:lnTo>
                  <a:pt x="270" y="714"/>
                </a:lnTo>
                <a:lnTo>
                  <a:pt x="270" y="710"/>
                </a:lnTo>
                <a:lnTo>
                  <a:pt x="270" y="708"/>
                </a:lnTo>
                <a:lnTo>
                  <a:pt x="266" y="706"/>
                </a:lnTo>
                <a:lnTo>
                  <a:pt x="264" y="704"/>
                </a:lnTo>
                <a:lnTo>
                  <a:pt x="264" y="702"/>
                </a:lnTo>
                <a:lnTo>
                  <a:pt x="266" y="700"/>
                </a:lnTo>
                <a:lnTo>
                  <a:pt x="264" y="696"/>
                </a:lnTo>
                <a:lnTo>
                  <a:pt x="262" y="690"/>
                </a:lnTo>
                <a:lnTo>
                  <a:pt x="260" y="684"/>
                </a:lnTo>
                <a:lnTo>
                  <a:pt x="258" y="680"/>
                </a:lnTo>
                <a:lnTo>
                  <a:pt x="254" y="678"/>
                </a:lnTo>
                <a:lnTo>
                  <a:pt x="252" y="678"/>
                </a:lnTo>
                <a:lnTo>
                  <a:pt x="238" y="674"/>
                </a:lnTo>
                <a:lnTo>
                  <a:pt x="228" y="674"/>
                </a:lnTo>
                <a:lnTo>
                  <a:pt x="206" y="674"/>
                </a:lnTo>
                <a:lnTo>
                  <a:pt x="204" y="674"/>
                </a:lnTo>
                <a:lnTo>
                  <a:pt x="200" y="674"/>
                </a:lnTo>
                <a:lnTo>
                  <a:pt x="196" y="672"/>
                </a:lnTo>
                <a:lnTo>
                  <a:pt x="194" y="668"/>
                </a:lnTo>
                <a:lnTo>
                  <a:pt x="190" y="664"/>
                </a:lnTo>
                <a:lnTo>
                  <a:pt x="182" y="658"/>
                </a:lnTo>
                <a:lnTo>
                  <a:pt x="176" y="656"/>
                </a:lnTo>
                <a:lnTo>
                  <a:pt x="174" y="656"/>
                </a:lnTo>
                <a:lnTo>
                  <a:pt x="172" y="662"/>
                </a:lnTo>
                <a:lnTo>
                  <a:pt x="172" y="666"/>
                </a:lnTo>
                <a:lnTo>
                  <a:pt x="172" y="668"/>
                </a:lnTo>
                <a:lnTo>
                  <a:pt x="170" y="672"/>
                </a:lnTo>
                <a:lnTo>
                  <a:pt x="168" y="674"/>
                </a:lnTo>
                <a:lnTo>
                  <a:pt x="166" y="674"/>
                </a:lnTo>
                <a:lnTo>
                  <a:pt x="160" y="676"/>
                </a:lnTo>
                <a:lnTo>
                  <a:pt x="158" y="676"/>
                </a:lnTo>
                <a:lnTo>
                  <a:pt x="154" y="678"/>
                </a:lnTo>
                <a:lnTo>
                  <a:pt x="150" y="678"/>
                </a:lnTo>
                <a:lnTo>
                  <a:pt x="148" y="680"/>
                </a:lnTo>
                <a:lnTo>
                  <a:pt x="146" y="686"/>
                </a:lnTo>
                <a:lnTo>
                  <a:pt x="146" y="690"/>
                </a:lnTo>
                <a:lnTo>
                  <a:pt x="142" y="692"/>
                </a:lnTo>
                <a:lnTo>
                  <a:pt x="138" y="692"/>
                </a:lnTo>
                <a:lnTo>
                  <a:pt x="132" y="696"/>
                </a:lnTo>
                <a:lnTo>
                  <a:pt x="132" y="698"/>
                </a:lnTo>
                <a:lnTo>
                  <a:pt x="134" y="702"/>
                </a:lnTo>
                <a:lnTo>
                  <a:pt x="128" y="706"/>
                </a:lnTo>
                <a:lnTo>
                  <a:pt x="124" y="712"/>
                </a:lnTo>
                <a:lnTo>
                  <a:pt x="116" y="712"/>
                </a:lnTo>
                <a:lnTo>
                  <a:pt x="108" y="714"/>
                </a:lnTo>
                <a:lnTo>
                  <a:pt x="104" y="716"/>
                </a:lnTo>
                <a:lnTo>
                  <a:pt x="92" y="714"/>
                </a:lnTo>
                <a:lnTo>
                  <a:pt x="90" y="712"/>
                </a:lnTo>
                <a:lnTo>
                  <a:pt x="88" y="704"/>
                </a:lnTo>
                <a:lnTo>
                  <a:pt x="90" y="696"/>
                </a:lnTo>
                <a:lnTo>
                  <a:pt x="88" y="690"/>
                </a:lnTo>
                <a:lnTo>
                  <a:pt x="86" y="682"/>
                </a:lnTo>
                <a:lnTo>
                  <a:pt x="88" y="682"/>
                </a:lnTo>
                <a:lnTo>
                  <a:pt x="88" y="680"/>
                </a:lnTo>
                <a:lnTo>
                  <a:pt x="86" y="672"/>
                </a:lnTo>
                <a:lnTo>
                  <a:pt x="84" y="670"/>
                </a:lnTo>
                <a:lnTo>
                  <a:pt x="84" y="668"/>
                </a:lnTo>
                <a:lnTo>
                  <a:pt x="78" y="664"/>
                </a:lnTo>
                <a:lnTo>
                  <a:pt x="78" y="662"/>
                </a:lnTo>
                <a:lnTo>
                  <a:pt x="80" y="660"/>
                </a:lnTo>
                <a:lnTo>
                  <a:pt x="80" y="658"/>
                </a:lnTo>
                <a:lnTo>
                  <a:pt x="78" y="656"/>
                </a:lnTo>
                <a:lnTo>
                  <a:pt x="78" y="652"/>
                </a:lnTo>
                <a:lnTo>
                  <a:pt x="78" y="650"/>
                </a:lnTo>
                <a:lnTo>
                  <a:pt x="76" y="648"/>
                </a:lnTo>
                <a:lnTo>
                  <a:pt x="74" y="646"/>
                </a:lnTo>
                <a:lnTo>
                  <a:pt x="74" y="628"/>
                </a:lnTo>
                <a:lnTo>
                  <a:pt x="72" y="624"/>
                </a:lnTo>
                <a:lnTo>
                  <a:pt x="62" y="608"/>
                </a:lnTo>
                <a:lnTo>
                  <a:pt x="60" y="608"/>
                </a:lnTo>
                <a:lnTo>
                  <a:pt x="58" y="608"/>
                </a:lnTo>
                <a:lnTo>
                  <a:pt x="56" y="608"/>
                </a:lnTo>
                <a:lnTo>
                  <a:pt x="56" y="606"/>
                </a:lnTo>
                <a:lnTo>
                  <a:pt x="56" y="604"/>
                </a:lnTo>
                <a:lnTo>
                  <a:pt x="56" y="598"/>
                </a:lnTo>
                <a:lnTo>
                  <a:pt x="58" y="594"/>
                </a:lnTo>
                <a:lnTo>
                  <a:pt x="60" y="594"/>
                </a:lnTo>
                <a:lnTo>
                  <a:pt x="60" y="592"/>
                </a:lnTo>
                <a:lnTo>
                  <a:pt x="60" y="590"/>
                </a:lnTo>
                <a:lnTo>
                  <a:pt x="56" y="588"/>
                </a:lnTo>
                <a:lnTo>
                  <a:pt x="54" y="588"/>
                </a:lnTo>
                <a:lnTo>
                  <a:pt x="52" y="586"/>
                </a:lnTo>
                <a:lnTo>
                  <a:pt x="50" y="584"/>
                </a:lnTo>
                <a:lnTo>
                  <a:pt x="48" y="582"/>
                </a:lnTo>
                <a:lnTo>
                  <a:pt x="46" y="582"/>
                </a:lnTo>
                <a:lnTo>
                  <a:pt x="46" y="580"/>
                </a:lnTo>
                <a:lnTo>
                  <a:pt x="46" y="578"/>
                </a:lnTo>
                <a:lnTo>
                  <a:pt x="48" y="576"/>
                </a:lnTo>
                <a:lnTo>
                  <a:pt x="48" y="570"/>
                </a:lnTo>
                <a:lnTo>
                  <a:pt x="46" y="564"/>
                </a:lnTo>
                <a:lnTo>
                  <a:pt x="44" y="564"/>
                </a:lnTo>
                <a:lnTo>
                  <a:pt x="46" y="562"/>
                </a:lnTo>
                <a:lnTo>
                  <a:pt x="52" y="560"/>
                </a:lnTo>
                <a:lnTo>
                  <a:pt x="54" y="560"/>
                </a:lnTo>
                <a:lnTo>
                  <a:pt x="56" y="560"/>
                </a:lnTo>
                <a:lnTo>
                  <a:pt x="58" y="554"/>
                </a:lnTo>
                <a:lnTo>
                  <a:pt x="56" y="548"/>
                </a:lnTo>
                <a:lnTo>
                  <a:pt x="54" y="546"/>
                </a:lnTo>
                <a:lnTo>
                  <a:pt x="50" y="544"/>
                </a:lnTo>
                <a:lnTo>
                  <a:pt x="50" y="542"/>
                </a:lnTo>
                <a:lnTo>
                  <a:pt x="54" y="536"/>
                </a:lnTo>
                <a:lnTo>
                  <a:pt x="56" y="534"/>
                </a:lnTo>
                <a:lnTo>
                  <a:pt x="58" y="532"/>
                </a:lnTo>
                <a:lnTo>
                  <a:pt x="64" y="526"/>
                </a:lnTo>
                <a:lnTo>
                  <a:pt x="60" y="524"/>
                </a:lnTo>
                <a:lnTo>
                  <a:pt x="58" y="520"/>
                </a:lnTo>
                <a:lnTo>
                  <a:pt x="56" y="520"/>
                </a:lnTo>
                <a:lnTo>
                  <a:pt x="54" y="520"/>
                </a:lnTo>
                <a:lnTo>
                  <a:pt x="52" y="518"/>
                </a:lnTo>
                <a:lnTo>
                  <a:pt x="48" y="514"/>
                </a:lnTo>
                <a:lnTo>
                  <a:pt x="46" y="512"/>
                </a:lnTo>
                <a:lnTo>
                  <a:pt x="40" y="506"/>
                </a:lnTo>
                <a:lnTo>
                  <a:pt x="36" y="502"/>
                </a:lnTo>
                <a:lnTo>
                  <a:pt x="38" y="498"/>
                </a:lnTo>
                <a:lnTo>
                  <a:pt x="36" y="496"/>
                </a:lnTo>
                <a:lnTo>
                  <a:pt x="36" y="490"/>
                </a:lnTo>
                <a:lnTo>
                  <a:pt x="34" y="484"/>
                </a:lnTo>
                <a:lnTo>
                  <a:pt x="34" y="482"/>
                </a:lnTo>
                <a:lnTo>
                  <a:pt x="34" y="480"/>
                </a:lnTo>
                <a:lnTo>
                  <a:pt x="34" y="476"/>
                </a:lnTo>
                <a:lnTo>
                  <a:pt x="34" y="474"/>
                </a:lnTo>
                <a:lnTo>
                  <a:pt x="34" y="472"/>
                </a:lnTo>
                <a:lnTo>
                  <a:pt x="32" y="472"/>
                </a:lnTo>
                <a:lnTo>
                  <a:pt x="32" y="470"/>
                </a:lnTo>
                <a:lnTo>
                  <a:pt x="30" y="464"/>
                </a:lnTo>
                <a:lnTo>
                  <a:pt x="30" y="462"/>
                </a:lnTo>
                <a:lnTo>
                  <a:pt x="30" y="460"/>
                </a:lnTo>
                <a:lnTo>
                  <a:pt x="28" y="458"/>
                </a:lnTo>
                <a:lnTo>
                  <a:pt x="28" y="456"/>
                </a:lnTo>
                <a:lnTo>
                  <a:pt x="30" y="454"/>
                </a:lnTo>
                <a:lnTo>
                  <a:pt x="32" y="454"/>
                </a:lnTo>
                <a:lnTo>
                  <a:pt x="32" y="452"/>
                </a:lnTo>
                <a:lnTo>
                  <a:pt x="32" y="450"/>
                </a:lnTo>
                <a:lnTo>
                  <a:pt x="28" y="450"/>
                </a:lnTo>
                <a:lnTo>
                  <a:pt x="20" y="448"/>
                </a:lnTo>
                <a:lnTo>
                  <a:pt x="18" y="448"/>
                </a:lnTo>
                <a:lnTo>
                  <a:pt x="18" y="446"/>
                </a:lnTo>
                <a:lnTo>
                  <a:pt x="18" y="444"/>
                </a:lnTo>
                <a:lnTo>
                  <a:pt x="18" y="440"/>
                </a:lnTo>
                <a:lnTo>
                  <a:pt x="18" y="438"/>
                </a:lnTo>
                <a:lnTo>
                  <a:pt x="18" y="436"/>
                </a:lnTo>
                <a:lnTo>
                  <a:pt x="16" y="434"/>
                </a:lnTo>
                <a:lnTo>
                  <a:pt x="10" y="428"/>
                </a:lnTo>
                <a:lnTo>
                  <a:pt x="10" y="422"/>
                </a:lnTo>
                <a:lnTo>
                  <a:pt x="10" y="418"/>
                </a:lnTo>
                <a:lnTo>
                  <a:pt x="10" y="416"/>
                </a:lnTo>
                <a:lnTo>
                  <a:pt x="8" y="414"/>
                </a:lnTo>
                <a:lnTo>
                  <a:pt x="4" y="410"/>
                </a:lnTo>
                <a:lnTo>
                  <a:pt x="0" y="410"/>
                </a:lnTo>
                <a:lnTo>
                  <a:pt x="2" y="406"/>
                </a:lnTo>
                <a:lnTo>
                  <a:pt x="4" y="404"/>
                </a:lnTo>
                <a:lnTo>
                  <a:pt x="8" y="402"/>
                </a:lnTo>
                <a:lnTo>
                  <a:pt x="12" y="400"/>
                </a:lnTo>
                <a:lnTo>
                  <a:pt x="14" y="398"/>
                </a:lnTo>
                <a:lnTo>
                  <a:pt x="16" y="398"/>
                </a:lnTo>
                <a:lnTo>
                  <a:pt x="18" y="392"/>
                </a:lnTo>
                <a:lnTo>
                  <a:pt x="26" y="382"/>
                </a:lnTo>
                <a:lnTo>
                  <a:pt x="30" y="380"/>
                </a:lnTo>
                <a:lnTo>
                  <a:pt x="34" y="378"/>
                </a:lnTo>
                <a:lnTo>
                  <a:pt x="36" y="376"/>
                </a:lnTo>
                <a:lnTo>
                  <a:pt x="36" y="374"/>
                </a:lnTo>
                <a:lnTo>
                  <a:pt x="34" y="374"/>
                </a:lnTo>
                <a:lnTo>
                  <a:pt x="34" y="370"/>
                </a:lnTo>
                <a:lnTo>
                  <a:pt x="34" y="366"/>
                </a:lnTo>
                <a:lnTo>
                  <a:pt x="36" y="364"/>
                </a:lnTo>
                <a:lnTo>
                  <a:pt x="46" y="360"/>
                </a:lnTo>
                <a:lnTo>
                  <a:pt x="46" y="358"/>
                </a:lnTo>
                <a:lnTo>
                  <a:pt x="44" y="356"/>
                </a:lnTo>
                <a:lnTo>
                  <a:pt x="42" y="356"/>
                </a:lnTo>
                <a:lnTo>
                  <a:pt x="40" y="354"/>
                </a:lnTo>
                <a:lnTo>
                  <a:pt x="38" y="352"/>
                </a:lnTo>
                <a:lnTo>
                  <a:pt x="34" y="352"/>
                </a:lnTo>
                <a:lnTo>
                  <a:pt x="32" y="354"/>
                </a:lnTo>
                <a:lnTo>
                  <a:pt x="30" y="354"/>
                </a:lnTo>
                <a:lnTo>
                  <a:pt x="28" y="352"/>
                </a:lnTo>
                <a:lnTo>
                  <a:pt x="26" y="350"/>
                </a:lnTo>
                <a:lnTo>
                  <a:pt x="14" y="320"/>
                </a:lnTo>
                <a:lnTo>
                  <a:pt x="18" y="310"/>
                </a:lnTo>
                <a:lnTo>
                  <a:pt x="22" y="304"/>
                </a:lnTo>
                <a:lnTo>
                  <a:pt x="26" y="300"/>
                </a:lnTo>
                <a:lnTo>
                  <a:pt x="28" y="300"/>
                </a:lnTo>
                <a:lnTo>
                  <a:pt x="30" y="300"/>
                </a:lnTo>
                <a:lnTo>
                  <a:pt x="28" y="298"/>
                </a:lnTo>
                <a:lnTo>
                  <a:pt x="26" y="296"/>
                </a:lnTo>
                <a:lnTo>
                  <a:pt x="22" y="290"/>
                </a:lnTo>
                <a:lnTo>
                  <a:pt x="18" y="284"/>
                </a:lnTo>
                <a:lnTo>
                  <a:pt x="18" y="276"/>
                </a:lnTo>
                <a:lnTo>
                  <a:pt x="18" y="274"/>
                </a:lnTo>
                <a:lnTo>
                  <a:pt x="20" y="274"/>
                </a:lnTo>
                <a:lnTo>
                  <a:pt x="24" y="270"/>
                </a:lnTo>
                <a:lnTo>
                  <a:pt x="24" y="268"/>
                </a:lnTo>
                <a:lnTo>
                  <a:pt x="24" y="266"/>
                </a:lnTo>
                <a:lnTo>
                  <a:pt x="24" y="264"/>
                </a:lnTo>
                <a:lnTo>
                  <a:pt x="32" y="258"/>
                </a:lnTo>
                <a:lnTo>
                  <a:pt x="38" y="252"/>
                </a:lnTo>
                <a:lnTo>
                  <a:pt x="38" y="250"/>
                </a:lnTo>
                <a:lnTo>
                  <a:pt x="38" y="246"/>
                </a:lnTo>
                <a:lnTo>
                  <a:pt x="38" y="244"/>
                </a:lnTo>
                <a:lnTo>
                  <a:pt x="40" y="244"/>
                </a:lnTo>
                <a:lnTo>
                  <a:pt x="42" y="244"/>
                </a:lnTo>
                <a:lnTo>
                  <a:pt x="46" y="244"/>
                </a:lnTo>
                <a:lnTo>
                  <a:pt x="42" y="234"/>
                </a:lnTo>
                <a:lnTo>
                  <a:pt x="40" y="232"/>
                </a:lnTo>
                <a:lnTo>
                  <a:pt x="38" y="230"/>
                </a:lnTo>
                <a:lnTo>
                  <a:pt x="38" y="224"/>
                </a:lnTo>
                <a:lnTo>
                  <a:pt x="36" y="222"/>
                </a:lnTo>
                <a:lnTo>
                  <a:pt x="34" y="216"/>
                </a:lnTo>
                <a:lnTo>
                  <a:pt x="36" y="212"/>
                </a:lnTo>
                <a:lnTo>
                  <a:pt x="38" y="208"/>
                </a:lnTo>
                <a:lnTo>
                  <a:pt x="40" y="206"/>
                </a:lnTo>
                <a:lnTo>
                  <a:pt x="40" y="204"/>
                </a:lnTo>
                <a:lnTo>
                  <a:pt x="40" y="192"/>
                </a:lnTo>
                <a:lnTo>
                  <a:pt x="40" y="188"/>
                </a:lnTo>
                <a:lnTo>
                  <a:pt x="40" y="184"/>
                </a:lnTo>
                <a:lnTo>
                  <a:pt x="40" y="180"/>
                </a:lnTo>
                <a:lnTo>
                  <a:pt x="40" y="178"/>
                </a:lnTo>
                <a:lnTo>
                  <a:pt x="40" y="170"/>
                </a:lnTo>
                <a:lnTo>
                  <a:pt x="42" y="168"/>
                </a:lnTo>
                <a:lnTo>
                  <a:pt x="44" y="166"/>
                </a:lnTo>
                <a:lnTo>
                  <a:pt x="48" y="164"/>
                </a:lnTo>
                <a:lnTo>
                  <a:pt x="52" y="158"/>
                </a:lnTo>
                <a:lnTo>
                  <a:pt x="52" y="156"/>
                </a:lnTo>
                <a:lnTo>
                  <a:pt x="56" y="152"/>
                </a:lnTo>
                <a:lnTo>
                  <a:pt x="54" y="150"/>
                </a:lnTo>
                <a:lnTo>
                  <a:pt x="54" y="144"/>
                </a:lnTo>
                <a:lnTo>
                  <a:pt x="52" y="144"/>
                </a:lnTo>
                <a:lnTo>
                  <a:pt x="48" y="134"/>
                </a:lnTo>
                <a:lnTo>
                  <a:pt x="46" y="130"/>
                </a:lnTo>
                <a:lnTo>
                  <a:pt x="42" y="124"/>
                </a:lnTo>
                <a:lnTo>
                  <a:pt x="40" y="120"/>
                </a:lnTo>
                <a:lnTo>
                  <a:pt x="40" y="118"/>
                </a:lnTo>
                <a:lnTo>
                  <a:pt x="38" y="116"/>
                </a:lnTo>
                <a:lnTo>
                  <a:pt x="36" y="114"/>
                </a:lnTo>
                <a:lnTo>
                  <a:pt x="36" y="112"/>
                </a:lnTo>
                <a:lnTo>
                  <a:pt x="30" y="102"/>
                </a:lnTo>
                <a:lnTo>
                  <a:pt x="28" y="98"/>
                </a:lnTo>
                <a:lnTo>
                  <a:pt x="26" y="96"/>
                </a:lnTo>
                <a:lnTo>
                  <a:pt x="16" y="78"/>
                </a:lnTo>
                <a:lnTo>
                  <a:pt x="12" y="74"/>
                </a:lnTo>
                <a:lnTo>
                  <a:pt x="8" y="66"/>
                </a:lnTo>
                <a:lnTo>
                  <a:pt x="10" y="68"/>
                </a:lnTo>
                <a:lnTo>
                  <a:pt x="14" y="68"/>
                </a:lnTo>
                <a:lnTo>
                  <a:pt x="16" y="66"/>
                </a:lnTo>
                <a:lnTo>
                  <a:pt x="18" y="66"/>
                </a:lnTo>
                <a:lnTo>
                  <a:pt x="28" y="68"/>
                </a:lnTo>
                <a:lnTo>
                  <a:pt x="36" y="68"/>
                </a:lnTo>
                <a:lnTo>
                  <a:pt x="48" y="70"/>
                </a:lnTo>
                <a:lnTo>
                  <a:pt x="52" y="70"/>
                </a:lnTo>
                <a:lnTo>
                  <a:pt x="52" y="78"/>
                </a:lnTo>
                <a:lnTo>
                  <a:pt x="54" y="78"/>
                </a:lnTo>
                <a:lnTo>
                  <a:pt x="58" y="78"/>
                </a:lnTo>
                <a:lnTo>
                  <a:pt x="60" y="76"/>
                </a:lnTo>
                <a:lnTo>
                  <a:pt x="62" y="76"/>
                </a:lnTo>
                <a:lnTo>
                  <a:pt x="64" y="76"/>
                </a:lnTo>
                <a:lnTo>
                  <a:pt x="64" y="74"/>
                </a:lnTo>
                <a:lnTo>
                  <a:pt x="72" y="72"/>
                </a:lnTo>
                <a:lnTo>
                  <a:pt x="74" y="70"/>
                </a:lnTo>
                <a:lnTo>
                  <a:pt x="76" y="70"/>
                </a:lnTo>
                <a:lnTo>
                  <a:pt x="78" y="68"/>
                </a:lnTo>
                <a:lnTo>
                  <a:pt x="80" y="66"/>
                </a:lnTo>
                <a:lnTo>
                  <a:pt x="86" y="58"/>
                </a:lnTo>
                <a:lnTo>
                  <a:pt x="86" y="56"/>
                </a:lnTo>
                <a:lnTo>
                  <a:pt x="88" y="54"/>
                </a:lnTo>
                <a:lnTo>
                  <a:pt x="90" y="52"/>
                </a:lnTo>
                <a:lnTo>
                  <a:pt x="92" y="52"/>
                </a:lnTo>
                <a:lnTo>
                  <a:pt x="100" y="52"/>
                </a:lnTo>
                <a:lnTo>
                  <a:pt x="102" y="52"/>
                </a:lnTo>
                <a:lnTo>
                  <a:pt x="104" y="54"/>
                </a:lnTo>
                <a:lnTo>
                  <a:pt x="106" y="54"/>
                </a:lnTo>
                <a:lnTo>
                  <a:pt x="110" y="54"/>
                </a:lnTo>
                <a:lnTo>
                  <a:pt x="110" y="50"/>
                </a:lnTo>
                <a:lnTo>
                  <a:pt x="114" y="44"/>
                </a:lnTo>
                <a:lnTo>
                  <a:pt x="116" y="42"/>
                </a:lnTo>
                <a:lnTo>
                  <a:pt x="118" y="42"/>
                </a:lnTo>
                <a:lnTo>
                  <a:pt x="120" y="42"/>
                </a:lnTo>
                <a:lnTo>
                  <a:pt x="122" y="40"/>
                </a:lnTo>
                <a:lnTo>
                  <a:pt x="128" y="36"/>
                </a:lnTo>
                <a:lnTo>
                  <a:pt x="128" y="34"/>
                </a:lnTo>
                <a:lnTo>
                  <a:pt x="130" y="34"/>
                </a:lnTo>
                <a:lnTo>
                  <a:pt x="134" y="34"/>
                </a:lnTo>
                <a:lnTo>
                  <a:pt x="136" y="34"/>
                </a:lnTo>
                <a:lnTo>
                  <a:pt x="142" y="30"/>
                </a:lnTo>
                <a:lnTo>
                  <a:pt x="144" y="30"/>
                </a:lnTo>
                <a:lnTo>
                  <a:pt x="148" y="26"/>
                </a:lnTo>
                <a:lnTo>
                  <a:pt x="150" y="24"/>
                </a:lnTo>
                <a:lnTo>
                  <a:pt x="152" y="22"/>
                </a:lnTo>
                <a:lnTo>
                  <a:pt x="160" y="16"/>
                </a:lnTo>
                <a:lnTo>
                  <a:pt x="162" y="16"/>
                </a:lnTo>
                <a:lnTo>
                  <a:pt x="164" y="14"/>
                </a:lnTo>
                <a:lnTo>
                  <a:pt x="166" y="12"/>
                </a:lnTo>
                <a:lnTo>
                  <a:pt x="172" y="10"/>
                </a:lnTo>
                <a:lnTo>
                  <a:pt x="174" y="10"/>
                </a:lnTo>
                <a:lnTo>
                  <a:pt x="178" y="10"/>
                </a:lnTo>
                <a:lnTo>
                  <a:pt x="180" y="8"/>
                </a:lnTo>
                <a:lnTo>
                  <a:pt x="192" y="6"/>
                </a:lnTo>
                <a:lnTo>
                  <a:pt x="196" y="4"/>
                </a:lnTo>
                <a:lnTo>
                  <a:pt x="202" y="6"/>
                </a:lnTo>
                <a:lnTo>
                  <a:pt x="208" y="6"/>
                </a:lnTo>
                <a:lnTo>
                  <a:pt x="212" y="4"/>
                </a:lnTo>
                <a:lnTo>
                  <a:pt x="214" y="4"/>
                </a:lnTo>
                <a:lnTo>
                  <a:pt x="222" y="8"/>
                </a:lnTo>
                <a:lnTo>
                  <a:pt x="224" y="8"/>
                </a:lnTo>
                <a:lnTo>
                  <a:pt x="226" y="4"/>
                </a:lnTo>
                <a:lnTo>
                  <a:pt x="228" y="2"/>
                </a:lnTo>
                <a:lnTo>
                  <a:pt x="230" y="0"/>
                </a:lnTo>
                <a:lnTo>
                  <a:pt x="232" y="0"/>
                </a:lnTo>
                <a:lnTo>
                  <a:pt x="234" y="0"/>
                </a:lnTo>
                <a:lnTo>
                  <a:pt x="236" y="4"/>
                </a:lnTo>
                <a:lnTo>
                  <a:pt x="238" y="8"/>
                </a:lnTo>
                <a:lnTo>
                  <a:pt x="238" y="12"/>
                </a:lnTo>
                <a:lnTo>
                  <a:pt x="236" y="14"/>
                </a:lnTo>
                <a:lnTo>
                  <a:pt x="236" y="20"/>
                </a:lnTo>
                <a:lnTo>
                  <a:pt x="238" y="22"/>
                </a:lnTo>
                <a:lnTo>
                  <a:pt x="238" y="28"/>
                </a:lnTo>
                <a:lnTo>
                  <a:pt x="238" y="32"/>
                </a:lnTo>
                <a:lnTo>
                  <a:pt x="236" y="34"/>
                </a:lnTo>
                <a:lnTo>
                  <a:pt x="234" y="36"/>
                </a:lnTo>
                <a:lnTo>
                  <a:pt x="232" y="38"/>
                </a:lnTo>
                <a:lnTo>
                  <a:pt x="232" y="40"/>
                </a:lnTo>
                <a:lnTo>
                  <a:pt x="232" y="42"/>
                </a:lnTo>
                <a:lnTo>
                  <a:pt x="230" y="42"/>
                </a:lnTo>
                <a:lnTo>
                  <a:pt x="230" y="50"/>
                </a:lnTo>
                <a:lnTo>
                  <a:pt x="232" y="58"/>
                </a:lnTo>
                <a:lnTo>
                  <a:pt x="236" y="62"/>
                </a:lnTo>
                <a:lnTo>
                  <a:pt x="236" y="64"/>
                </a:lnTo>
                <a:lnTo>
                  <a:pt x="238" y="70"/>
                </a:lnTo>
                <a:lnTo>
                  <a:pt x="234" y="74"/>
                </a:lnTo>
                <a:lnTo>
                  <a:pt x="232" y="78"/>
                </a:lnTo>
                <a:lnTo>
                  <a:pt x="232" y="80"/>
                </a:lnTo>
                <a:lnTo>
                  <a:pt x="232" y="86"/>
                </a:lnTo>
                <a:lnTo>
                  <a:pt x="234" y="94"/>
                </a:lnTo>
                <a:lnTo>
                  <a:pt x="236" y="98"/>
                </a:lnTo>
                <a:lnTo>
                  <a:pt x="238" y="98"/>
                </a:lnTo>
                <a:lnTo>
                  <a:pt x="240" y="98"/>
                </a:lnTo>
                <a:lnTo>
                  <a:pt x="244" y="104"/>
                </a:lnTo>
                <a:lnTo>
                  <a:pt x="242" y="106"/>
                </a:lnTo>
                <a:lnTo>
                  <a:pt x="242" y="108"/>
                </a:lnTo>
                <a:lnTo>
                  <a:pt x="240" y="110"/>
                </a:lnTo>
                <a:lnTo>
                  <a:pt x="242" y="112"/>
                </a:lnTo>
                <a:lnTo>
                  <a:pt x="244" y="114"/>
                </a:lnTo>
                <a:lnTo>
                  <a:pt x="246" y="110"/>
                </a:lnTo>
                <a:lnTo>
                  <a:pt x="250" y="112"/>
                </a:lnTo>
                <a:lnTo>
                  <a:pt x="250" y="116"/>
                </a:lnTo>
                <a:lnTo>
                  <a:pt x="250" y="118"/>
                </a:lnTo>
                <a:lnTo>
                  <a:pt x="252" y="124"/>
                </a:lnTo>
                <a:lnTo>
                  <a:pt x="254" y="126"/>
                </a:lnTo>
                <a:lnTo>
                  <a:pt x="258" y="126"/>
                </a:lnTo>
                <a:lnTo>
                  <a:pt x="260" y="126"/>
                </a:lnTo>
                <a:lnTo>
                  <a:pt x="262" y="128"/>
                </a:lnTo>
                <a:lnTo>
                  <a:pt x="264" y="128"/>
                </a:lnTo>
                <a:lnTo>
                  <a:pt x="264" y="132"/>
                </a:lnTo>
                <a:lnTo>
                  <a:pt x="266" y="134"/>
                </a:lnTo>
                <a:lnTo>
                  <a:pt x="272" y="136"/>
                </a:lnTo>
                <a:lnTo>
                  <a:pt x="278" y="138"/>
                </a:lnTo>
                <a:lnTo>
                  <a:pt x="278" y="146"/>
                </a:lnTo>
                <a:lnTo>
                  <a:pt x="282" y="150"/>
                </a:lnTo>
                <a:lnTo>
                  <a:pt x="284" y="152"/>
                </a:lnTo>
                <a:lnTo>
                  <a:pt x="286" y="152"/>
                </a:lnTo>
                <a:lnTo>
                  <a:pt x="290" y="152"/>
                </a:lnTo>
                <a:lnTo>
                  <a:pt x="292" y="152"/>
                </a:lnTo>
                <a:lnTo>
                  <a:pt x="296" y="152"/>
                </a:lnTo>
                <a:lnTo>
                  <a:pt x="302" y="154"/>
                </a:lnTo>
                <a:lnTo>
                  <a:pt x="304" y="154"/>
                </a:lnTo>
                <a:lnTo>
                  <a:pt x="308" y="156"/>
                </a:lnTo>
                <a:lnTo>
                  <a:pt x="310" y="154"/>
                </a:lnTo>
                <a:lnTo>
                  <a:pt x="312" y="152"/>
                </a:lnTo>
                <a:lnTo>
                  <a:pt x="314" y="152"/>
                </a:lnTo>
                <a:lnTo>
                  <a:pt x="316" y="152"/>
                </a:lnTo>
                <a:lnTo>
                  <a:pt x="322" y="152"/>
                </a:lnTo>
                <a:lnTo>
                  <a:pt x="332" y="158"/>
                </a:lnTo>
                <a:lnTo>
                  <a:pt x="336" y="162"/>
                </a:lnTo>
                <a:lnTo>
                  <a:pt x="340" y="164"/>
                </a:lnTo>
                <a:lnTo>
                  <a:pt x="344" y="166"/>
                </a:lnTo>
                <a:lnTo>
                  <a:pt x="346" y="164"/>
                </a:lnTo>
                <a:lnTo>
                  <a:pt x="348" y="162"/>
                </a:lnTo>
                <a:lnTo>
                  <a:pt x="350" y="162"/>
                </a:lnTo>
                <a:lnTo>
                  <a:pt x="354" y="162"/>
                </a:lnTo>
                <a:lnTo>
                  <a:pt x="354" y="164"/>
                </a:lnTo>
                <a:lnTo>
                  <a:pt x="356" y="168"/>
                </a:lnTo>
                <a:lnTo>
                  <a:pt x="358" y="172"/>
                </a:lnTo>
                <a:lnTo>
                  <a:pt x="360" y="172"/>
                </a:lnTo>
                <a:lnTo>
                  <a:pt x="364" y="176"/>
                </a:lnTo>
                <a:lnTo>
                  <a:pt x="366" y="178"/>
                </a:lnTo>
                <a:lnTo>
                  <a:pt x="370" y="182"/>
                </a:lnTo>
                <a:lnTo>
                  <a:pt x="374" y="180"/>
                </a:lnTo>
                <a:lnTo>
                  <a:pt x="376" y="182"/>
                </a:lnTo>
                <a:lnTo>
                  <a:pt x="376" y="184"/>
                </a:lnTo>
                <a:lnTo>
                  <a:pt x="388" y="190"/>
                </a:lnTo>
                <a:lnTo>
                  <a:pt x="390" y="190"/>
                </a:lnTo>
                <a:lnTo>
                  <a:pt x="392" y="190"/>
                </a:lnTo>
                <a:lnTo>
                  <a:pt x="396" y="190"/>
                </a:lnTo>
                <a:lnTo>
                  <a:pt x="398" y="188"/>
                </a:lnTo>
                <a:lnTo>
                  <a:pt x="400" y="188"/>
                </a:lnTo>
                <a:lnTo>
                  <a:pt x="404" y="190"/>
                </a:lnTo>
                <a:lnTo>
                  <a:pt x="404" y="192"/>
                </a:lnTo>
                <a:lnTo>
                  <a:pt x="406" y="196"/>
                </a:lnTo>
                <a:lnTo>
                  <a:pt x="410" y="202"/>
                </a:lnTo>
                <a:lnTo>
                  <a:pt x="412" y="202"/>
                </a:lnTo>
                <a:lnTo>
                  <a:pt x="412" y="204"/>
                </a:lnTo>
                <a:lnTo>
                  <a:pt x="416" y="206"/>
                </a:lnTo>
                <a:lnTo>
                  <a:pt x="418" y="208"/>
                </a:lnTo>
                <a:lnTo>
                  <a:pt x="418" y="210"/>
                </a:lnTo>
                <a:lnTo>
                  <a:pt x="420" y="212"/>
                </a:lnTo>
                <a:lnTo>
                  <a:pt x="424" y="210"/>
                </a:lnTo>
                <a:lnTo>
                  <a:pt x="430" y="210"/>
                </a:lnTo>
                <a:lnTo>
                  <a:pt x="432" y="210"/>
                </a:lnTo>
                <a:lnTo>
                  <a:pt x="436" y="212"/>
                </a:lnTo>
                <a:lnTo>
                  <a:pt x="448" y="210"/>
                </a:lnTo>
                <a:lnTo>
                  <a:pt x="460" y="208"/>
                </a:lnTo>
                <a:lnTo>
                  <a:pt x="462" y="212"/>
                </a:lnTo>
                <a:lnTo>
                  <a:pt x="464" y="214"/>
                </a:lnTo>
                <a:lnTo>
                  <a:pt x="474" y="220"/>
                </a:lnTo>
                <a:lnTo>
                  <a:pt x="476" y="220"/>
                </a:lnTo>
                <a:lnTo>
                  <a:pt x="480" y="224"/>
                </a:lnTo>
                <a:lnTo>
                  <a:pt x="484" y="226"/>
                </a:lnTo>
                <a:lnTo>
                  <a:pt x="490" y="226"/>
                </a:lnTo>
                <a:lnTo>
                  <a:pt x="496" y="236"/>
                </a:lnTo>
                <a:lnTo>
                  <a:pt x="494" y="240"/>
                </a:lnTo>
                <a:lnTo>
                  <a:pt x="492" y="242"/>
                </a:lnTo>
                <a:lnTo>
                  <a:pt x="490" y="244"/>
                </a:lnTo>
                <a:lnTo>
                  <a:pt x="490" y="246"/>
                </a:lnTo>
                <a:lnTo>
                  <a:pt x="490" y="254"/>
                </a:lnTo>
                <a:lnTo>
                  <a:pt x="492" y="256"/>
                </a:lnTo>
                <a:lnTo>
                  <a:pt x="496" y="264"/>
                </a:lnTo>
                <a:lnTo>
                  <a:pt x="498" y="272"/>
                </a:lnTo>
                <a:lnTo>
                  <a:pt x="498" y="276"/>
                </a:lnTo>
                <a:lnTo>
                  <a:pt x="498" y="288"/>
                </a:lnTo>
                <a:lnTo>
                  <a:pt x="498" y="294"/>
                </a:lnTo>
                <a:lnTo>
                  <a:pt x="498" y="298"/>
                </a:lnTo>
                <a:lnTo>
                  <a:pt x="492" y="298"/>
                </a:lnTo>
                <a:lnTo>
                  <a:pt x="482" y="298"/>
                </a:lnTo>
                <a:lnTo>
                  <a:pt x="490" y="304"/>
                </a:lnTo>
                <a:lnTo>
                  <a:pt x="500" y="318"/>
                </a:lnTo>
                <a:lnTo>
                  <a:pt x="502" y="346"/>
                </a:lnTo>
                <a:lnTo>
                  <a:pt x="502" y="362"/>
                </a:lnTo>
                <a:lnTo>
                  <a:pt x="504" y="362"/>
                </a:lnTo>
                <a:lnTo>
                  <a:pt x="510" y="362"/>
                </a:lnTo>
                <a:lnTo>
                  <a:pt x="534" y="364"/>
                </a:lnTo>
                <a:lnTo>
                  <a:pt x="536" y="364"/>
                </a:lnTo>
                <a:lnTo>
                  <a:pt x="564" y="366"/>
                </a:lnTo>
                <a:lnTo>
                  <a:pt x="588" y="366"/>
                </a:lnTo>
                <a:lnTo>
                  <a:pt x="592" y="366"/>
                </a:lnTo>
                <a:lnTo>
                  <a:pt x="594" y="366"/>
                </a:lnTo>
                <a:lnTo>
                  <a:pt x="594" y="364"/>
                </a:lnTo>
                <a:lnTo>
                  <a:pt x="598" y="364"/>
                </a:lnTo>
                <a:lnTo>
                  <a:pt x="598" y="366"/>
                </a:lnTo>
                <a:lnTo>
                  <a:pt x="598" y="370"/>
                </a:lnTo>
                <a:lnTo>
                  <a:pt x="596" y="376"/>
                </a:lnTo>
                <a:lnTo>
                  <a:pt x="596" y="378"/>
                </a:lnTo>
                <a:lnTo>
                  <a:pt x="594" y="378"/>
                </a:lnTo>
                <a:lnTo>
                  <a:pt x="592" y="380"/>
                </a:lnTo>
                <a:lnTo>
                  <a:pt x="590" y="384"/>
                </a:lnTo>
                <a:lnTo>
                  <a:pt x="590" y="386"/>
                </a:lnTo>
                <a:lnTo>
                  <a:pt x="588" y="388"/>
                </a:lnTo>
                <a:lnTo>
                  <a:pt x="590" y="398"/>
                </a:lnTo>
                <a:lnTo>
                  <a:pt x="590" y="400"/>
                </a:lnTo>
                <a:lnTo>
                  <a:pt x="590" y="402"/>
                </a:lnTo>
                <a:lnTo>
                  <a:pt x="592" y="404"/>
                </a:lnTo>
                <a:lnTo>
                  <a:pt x="592" y="410"/>
                </a:lnTo>
                <a:lnTo>
                  <a:pt x="592" y="414"/>
                </a:lnTo>
                <a:lnTo>
                  <a:pt x="592" y="416"/>
                </a:lnTo>
                <a:lnTo>
                  <a:pt x="592" y="418"/>
                </a:lnTo>
                <a:lnTo>
                  <a:pt x="594" y="418"/>
                </a:lnTo>
                <a:lnTo>
                  <a:pt x="594" y="420"/>
                </a:lnTo>
                <a:lnTo>
                  <a:pt x="596" y="420"/>
                </a:lnTo>
                <a:lnTo>
                  <a:pt x="598" y="420"/>
                </a:lnTo>
                <a:lnTo>
                  <a:pt x="600" y="422"/>
                </a:lnTo>
                <a:lnTo>
                  <a:pt x="606" y="426"/>
                </a:lnTo>
                <a:lnTo>
                  <a:pt x="606" y="428"/>
                </a:lnTo>
                <a:lnTo>
                  <a:pt x="608" y="428"/>
                </a:lnTo>
                <a:lnTo>
                  <a:pt x="612" y="430"/>
                </a:lnTo>
                <a:lnTo>
                  <a:pt x="612" y="432"/>
                </a:lnTo>
                <a:lnTo>
                  <a:pt x="618" y="428"/>
                </a:lnTo>
                <a:lnTo>
                  <a:pt x="618" y="430"/>
                </a:lnTo>
                <a:lnTo>
                  <a:pt x="624" y="434"/>
                </a:lnTo>
                <a:lnTo>
                  <a:pt x="624" y="436"/>
                </a:lnTo>
                <a:lnTo>
                  <a:pt x="624" y="438"/>
                </a:lnTo>
                <a:lnTo>
                  <a:pt x="624" y="440"/>
                </a:lnTo>
                <a:lnTo>
                  <a:pt x="624" y="442"/>
                </a:lnTo>
                <a:lnTo>
                  <a:pt x="626" y="444"/>
                </a:lnTo>
                <a:lnTo>
                  <a:pt x="626" y="446"/>
                </a:lnTo>
                <a:lnTo>
                  <a:pt x="626" y="448"/>
                </a:lnTo>
                <a:lnTo>
                  <a:pt x="626" y="450"/>
                </a:lnTo>
                <a:lnTo>
                  <a:pt x="632" y="466"/>
                </a:lnTo>
                <a:lnTo>
                  <a:pt x="636" y="470"/>
                </a:lnTo>
                <a:lnTo>
                  <a:pt x="634" y="472"/>
                </a:lnTo>
                <a:lnTo>
                  <a:pt x="632" y="474"/>
                </a:lnTo>
                <a:lnTo>
                  <a:pt x="628" y="484"/>
                </a:lnTo>
                <a:lnTo>
                  <a:pt x="620" y="508"/>
                </a:lnTo>
                <a:lnTo>
                  <a:pt x="622" y="508"/>
                </a:lnTo>
                <a:lnTo>
                  <a:pt x="624" y="510"/>
                </a:lnTo>
                <a:lnTo>
                  <a:pt x="624" y="516"/>
                </a:lnTo>
                <a:lnTo>
                  <a:pt x="620" y="516"/>
                </a:lnTo>
                <a:lnTo>
                  <a:pt x="618" y="518"/>
                </a:lnTo>
                <a:lnTo>
                  <a:pt x="616" y="520"/>
                </a:lnTo>
                <a:lnTo>
                  <a:pt x="614" y="524"/>
                </a:lnTo>
                <a:lnTo>
                  <a:pt x="608" y="536"/>
                </a:lnTo>
                <a:lnTo>
                  <a:pt x="602" y="550"/>
                </a:lnTo>
                <a:lnTo>
                  <a:pt x="600" y="554"/>
                </a:lnTo>
                <a:lnTo>
                  <a:pt x="600" y="556"/>
                </a:lnTo>
                <a:lnTo>
                  <a:pt x="612" y="566"/>
                </a:lnTo>
                <a:lnTo>
                  <a:pt x="610" y="570"/>
                </a:lnTo>
                <a:lnTo>
                  <a:pt x="598" y="576"/>
                </a:lnTo>
                <a:lnTo>
                  <a:pt x="596" y="576"/>
                </a:lnTo>
                <a:lnTo>
                  <a:pt x="598" y="574"/>
                </a:lnTo>
                <a:lnTo>
                  <a:pt x="598" y="572"/>
                </a:lnTo>
                <a:lnTo>
                  <a:pt x="598" y="568"/>
                </a:lnTo>
                <a:lnTo>
                  <a:pt x="598" y="558"/>
                </a:lnTo>
                <a:lnTo>
                  <a:pt x="594" y="556"/>
                </a:lnTo>
                <a:lnTo>
                  <a:pt x="592" y="556"/>
                </a:lnTo>
                <a:lnTo>
                  <a:pt x="578" y="548"/>
                </a:lnTo>
                <a:lnTo>
                  <a:pt x="566" y="540"/>
                </a:lnTo>
                <a:lnTo>
                  <a:pt x="550" y="530"/>
                </a:lnTo>
                <a:lnTo>
                  <a:pt x="546" y="530"/>
                </a:lnTo>
                <a:lnTo>
                  <a:pt x="532" y="530"/>
                </a:lnTo>
                <a:lnTo>
                  <a:pt x="524" y="528"/>
                </a:lnTo>
                <a:lnTo>
                  <a:pt x="504" y="526"/>
                </a:lnTo>
                <a:lnTo>
                  <a:pt x="502" y="526"/>
                </a:lnTo>
                <a:lnTo>
                  <a:pt x="500" y="528"/>
                </a:lnTo>
                <a:lnTo>
                  <a:pt x="480" y="532"/>
                </a:lnTo>
                <a:lnTo>
                  <a:pt x="476" y="534"/>
                </a:lnTo>
                <a:lnTo>
                  <a:pt x="470" y="536"/>
                </a:lnTo>
                <a:lnTo>
                  <a:pt x="460" y="536"/>
                </a:lnTo>
                <a:lnTo>
                  <a:pt x="432" y="540"/>
                </a:lnTo>
                <a:lnTo>
                  <a:pt x="416" y="542"/>
                </a:lnTo>
                <a:lnTo>
                  <a:pt x="412" y="544"/>
                </a:lnTo>
                <a:lnTo>
                  <a:pt x="410" y="548"/>
                </a:lnTo>
                <a:lnTo>
                  <a:pt x="404" y="558"/>
                </a:lnTo>
                <a:lnTo>
                  <a:pt x="402" y="568"/>
                </a:lnTo>
                <a:lnTo>
                  <a:pt x="390" y="580"/>
                </a:lnTo>
                <a:lnTo>
                  <a:pt x="386" y="588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1" name="Group 280"/>
          <p:cNvGrpSpPr>
            <a:grpSpLocks/>
          </p:cNvGrpSpPr>
          <p:nvPr/>
        </p:nvGrpSpPr>
        <p:grpSpPr bwMode="auto">
          <a:xfrm>
            <a:off x="5008993" y="1961709"/>
            <a:ext cx="267745" cy="296213"/>
            <a:chOff x="3470" y="864"/>
            <a:chExt cx="222" cy="232"/>
          </a:xfrm>
        </p:grpSpPr>
        <p:sp>
          <p:nvSpPr>
            <p:cNvPr id="170" name="Freeform 282"/>
            <p:cNvSpPr>
              <a:spLocks/>
            </p:cNvSpPr>
            <p:nvPr/>
          </p:nvSpPr>
          <p:spPr bwMode="auto">
            <a:xfrm>
              <a:off x="3572" y="864"/>
              <a:ext cx="8" cy="4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4" y="4"/>
                </a:cxn>
              </a:cxnLst>
              <a:rect l="0" t="0" r="r" b="b"/>
              <a:pathLst>
                <a:path w="8" h="4">
                  <a:moveTo>
                    <a:pt x="4" y="4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1" name="Freeform 283"/>
            <p:cNvSpPr>
              <a:spLocks/>
            </p:cNvSpPr>
            <p:nvPr/>
          </p:nvSpPr>
          <p:spPr bwMode="auto">
            <a:xfrm>
              <a:off x="3574" y="868"/>
              <a:ext cx="12" cy="14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4" y="12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10" y="6"/>
                </a:cxn>
                <a:cxn ang="0">
                  <a:pos x="12" y="8"/>
                </a:cxn>
                <a:cxn ang="0">
                  <a:pos x="12" y="10"/>
                </a:cxn>
                <a:cxn ang="0">
                  <a:pos x="10" y="10"/>
                </a:cxn>
                <a:cxn ang="0">
                  <a:pos x="8" y="12"/>
                </a:cxn>
                <a:cxn ang="0">
                  <a:pos x="6" y="14"/>
                </a:cxn>
              </a:cxnLst>
              <a:rect l="0" t="0" r="r" b="b"/>
              <a:pathLst>
                <a:path w="12" h="14">
                  <a:moveTo>
                    <a:pt x="6" y="14"/>
                  </a:moveTo>
                  <a:lnTo>
                    <a:pt x="4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2" name="Freeform 284"/>
            <p:cNvSpPr>
              <a:spLocks/>
            </p:cNvSpPr>
            <p:nvPr/>
          </p:nvSpPr>
          <p:spPr bwMode="auto">
            <a:xfrm>
              <a:off x="3598" y="928"/>
              <a:ext cx="8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4" y="6"/>
                </a:cxn>
                <a:cxn ang="0">
                  <a:pos x="2" y="6"/>
                </a:cxn>
              </a:cxnLst>
              <a:rect l="0" t="0" r="r" b="b"/>
              <a:pathLst>
                <a:path w="8" h="6">
                  <a:moveTo>
                    <a:pt x="2" y="6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3" name="Freeform 285"/>
            <p:cNvSpPr>
              <a:spLocks/>
            </p:cNvSpPr>
            <p:nvPr/>
          </p:nvSpPr>
          <p:spPr bwMode="auto">
            <a:xfrm>
              <a:off x="3588" y="934"/>
              <a:ext cx="14" cy="12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0" y="4"/>
                </a:cxn>
                <a:cxn ang="0">
                  <a:pos x="12" y="4"/>
                </a:cxn>
                <a:cxn ang="0">
                  <a:pos x="14" y="0"/>
                </a:cxn>
                <a:cxn ang="0">
                  <a:pos x="14" y="2"/>
                </a:cxn>
                <a:cxn ang="0">
                  <a:pos x="12" y="8"/>
                </a:cxn>
                <a:cxn ang="0">
                  <a:pos x="10" y="8"/>
                </a:cxn>
                <a:cxn ang="0">
                  <a:pos x="10" y="10"/>
                </a:cxn>
                <a:cxn ang="0">
                  <a:pos x="8" y="10"/>
                </a:cxn>
                <a:cxn ang="0">
                  <a:pos x="6" y="10"/>
                </a:cxn>
                <a:cxn ang="0">
                  <a:pos x="0" y="12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4" name="Freeform 286"/>
            <p:cNvSpPr>
              <a:spLocks/>
            </p:cNvSpPr>
            <p:nvPr/>
          </p:nvSpPr>
          <p:spPr bwMode="auto">
            <a:xfrm>
              <a:off x="3584" y="950"/>
              <a:ext cx="16" cy="16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2" y="16"/>
                </a:cxn>
                <a:cxn ang="0">
                  <a:pos x="2" y="14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2" y="8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6" y="4"/>
                </a:cxn>
                <a:cxn ang="0">
                  <a:pos x="16" y="6"/>
                </a:cxn>
                <a:cxn ang="0">
                  <a:pos x="10" y="14"/>
                </a:cxn>
                <a:cxn ang="0">
                  <a:pos x="6" y="16"/>
                </a:cxn>
                <a:cxn ang="0">
                  <a:pos x="4" y="16"/>
                </a:cxn>
              </a:cxnLst>
              <a:rect l="0" t="0" r="r" b="b"/>
              <a:pathLst>
                <a:path w="16" h="16">
                  <a:moveTo>
                    <a:pt x="4" y="16"/>
                  </a:moveTo>
                  <a:lnTo>
                    <a:pt x="2" y="16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8"/>
                  </a:lnTo>
                  <a:lnTo>
                    <a:pt x="4" y="4"/>
                  </a:lnTo>
                  <a:lnTo>
                    <a:pt x="6" y="4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0" y="14"/>
                  </a:lnTo>
                  <a:lnTo>
                    <a:pt x="6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5" name="Freeform 287"/>
            <p:cNvSpPr>
              <a:spLocks/>
            </p:cNvSpPr>
            <p:nvPr/>
          </p:nvSpPr>
          <p:spPr bwMode="auto">
            <a:xfrm>
              <a:off x="3574" y="952"/>
              <a:ext cx="10" cy="24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0" y="24"/>
                </a:cxn>
                <a:cxn ang="0">
                  <a:pos x="0" y="22"/>
                </a:cxn>
                <a:cxn ang="0">
                  <a:pos x="0" y="20"/>
                </a:cxn>
                <a:cxn ang="0">
                  <a:pos x="2" y="20"/>
                </a:cxn>
                <a:cxn ang="0">
                  <a:pos x="2" y="18"/>
                </a:cxn>
                <a:cxn ang="0">
                  <a:pos x="2" y="16"/>
                </a:cxn>
                <a:cxn ang="0">
                  <a:pos x="4" y="16"/>
                </a:cxn>
                <a:cxn ang="0">
                  <a:pos x="4" y="14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8" y="10"/>
                </a:cxn>
                <a:cxn ang="0">
                  <a:pos x="8" y="12"/>
                </a:cxn>
                <a:cxn ang="0">
                  <a:pos x="10" y="12"/>
                </a:cxn>
                <a:cxn ang="0">
                  <a:pos x="10" y="14"/>
                </a:cxn>
                <a:cxn ang="0">
                  <a:pos x="10" y="16"/>
                </a:cxn>
                <a:cxn ang="0">
                  <a:pos x="10" y="18"/>
                </a:cxn>
                <a:cxn ang="0">
                  <a:pos x="10" y="20"/>
                </a:cxn>
                <a:cxn ang="0">
                  <a:pos x="8" y="20"/>
                </a:cxn>
                <a:cxn ang="0">
                  <a:pos x="6" y="20"/>
                </a:cxn>
                <a:cxn ang="0">
                  <a:pos x="6" y="22"/>
                </a:cxn>
                <a:cxn ang="0">
                  <a:pos x="4" y="24"/>
                </a:cxn>
              </a:cxnLst>
              <a:rect l="0" t="0" r="r" b="b"/>
              <a:pathLst>
                <a:path w="10" h="24">
                  <a:moveTo>
                    <a:pt x="4" y="24"/>
                  </a:move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4" y="8"/>
                  </a:lnTo>
                  <a:lnTo>
                    <a:pt x="6" y="4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20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4" y="2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6" name="Freeform 288"/>
            <p:cNvSpPr>
              <a:spLocks/>
            </p:cNvSpPr>
            <p:nvPr/>
          </p:nvSpPr>
          <p:spPr bwMode="auto">
            <a:xfrm>
              <a:off x="3580" y="966"/>
              <a:ext cx="42" cy="24"/>
            </a:xfrm>
            <a:custGeom>
              <a:avLst/>
              <a:gdLst/>
              <a:ahLst/>
              <a:cxnLst>
                <a:cxn ang="0">
                  <a:pos x="22" y="24"/>
                </a:cxn>
                <a:cxn ang="0">
                  <a:pos x="20" y="20"/>
                </a:cxn>
                <a:cxn ang="0">
                  <a:pos x="18" y="20"/>
                </a:cxn>
                <a:cxn ang="0">
                  <a:pos x="16" y="18"/>
                </a:cxn>
                <a:cxn ang="0">
                  <a:pos x="14" y="18"/>
                </a:cxn>
                <a:cxn ang="0">
                  <a:pos x="12" y="18"/>
                </a:cxn>
                <a:cxn ang="0">
                  <a:pos x="10" y="18"/>
                </a:cxn>
                <a:cxn ang="0">
                  <a:pos x="8" y="18"/>
                </a:cxn>
                <a:cxn ang="0">
                  <a:pos x="6" y="18"/>
                </a:cxn>
                <a:cxn ang="0">
                  <a:pos x="4" y="18"/>
                </a:cxn>
                <a:cxn ang="0">
                  <a:pos x="2" y="18"/>
                </a:cxn>
                <a:cxn ang="0">
                  <a:pos x="0" y="14"/>
                </a:cxn>
                <a:cxn ang="0">
                  <a:pos x="0" y="10"/>
                </a:cxn>
                <a:cxn ang="0">
                  <a:pos x="2" y="8"/>
                </a:cxn>
                <a:cxn ang="0">
                  <a:pos x="6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4" y="8"/>
                </a:cxn>
                <a:cxn ang="0">
                  <a:pos x="16" y="6"/>
                </a:cxn>
                <a:cxn ang="0">
                  <a:pos x="18" y="4"/>
                </a:cxn>
                <a:cxn ang="0">
                  <a:pos x="20" y="4"/>
                </a:cxn>
                <a:cxn ang="0">
                  <a:pos x="22" y="4"/>
                </a:cxn>
                <a:cxn ang="0">
                  <a:pos x="24" y="4"/>
                </a:cxn>
                <a:cxn ang="0">
                  <a:pos x="28" y="2"/>
                </a:cxn>
                <a:cxn ang="0">
                  <a:pos x="32" y="2"/>
                </a:cxn>
                <a:cxn ang="0">
                  <a:pos x="36" y="2"/>
                </a:cxn>
                <a:cxn ang="0">
                  <a:pos x="36" y="0"/>
                </a:cxn>
                <a:cxn ang="0">
                  <a:pos x="38" y="0"/>
                </a:cxn>
                <a:cxn ang="0">
                  <a:pos x="38" y="2"/>
                </a:cxn>
                <a:cxn ang="0">
                  <a:pos x="40" y="2"/>
                </a:cxn>
                <a:cxn ang="0">
                  <a:pos x="40" y="4"/>
                </a:cxn>
                <a:cxn ang="0">
                  <a:pos x="42" y="4"/>
                </a:cxn>
                <a:cxn ang="0">
                  <a:pos x="42" y="6"/>
                </a:cxn>
                <a:cxn ang="0">
                  <a:pos x="42" y="8"/>
                </a:cxn>
                <a:cxn ang="0">
                  <a:pos x="40" y="8"/>
                </a:cxn>
                <a:cxn ang="0">
                  <a:pos x="40" y="10"/>
                </a:cxn>
                <a:cxn ang="0">
                  <a:pos x="38" y="10"/>
                </a:cxn>
                <a:cxn ang="0">
                  <a:pos x="34" y="12"/>
                </a:cxn>
                <a:cxn ang="0">
                  <a:pos x="32" y="14"/>
                </a:cxn>
                <a:cxn ang="0">
                  <a:pos x="30" y="16"/>
                </a:cxn>
                <a:cxn ang="0">
                  <a:pos x="30" y="18"/>
                </a:cxn>
                <a:cxn ang="0">
                  <a:pos x="28" y="18"/>
                </a:cxn>
                <a:cxn ang="0">
                  <a:pos x="28" y="20"/>
                </a:cxn>
                <a:cxn ang="0">
                  <a:pos x="28" y="22"/>
                </a:cxn>
                <a:cxn ang="0">
                  <a:pos x="26" y="22"/>
                </a:cxn>
                <a:cxn ang="0">
                  <a:pos x="22" y="24"/>
                </a:cxn>
              </a:cxnLst>
              <a:rect l="0" t="0" r="r" b="b"/>
              <a:pathLst>
                <a:path w="42" h="24">
                  <a:moveTo>
                    <a:pt x="22" y="24"/>
                  </a:moveTo>
                  <a:lnTo>
                    <a:pt x="20" y="20"/>
                  </a:lnTo>
                  <a:lnTo>
                    <a:pt x="18" y="20"/>
                  </a:lnTo>
                  <a:lnTo>
                    <a:pt x="16" y="18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6" y="6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24" y="4"/>
                  </a:lnTo>
                  <a:lnTo>
                    <a:pt x="28" y="2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4" y="12"/>
                  </a:lnTo>
                  <a:lnTo>
                    <a:pt x="32" y="14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8" y="20"/>
                  </a:lnTo>
                  <a:lnTo>
                    <a:pt x="28" y="22"/>
                  </a:lnTo>
                  <a:lnTo>
                    <a:pt x="26" y="22"/>
                  </a:lnTo>
                  <a:lnTo>
                    <a:pt x="22" y="2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7" name="Freeform 289"/>
            <p:cNvSpPr>
              <a:spLocks/>
            </p:cNvSpPr>
            <p:nvPr/>
          </p:nvSpPr>
          <p:spPr bwMode="auto">
            <a:xfrm>
              <a:off x="3566" y="974"/>
              <a:ext cx="12" cy="14"/>
            </a:xfrm>
            <a:custGeom>
              <a:avLst/>
              <a:gdLst/>
              <a:ahLst/>
              <a:cxnLst>
                <a:cxn ang="0">
                  <a:pos x="10" y="14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4" y="10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10" y="4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2" y="10"/>
                </a:cxn>
                <a:cxn ang="0">
                  <a:pos x="12" y="12"/>
                </a:cxn>
                <a:cxn ang="0">
                  <a:pos x="10" y="14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lnTo>
                    <a:pt x="8" y="14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2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0" y="1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8" name="Freeform 290"/>
            <p:cNvSpPr>
              <a:spLocks/>
            </p:cNvSpPr>
            <p:nvPr/>
          </p:nvSpPr>
          <p:spPr bwMode="auto">
            <a:xfrm>
              <a:off x="3610" y="982"/>
              <a:ext cx="26" cy="12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6" y="4"/>
                </a:cxn>
                <a:cxn ang="0">
                  <a:pos x="8" y="2"/>
                </a:cxn>
                <a:cxn ang="0">
                  <a:pos x="10" y="0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20" y="0"/>
                </a:cxn>
                <a:cxn ang="0">
                  <a:pos x="22" y="2"/>
                </a:cxn>
                <a:cxn ang="0">
                  <a:pos x="24" y="2"/>
                </a:cxn>
                <a:cxn ang="0">
                  <a:pos x="26" y="4"/>
                </a:cxn>
                <a:cxn ang="0">
                  <a:pos x="26" y="6"/>
                </a:cxn>
                <a:cxn ang="0">
                  <a:pos x="26" y="8"/>
                </a:cxn>
                <a:cxn ang="0">
                  <a:pos x="24" y="10"/>
                </a:cxn>
                <a:cxn ang="0">
                  <a:pos x="22" y="10"/>
                </a:cxn>
                <a:cxn ang="0">
                  <a:pos x="18" y="12"/>
                </a:cxn>
                <a:cxn ang="0">
                  <a:pos x="14" y="12"/>
                </a:cxn>
                <a:cxn ang="0">
                  <a:pos x="12" y="12"/>
                </a:cxn>
                <a:cxn ang="0">
                  <a:pos x="10" y="12"/>
                </a:cxn>
                <a:cxn ang="0">
                  <a:pos x="8" y="12"/>
                </a:cxn>
              </a:cxnLst>
              <a:rect l="0" t="0" r="r" b="b"/>
              <a:pathLst>
                <a:path w="26" h="12">
                  <a:moveTo>
                    <a:pt x="8" y="12"/>
                  </a:moveTo>
                  <a:lnTo>
                    <a:pt x="2" y="10"/>
                  </a:lnTo>
                  <a:lnTo>
                    <a:pt x="0" y="8"/>
                  </a:lnTo>
                  <a:lnTo>
                    <a:pt x="6" y="4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4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18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8" y="1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9" name="Freeform 291"/>
            <p:cNvSpPr>
              <a:spLocks/>
            </p:cNvSpPr>
            <p:nvPr/>
          </p:nvSpPr>
          <p:spPr bwMode="auto">
            <a:xfrm>
              <a:off x="3552" y="982"/>
              <a:ext cx="12" cy="6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2" y="4"/>
                </a:cxn>
                <a:cxn ang="0">
                  <a:pos x="10" y="4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</a:cxnLst>
              <a:rect l="0" t="0" r="r" b="b"/>
              <a:pathLst>
                <a:path w="12" h="6">
                  <a:moveTo>
                    <a:pt x="2" y="4"/>
                  </a:moveTo>
                  <a:lnTo>
                    <a:pt x="4" y="2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0" name="Freeform 292"/>
            <p:cNvSpPr>
              <a:spLocks/>
            </p:cNvSpPr>
            <p:nvPr/>
          </p:nvSpPr>
          <p:spPr bwMode="auto">
            <a:xfrm>
              <a:off x="3546" y="986"/>
              <a:ext cx="26" cy="16"/>
            </a:xfrm>
            <a:custGeom>
              <a:avLst/>
              <a:gdLst/>
              <a:ahLst/>
              <a:cxnLst>
                <a:cxn ang="0">
                  <a:pos x="10" y="16"/>
                </a:cxn>
                <a:cxn ang="0">
                  <a:pos x="8" y="16"/>
                </a:cxn>
                <a:cxn ang="0">
                  <a:pos x="6" y="16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2" y="6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10" y="4"/>
                </a:cxn>
                <a:cxn ang="0">
                  <a:pos x="14" y="2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22" y="0"/>
                </a:cxn>
                <a:cxn ang="0">
                  <a:pos x="26" y="2"/>
                </a:cxn>
                <a:cxn ang="0">
                  <a:pos x="26" y="4"/>
                </a:cxn>
                <a:cxn ang="0">
                  <a:pos x="20" y="10"/>
                </a:cxn>
                <a:cxn ang="0">
                  <a:pos x="18" y="10"/>
                </a:cxn>
                <a:cxn ang="0">
                  <a:pos x="16" y="10"/>
                </a:cxn>
                <a:cxn ang="0">
                  <a:pos x="14" y="12"/>
                </a:cxn>
                <a:cxn ang="0">
                  <a:pos x="12" y="14"/>
                </a:cxn>
                <a:cxn ang="0">
                  <a:pos x="10" y="16"/>
                </a:cxn>
              </a:cxnLst>
              <a:rect l="0" t="0" r="r" b="b"/>
              <a:pathLst>
                <a:path w="26" h="16">
                  <a:moveTo>
                    <a:pt x="10" y="16"/>
                  </a:moveTo>
                  <a:lnTo>
                    <a:pt x="8" y="16"/>
                  </a:lnTo>
                  <a:lnTo>
                    <a:pt x="6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6" y="2"/>
                  </a:lnTo>
                  <a:lnTo>
                    <a:pt x="26" y="4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10" y="16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1" name="Freeform 293"/>
            <p:cNvSpPr>
              <a:spLocks/>
            </p:cNvSpPr>
            <p:nvPr/>
          </p:nvSpPr>
          <p:spPr bwMode="auto">
            <a:xfrm>
              <a:off x="3558" y="992"/>
              <a:ext cx="132" cy="96"/>
            </a:xfrm>
            <a:custGeom>
              <a:avLst/>
              <a:gdLst/>
              <a:ahLst/>
              <a:cxnLst>
                <a:cxn ang="0">
                  <a:pos x="100" y="80"/>
                </a:cxn>
                <a:cxn ang="0">
                  <a:pos x="78" y="86"/>
                </a:cxn>
                <a:cxn ang="0">
                  <a:pos x="68" y="88"/>
                </a:cxn>
                <a:cxn ang="0">
                  <a:pos x="58" y="90"/>
                </a:cxn>
                <a:cxn ang="0">
                  <a:pos x="56" y="86"/>
                </a:cxn>
                <a:cxn ang="0">
                  <a:pos x="58" y="88"/>
                </a:cxn>
                <a:cxn ang="0">
                  <a:pos x="58" y="92"/>
                </a:cxn>
                <a:cxn ang="0">
                  <a:pos x="54" y="94"/>
                </a:cxn>
                <a:cxn ang="0">
                  <a:pos x="48" y="92"/>
                </a:cxn>
                <a:cxn ang="0">
                  <a:pos x="40" y="88"/>
                </a:cxn>
                <a:cxn ang="0">
                  <a:pos x="38" y="92"/>
                </a:cxn>
                <a:cxn ang="0">
                  <a:pos x="24" y="96"/>
                </a:cxn>
                <a:cxn ang="0">
                  <a:pos x="12" y="94"/>
                </a:cxn>
                <a:cxn ang="0">
                  <a:pos x="8" y="90"/>
                </a:cxn>
                <a:cxn ang="0">
                  <a:pos x="6" y="82"/>
                </a:cxn>
                <a:cxn ang="0">
                  <a:pos x="2" y="76"/>
                </a:cxn>
                <a:cxn ang="0">
                  <a:pos x="0" y="68"/>
                </a:cxn>
                <a:cxn ang="0">
                  <a:pos x="4" y="56"/>
                </a:cxn>
                <a:cxn ang="0">
                  <a:pos x="8" y="58"/>
                </a:cxn>
                <a:cxn ang="0">
                  <a:pos x="14" y="56"/>
                </a:cxn>
                <a:cxn ang="0">
                  <a:pos x="8" y="54"/>
                </a:cxn>
                <a:cxn ang="0">
                  <a:pos x="2" y="52"/>
                </a:cxn>
                <a:cxn ang="0">
                  <a:pos x="2" y="46"/>
                </a:cxn>
                <a:cxn ang="0">
                  <a:pos x="4" y="28"/>
                </a:cxn>
                <a:cxn ang="0">
                  <a:pos x="12" y="32"/>
                </a:cxn>
                <a:cxn ang="0">
                  <a:pos x="12" y="30"/>
                </a:cxn>
                <a:cxn ang="0">
                  <a:pos x="8" y="28"/>
                </a:cxn>
                <a:cxn ang="0">
                  <a:pos x="6" y="24"/>
                </a:cxn>
                <a:cxn ang="0">
                  <a:pos x="6" y="16"/>
                </a:cxn>
                <a:cxn ang="0">
                  <a:pos x="8" y="10"/>
                </a:cxn>
                <a:cxn ang="0">
                  <a:pos x="12" y="6"/>
                </a:cxn>
                <a:cxn ang="0">
                  <a:pos x="16" y="2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36" y="2"/>
                </a:cxn>
                <a:cxn ang="0">
                  <a:pos x="54" y="6"/>
                </a:cxn>
                <a:cxn ang="0">
                  <a:pos x="64" y="8"/>
                </a:cxn>
                <a:cxn ang="0">
                  <a:pos x="78" y="6"/>
                </a:cxn>
                <a:cxn ang="0">
                  <a:pos x="80" y="2"/>
                </a:cxn>
                <a:cxn ang="0">
                  <a:pos x="90" y="2"/>
                </a:cxn>
                <a:cxn ang="0">
                  <a:pos x="108" y="6"/>
                </a:cxn>
                <a:cxn ang="0">
                  <a:pos x="130" y="10"/>
                </a:cxn>
                <a:cxn ang="0">
                  <a:pos x="132" y="12"/>
                </a:cxn>
                <a:cxn ang="0">
                  <a:pos x="132" y="16"/>
                </a:cxn>
                <a:cxn ang="0">
                  <a:pos x="128" y="24"/>
                </a:cxn>
                <a:cxn ang="0">
                  <a:pos x="126" y="32"/>
                </a:cxn>
                <a:cxn ang="0">
                  <a:pos x="124" y="42"/>
                </a:cxn>
                <a:cxn ang="0">
                  <a:pos x="122" y="46"/>
                </a:cxn>
                <a:cxn ang="0">
                  <a:pos x="118" y="46"/>
                </a:cxn>
                <a:cxn ang="0">
                  <a:pos x="118" y="50"/>
                </a:cxn>
                <a:cxn ang="0">
                  <a:pos x="118" y="54"/>
                </a:cxn>
                <a:cxn ang="0">
                  <a:pos x="106" y="76"/>
                </a:cxn>
              </a:cxnLst>
              <a:rect l="0" t="0" r="r" b="b"/>
              <a:pathLst>
                <a:path w="132" h="96">
                  <a:moveTo>
                    <a:pt x="104" y="78"/>
                  </a:moveTo>
                  <a:lnTo>
                    <a:pt x="100" y="80"/>
                  </a:lnTo>
                  <a:lnTo>
                    <a:pt x="90" y="84"/>
                  </a:lnTo>
                  <a:lnTo>
                    <a:pt x="78" y="86"/>
                  </a:lnTo>
                  <a:lnTo>
                    <a:pt x="70" y="84"/>
                  </a:lnTo>
                  <a:lnTo>
                    <a:pt x="68" y="88"/>
                  </a:lnTo>
                  <a:lnTo>
                    <a:pt x="62" y="92"/>
                  </a:lnTo>
                  <a:lnTo>
                    <a:pt x="58" y="90"/>
                  </a:lnTo>
                  <a:lnTo>
                    <a:pt x="58" y="84"/>
                  </a:lnTo>
                  <a:lnTo>
                    <a:pt x="56" y="86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8" y="92"/>
                  </a:lnTo>
                  <a:lnTo>
                    <a:pt x="56" y="94"/>
                  </a:lnTo>
                  <a:lnTo>
                    <a:pt x="54" y="94"/>
                  </a:lnTo>
                  <a:lnTo>
                    <a:pt x="50" y="94"/>
                  </a:lnTo>
                  <a:lnTo>
                    <a:pt x="48" y="92"/>
                  </a:lnTo>
                  <a:lnTo>
                    <a:pt x="46" y="92"/>
                  </a:lnTo>
                  <a:lnTo>
                    <a:pt x="40" y="88"/>
                  </a:lnTo>
                  <a:lnTo>
                    <a:pt x="40" y="90"/>
                  </a:lnTo>
                  <a:lnTo>
                    <a:pt x="38" y="92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2" y="94"/>
                  </a:lnTo>
                  <a:lnTo>
                    <a:pt x="10" y="92"/>
                  </a:lnTo>
                  <a:lnTo>
                    <a:pt x="8" y="90"/>
                  </a:lnTo>
                  <a:lnTo>
                    <a:pt x="8" y="84"/>
                  </a:lnTo>
                  <a:lnTo>
                    <a:pt x="6" y="82"/>
                  </a:lnTo>
                  <a:lnTo>
                    <a:pt x="4" y="80"/>
                  </a:lnTo>
                  <a:lnTo>
                    <a:pt x="2" y="76"/>
                  </a:lnTo>
                  <a:lnTo>
                    <a:pt x="0" y="74"/>
                  </a:lnTo>
                  <a:lnTo>
                    <a:pt x="0" y="68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10" y="58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8" y="54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30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12" y="32"/>
                  </a:lnTo>
                  <a:lnTo>
                    <a:pt x="14" y="32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8" y="28"/>
                  </a:lnTo>
                  <a:lnTo>
                    <a:pt x="6" y="28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8" y="10"/>
                  </a:lnTo>
                  <a:lnTo>
                    <a:pt x="8" y="8"/>
                  </a:lnTo>
                  <a:lnTo>
                    <a:pt x="12" y="6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4" y="8"/>
                  </a:lnTo>
                  <a:lnTo>
                    <a:pt x="76" y="6"/>
                  </a:lnTo>
                  <a:lnTo>
                    <a:pt x="78" y="6"/>
                  </a:lnTo>
                  <a:lnTo>
                    <a:pt x="78" y="4"/>
                  </a:lnTo>
                  <a:lnTo>
                    <a:pt x="80" y="2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8" y="2"/>
                  </a:lnTo>
                  <a:lnTo>
                    <a:pt x="108" y="6"/>
                  </a:lnTo>
                  <a:lnTo>
                    <a:pt x="118" y="6"/>
                  </a:lnTo>
                  <a:lnTo>
                    <a:pt x="130" y="10"/>
                  </a:lnTo>
                  <a:lnTo>
                    <a:pt x="132" y="10"/>
                  </a:lnTo>
                  <a:lnTo>
                    <a:pt x="132" y="12"/>
                  </a:lnTo>
                  <a:lnTo>
                    <a:pt x="132" y="14"/>
                  </a:lnTo>
                  <a:lnTo>
                    <a:pt x="132" y="16"/>
                  </a:lnTo>
                  <a:lnTo>
                    <a:pt x="130" y="1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26" y="32"/>
                  </a:lnTo>
                  <a:lnTo>
                    <a:pt x="126" y="34"/>
                  </a:lnTo>
                  <a:lnTo>
                    <a:pt x="124" y="42"/>
                  </a:lnTo>
                  <a:lnTo>
                    <a:pt x="124" y="44"/>
                  </a:lnTo>
                  <a:lnTo>
                    <a:pt x="122" y="46"/>
                  </a:lnTo>
                  <a:lnTo>
                    <a:pt x="120" y="46"/>
                  </a:lnTo>
                  <a:lnTo>
                    <a:pt x="118" y="46"/>
                  </a:lnTo>
                  <a:lnTo>
                    <a:pt x="118" y="48"/>
                  </a:lnTo>
                  <a:lnTo>
                    <a:pt x="118" y="50"/>
                  </a:lnTo>
                  <a:lnTo>
                    <a:pt x="118" y="52"/>
                  </a:lnTo>
                  <a:lnTo>
                    <a:pt x="118" y="54"/>
                  </a:lnTo>
                  <a:lnTo>
                    <a:pt x="112" y="64"/>
                  </a:lnTo>
                  <a:lnTo>
                    <a:pt x="106" y="76"/>
                  </a:lnTo>
                  <a:lnTo>
                    <a:pt x="104" y="7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2" name="Freeform 294"/>
            <p:cNvSpPr>
              <a:spLocks/>
            </p:cNvSpPr>
            <p:nvPr/>
          </p:nvSpPr>
          <p:spPr bwMode="auto">
            <a:xfrm>
              <a:off x="3526" y="992"/>
              <a:ext cx="18" cy="22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0"/>
                </a:cxn>
                <a:cxn ang="0">
                  <a:pos x="8" y="8"/>
                </a:cxn>
                <a:cxn ang="0">
                  <a:pos x="8" y="6"/>
                </a:cxn>
                <a:cxn ang="0">
                  <a:pos x="10" y="6"/>
                </a:cxn>
                <a:cxn ang="0">
                  <a:pos x="10" y="4"/>
                </a:cxn>
                <a:cxn ang="0">
                  <a:pos x="12" y="2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16" y="6"/>
                </a:cxn>
                <a:cxn ang="0">
                  <a:pos x="14" y="10"/>
                </a:cxn>
                <a:cxn ang="0">
                  <a:pos x="10" y="14"/>
                </a:cxn>
                <a:cxn ang="0">
                  <a:pos x="8" y="16"/>
                </a:cxn>
                <a:cxn ang="0">
                  <a:pos x="4" y="18"/>
                </a:cxn>
                <a:cxn ang="0">
                  <a:pos x="4" y="20"/>
                </a:cxn>
                <a:cxn ang="0">
                  <a:pos x="2" y="20"/>
                </a:cxn>
                <a:cxn ang="0">
                  <a:pos x="0" y="22"/>
                </a:cxn>
              </a:cxnLst>
              <a:rect l="0" t="0" r="r" b="b"/>
              <a:pathLst>
                <a:path w="18" h="22">
                  <a:moveTo>
                    <a:pt x="0" y="22"/>
                  </a:moveTo>
                  <a:lnTo>
                    <a:pt x="0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6" y="6"/>
                  </a:lnTo>
                  <a:lnTo>
                    <a:pt x="14" y="10"/>
                  </a:lnTo>
                  <a:lnTo>
                    <a:pt x="10" y="14"/>
                  </a:lnTo>
                  <a:lnTo>
                    <a:pt x="8" y="16"/>
                  </a:lnTo>
                  <a:lnTo>
                    <a:pt x="4" y="18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3" name="Freeform 295"/>
            <p:cNvSpPr>
              <a:spLocks/>
            </p:cNvSpPr>
            <p:nvPr/>
          </p:nvSpPr>
          <p:spPr bwMode="auto">
            <a:xfrm>
              <a:off x="3554" y="998"/>
              <a:ext cx="8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6" y="8"/>
                </a:cxn>
                <a:cxn ang="0">
                  <a:pos x="4" y="8"/>
                </a:cxn>
                <a:cxn ang="0">
                  <a:pos x="2" y="8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2" y="6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4" name="Freeform 296"/>
            <p:cNvSpPr>
              <a:spLocks/>
            </p:cNvSpPr>
            <p:nvPr/>
          </p:nvSpPr>
          <p:spPr bwMode="auto">
            <a:xfrm>
              <a:off x="3540" y="1002"/>
              <a:ext cx="10" cy="14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2" y="6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4" y="10"/>
                </a:cxn>
                <a:cxn ang="0">
                  <a:pos x="4" y="12"/>
                </a:cxn>
                <a:cxn ang="0">
                  <a:pos x="4" y="14"/>
                </a:cxn>
                <a:cxn ang="0">
                  <a:pos x="2" y="14"/>
                </a:cxn>
              </a:cxnLst>
              <a:rect l="0" t="0" r="r" b="b"/>
              <a:pathLst>
                <a:path w="10" h="14">
                  <a:moveTo>
                    <a:pt x="2" y="14"/>
                  </a:moveTo>
                  <a:lnTo>
                    <a:pt x="0" y="14"/>
                  </a:lnTo>
                  <a:lnTo>
                    <a:pt x="0" y="12"/>
                  </a:lnTo>
                  <a:lnTo>
                    <a:pt x="2" y="6"/>
                  </a:lnTo>
                  <a:lnTo>
                    <a:pt x="6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2" y="1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5" name="Freeform 297"/>
            <p:cNvSpPr>
              <a:spLocks/>
            </p:cNvSpPr>
            <p:nvPr/>
          </p:nvSpPr>
          <p:spPr bwMode="auto">
            <a:xfrm>
              <a:off x="3548" y="1006"/>
              <a:ext cx="14" cy="12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" y="10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12" y="6"/>
                </a:cxn>
                <a:cxn ang="0">
                  <a:pos x="10" y="8"/>
                </a:cxn>
                <a:cxn ang="0">
                  <a:pos x="2" y="12"/>
                </a:cxn>
                <a:cxn ang="0">
                  <a:pos x="0" y="12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2" y="10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2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6" name="Freeform 298"/>
            <p:cNvSpPr>
              <a:spLocks/>
            </p:cNvSpPr>
            <p:nvPr/>
          </p:nvSpPr>
          <p:spPr bwMode="auto">
            <a:xfrm>
              <a:off x="3544" y="1006"/>
              <a:ext cx="10" cy="12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0" y="0"/>
                </a:cxn>
                <a:cxn ang="0">
                  <a:pos x="8" y="2"/>
                </a:cxn>
                <a:cxn ang="0">
                  <a:pos x="6" y="8"/>
                </a:cxn>
                <a:cxn ang="0">
                  <a:pos x="4" y="10"/>
                </a:cxn>
                <a:cxn ang="0">
                  <a:pos x="0" y="12"/>
                </a:cxn>
              </a:cxnLst>
              <a:rect l="0" t="0" r="r" b="b"/>
              <a:pathLst>
                <a:path w="10" h="12">
                  <a:moveTo>
                    <a:pt x="0" y="12"/>
                  </a:move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8"/>
                  </a:lnTo>
                  <a:lnTo>
                    <a:pt x="4" y="1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7" name="Freeform 299"/>
            <p:cNvSpPr>
              <a:spLocks/>
            </p:cNvSpPr>
            <p:nvPr/>
          </p:nvSpPr>
          <p:spPr bwMode="auto">
            <a:xfrm>
              <a:off x="3496" y="1016"/>
              <a:ext cx="44" cy="52"/>
            </a:xfrm>
            <a:custGeom>
              <a:avLst/>
              <a:gdLst/>
              <a:ahLst/>
              <a:cxnLst>
                <a:cxn ang="0">
                  <a:pos x="4" y="52"/>
                </a:cxn>
                <a:cxn ang="0">
                  <a:pos x="2" y="52"/>
                </a:cxn>
                <a:cxn ang="0">
                  <a:pos x="0" y="50"/>
                </a:cxn>
                <a:cxn ang="0">
                  <a:pos x="0" y="48"/>
                </a:cxn>
                <a:cxn ang="0">
                  <a:pos x="2" y="46"/>
                </a:cxn>
                <a:cxn ang="0">
                  <a:pos x="4" y="44"/>
                </a:cxn>
                <a:cxn ang="0">
                  <a:pos x="4" y="42"/>
                </a:cxn>
                <a:cxn ang="0">
                  <a:pos x="4" y="40"/>
                </a:cxn>
                <a:cxn ang="0">
                  <a:pos x="4" y="38"/>
                </a:cxn>
                <a:cxn ang="0">
                  <a:pos x="4" y="36"/>
                </a:cxn>
                <a:cxn ang="0">
                  <a:pos x="6" y="34"/>
                </a:cxn>
                <a:cxn ang="0">
                  <a:pos x="8" y="34"/>
                </a:cxn>
                <a:cxn ang="0">
                  <a:pos x="12" y="34"/>
                </a:cxn>
                <a:cxn ang="0">
                  <a:pos x="14" y="32"/>
                </a:cxn>
                <a:cxn ang="0">
                  <a:pos x="16" y="30"/>
                </a:cxn>
                <a:cxn ang="0">
                  <a:pos x="16" y="28"/>
                </a:cxn>
                <a:cxn ang="0">
                  <a:pos x="16" y="26"/>
                </a:cxn>
                <a:cxn ang="0">
                  <a:pos x="16" y="24"/>
                </a:cxn>
                <a:cxn ang="0">
                  <a:pos x="16" y="22"/>
                </a:cxn>
                <a:cxn ang="0">
                  <a:pos x="16" y="20"/>
                </a:cxn>
                <a:cxn ang="0">
                  <a:pos x="16" y="18"/>
                </a:cxn>
                <a:cxn ang="0">
                  <a:pos x="18" y="10"/>
                </a:cxn>
                <a:cxn ang="0">
                  <a:pos x="22" y="6"/>
                </a:cxn>
                <a:cxn ang="0">
                  <a:pos x="24" y="4"/>
                </a:cxn>
                <a:cxn ang="0">
                  <a:pos x="26" y="4"/>
                </a:cxn>
                <a:cxn ang="0">
                  <a:pos x="30" y="0"/>
                </a:cxn>
                <a:cxn ang="0">
                  <a:pos x="36" y="0"/>
                </a:cxn>
                <a:cxn ang="0">
                  <a:pos x="42" y="0"/>
                </a:cxn>
                <a:cxn ang="0">
                  <a:pos x="42" y="2"/>
                </a:cxn>
                <a:cxn ang="0">
                  <a:pos x="44" y="6"/>
                </a:cxn>
                <a:cxn ang="0">
                  <a:pos x="44" y="8"/>
                </a:cxn>
                <a:cxn ang="0">
                  <a:pos x="42" y="12"/>
                </a:cxn>
                <a:cxn ang="0">
                  <a:pos x="40" y="14"/>
                </a:cxn>
                <a:cxn ang="0">
                  <a:pos x="40" y="16"/>
                </a:cxn>
                <a:cxn ang="0">
                  <a:pos x="38" y="20"/>
                </a:cxn>
                <a:cxn ang="0">
                  <a:pos x="38" y="24"/>
                </a:cxn>
                <a:cxn ang="0">
                  <a:pos x="36" y="26"/>
                </a:cxn>
                <a:cxn ang="0">
                  <a:pos x="32" y="28"/>
                </a:cxn>
                <a:cxn ang="0">
                  <a:pos x="32" y="30"/>
                </a:cxn>
                <a:cxn ang="0">
                  <a:pos x="30" y="32"/>
                </a:cxn>
                <a:cxn ang="0">
                  <a:pos x="30" y="34"/>
                </a:cxn>
                <a:cxn ang="0">
                  <a:pos x="28" y="36"/>
                </a:cxn>
                <a:cxn ang="0">
                  <a:pos x="28" y="38"/>
                </a:cxn>
                <a:cxn ang="0">
                  <a:pos x="26" y="38"/>
                </a:cxn>
                <a:cxn ang="0">
                  <a:pos x="26" y="40"/>
                </a:cxn>
                <a:cxn ang="0">
                  <a:pos x="22" y="42"/>
                </a:cxn>
                <a:cxn ang="0">
                  <a:pos x="16" y="46"/>
                </a:cxn>
                <a:cxn ang="0">
                  <a:pos x="12" y="48"/>
                </a:cxn>
                <a:cxn ang="0">
                  <a:pos x="8" y="50"/>
                </a:cxn>
                <a:cxn ang="0">
                  <a:pos x="4" y="52"/>
                </a:cxn>
              </a:cxnLst>
              <a:rect l="0" t="0" r="r" b="b"/>
              <a:pathLst>
                <a:path w="44" h="52">
                  <a:moveTo>
                    <a:pt x="4" y="52"/>
                  </a:moveTo>
                  <a:lnTo>
                    <a:pt x="2" y="52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2" y="46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4" y="32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6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8" y="10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2" y="2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8" y="20"/>
                  </a:lnTo>
                  <a:lnTo>
                    <a:pt x="38" y="24"/>
                  </a:lnTo>
                  <a:lnTo>
                    <a:pt x="36" y="26"/>
                  </a:lnTo>
                  <a:lnTo>
                    <a:pt x="32" y="28"/>
                  </a:lnTo>
                  <a:lnTo>
                    <a:pt x="32" y="30"/>
                  </a:lnTo>
                  <a:lnTo>
                    <a:pt x="30" y="32"/>
                  </a:lnTo>
                  <a:lnTo>
                    <a:pt x="30" y="34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2" y="42"/>
                  </a:lnTo>
                  <a:lnTo>
                    <a:pt x="16" y="46"/>
                  </a:lnTo>
                  <a:lnTo>
                    <a:pt x="12" y="48"/>
                  </a:lnTo>
                  <a:lnTo>
                    <a:pt x="8" y="50"/>
                  </a:lnTo>
                  <a:lnTo>
                    <a:pt x="4" y="5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8" name="Freeform 300"/>
            <p:cNvSpPr>
              <a:spLocks/>
            </p:cNvSpPr>
            <p:nvPr/>
          </p:nvSpPr>
          <p:spPr bwMode="auto">
            <a:xfrm>
              <a:off x="3540" y="1018"/>
              <a:ext cx="18" cy="20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0" y="16"/>
                </a:cxn>
                <a:cxn ang="0">
                  <a:pos x="2" y="10"/>
                </a:cxn>
                <a:cxn ang="0">
                  <a:pos x="4" y="8"/>
                </a:cxn>
                <a:cxn ang="0">
                  <a:pos x="4" y="6"/>
                </a:cxn>
                <a:cxn ang="0">
                  <a:pos x="10" y="2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18" y="6"/>
                </a:cxn>
                <a:cxn ang="0">
                  <a:pos x="16" y="6"/>
                </a:cxn>
                <a:cxn ang="0">
                  <a:pos x="14" y="6"/>
                </a:cxn>
                <a:cxn ang="0">
                  <a:pos x="12" y="8"/>
                </a:cxn>
                <a:cxn ang="0">
                  <a:pos x="10" y="10"/>
                </a:cxn>
                <a:cxn ang="0">
                  <a:pos x="6" y="16"/>
                </a:cxn>
                <a:cxn ang="0">
                  <a:pos x="2" y="20"/>
                </a:cxn>
                <a:cxn ang="0">
                  <a:pos x="0" y="20"/>
                </a:cxn>
              </a:cxnLst>
              <a:rect l="0" t="0" r="r" b="b"/>
              <a:pathLst>
                <a:path w="18" h="20">
                  <a:moveTo>
                    <a:pt x="0" y="20"/>
                  </a:moveTo>
                  <a:lnTo>
                    <a:pt x="0" y="16"/>
                  </a:lnTo>
                  <a:lnTo>
                    <a:pt x="2" y="10"/>
                  </a:lnTo>
                  <a:lnTo>
                    <a:pt x="4" y="8"/>
                  </a:lnTo>
                  <a:lnTo>
                    <a:pt x="4" y="6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8"/>
                  </a:lnTo>
                  <a:lnTo>
                    <a:pt x="10" y="10"/>
                  </a:lnTo>
                  <a:lnTo>
                    <a:pt x="6" y="16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9" name="Freeform 301"/>
            <p:cNvSpPr>
              <a:spLocks/>
            </p:cNvSpPr>
            <p:nvPr/>
          </p:nvSpPr>
          <p:spPr bwMode="auto">
            <a:xfrm>
              <a:off x="3550" y="1026"/>
              <a:ext cx="6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6"/>
                </a:cxn>
                <a:cxn ang="0">
                  <a:pos x="2" y="6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0" name="Freeform 302"/>
            <p:cNvSpPr>
              <a:spLocks/>
            </p:cNvSpPr>
            <p:nvPr/>
          </p:nvSpPr>
          <p:spPr bwMode="auto">
            <a:xfrm>
              <a:off x="3526" y="1032"/>
              <a:ext cx="12" cy="22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0"/>
                </a:cxn>
                <a:cxn ang="0">
                  <a:pos x="2" y="16"/>
                </a:cxn>
                <a:cxn ang="0">
                  <a:pos x="6" y="14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10" y="8"/>
                </a:cxn>
                <a:cxn ang="0">
                  <a:pos x="10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2" y="0"/>
                </a:cxn>
                <a:cxn ang="0">
                  <a:pos x="12" y="2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2" y="8"/>
                </a:cxn>
                <a:cxn ang="0">
                  <a:pos x="12" y="10"/>
                </a:cxn>
                <a:cxn ang="0">
                  <a:pos x="8" y="18"/>
                </a:cxn>
                <a:cxn ang="0">
                  <a:pos x="8" y="20"/>
                </a:cxn>
                <a:cxn ang="0">
                  <a:pos x="6" y="20"/>
                </a:cxn>
                <a:cxn ang="0">
                  <a:pos x="2" y="22"/>
                </a:cxn>
                <a:cxn ang="0">
                  <a:pos x="0" y="22"/>
                </a:cxn>
              </a:cxnLst>
              <a:rect l="0" t="0" r="r" b="b"/>
              <a:pathLst>
                <a:path w="12" h="22">
                  <a:moveTo>
                    <a:pt x="0" y="22"/>
                  </a:moveTo>
                  <a:lnTo>
                    <a:pt x="0" y="20"/>
                  </a:lnTo>
                  <a:lnTo>
                    <a:pt x="2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8" y="18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2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1" name="Freeform 303"/>
            <p:cNvSpPr>
              <a:spLocks/>
            </p:cNvSpPr>
            <p:nvPr/>
          </p:nvSpPr>
          <p:spPr bwMode="auto">
            <a:xfrm>
              <a:off x="3538" y="1034"/>
              <a:ext cx="14" cy="12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10" y="2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2" y="6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2" y="0"/>
                </a:cxn>
              </a:cxnLst>
              <a:rect l="0" t="0" r="r" b="b"/>
              <a:pathLst>
                <a:path w="14" h="12">
                  <a:moveTo>
                    <a:pt x="12" y="0"/>
                  </a:moveTo>
                  <a:lnTo>
                    <a:pt x="14" y="0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8"/>
                  </a:lnTo>
                  <a:lnTo>
                    <a:pt x="6" y="10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2" name="Freeform 304"/>
            <p:cNvSpPr>
              <a:spLocks/>
            </p:cNvSpPr>
            <p:nvPr/>
          </p:nvSpPr>
          <p:spPr bwMode="auto">
            <a:xfrm>
              <a:off x="3686" y="1046"/>
              <a:ext cx="6" cy="8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6" y="8"/>
                </a:cxn>
                <a:cxn ang="0">
                  <a:pos x="4" y="8"/>
                </a:cxn>
              </a:cxnLst>
              <a:rect l="0" t="0" r="r" b="b"/>
              <a:pathLst>
                <a:path w="6" h="8">
                  <a:moveTo>
                    <a:pt x="4" y="8"/>
                  </a:moveTo>
                  <a:lnTo>
                    <a:pt x="2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3" name="Freeform 305"/>
            <p:cNvSpPr>
              <a:spLocks/>
            </p:cNvSpPr>
            <p:nvPr/>
          </p:nvSpPr>
          <p:spPr bwMode="auto">
            <a:xfrm>
              <a:off x="3470" y="1062"/>
              <a:ext cx="14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6"/>
                </a:cxn>
                <a:cxn ang="0">
                  <a:pos x="12" y="0"/>
                </a:cxn>
                <a:cxn ang="0">
                  <a:pos x="14" y="2"/>
                </a:cxn>
                <a:cxn ang="0">
                  <a:pos x="12" y="4"/>
                </a:cxn>
                <a:cxn ang="0">
                  <a:pos x="10" y="6"/>
                </a:cxn>
                <a:cxn ang="0">
                  <a:pos x="2" y="8"/>
                </a:cxn>
                <a:cxn ang="0">
                  <a:pos x="0" y="8"/>
                </a:cxn>
              </a:cxnLst>
              <a:rect l="0" t="0" r="r" b="b"/>
              <a:pathLst>
                <a:path w="14" h="8">
                  <a:moveTo>
                    <a:pt x="0" y="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2" y="4"/>
                  </a:lnTo>
                  <a:lnTo>
                    <a:pt x="10" y="6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4" name="Freeform 306"/>
            <p:cNvSpPr>
              <a:spLocks/>
            </p:cNvSpPr>
            <p:nvPr/>
          </p:nvSpPr>
          <p:spPr bwMode="auto">
            <a:xfrm>
              <a:off x="3482" y="1066"/>
              <a:ext cx="16" cy="1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14" y="2"/>
                </a:cxn>
                <a:cxn ang="0">
                  <a:pos x="16" y="4"/>
                </a:cxn>
                <a:cxn ang="0">
                  <a:pos x="16" y="6"/>
                </a:cxn>
                <a:cxn ang="0">
                  <a:pos x="14" y="6"/>
                </a:cxn>
                <a:cxn ang="0">
                  <a:pos x="12" y="8"/>
                </a:cxn>
                <a:cxn ang="0">
                  <a:pos x="10" y="8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4" y="8"/>
                </a:cxn>
                <a:cxn ang="0">
                  <a:pos x="2" y="10"/>
                </a:cxn>
                <a:cxn ang="0">
                  <a:pos x="0" y="10"/>
                </a:cxn>
              </a:cxnLst>
              <a:rect l="0" t="0" r="r" b="b"/>
              <a:pathLst>
                <a:path w="16" h="10">
                  <a:moveTo>
                    <a:pt x="0" y="10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5" name="Freeform 307"/>
            <p:cNvSpPr>
              <a:spLocks/>
            </p:cNvSpPr>
            <p:nvPr/>
          </p:nvSpPr>
          <p:spPr bwMode="auto">
            <a:xfrm>
              <a:off x="3654" y="1074"/>
              <a:ext cx="8" cy="12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2" y="12"/>
                </a:cxn>
                <a:cxn ang="0">
                  <a:pos x="0" y="10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4" y="10"/>
                </a:cxn>
                <a:cxn ang="0">
                  <a:pos x="4" y="12"/>
                </a:cxn>
              </a:cxnLst>
              <a:rect l="0" t="0" r="r" b="b"/>
              <a:pathLst>
                <a:path w="8" h="12">
                  <a:moveTo>
                    <a:pt x="4" y="12"/>
                  </a:moveTo>
                  <a:lnTo>
                    <a:pt x="2" y="12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4" y="10"/>
                  </a:lnTo>
                  <a:lnTo>
                    <a:pt x="4" y="1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6" name="Freeform 308"/>
            <p:cNvSpPr>
              <a:spLocks/>
            </p:cNvSpPr>
            <p:nvPr/>
          </p:nvSpPr>
          <p:spPr bwMode="auto">
            <a:xfrm>
              <a:off x="3648" y="1082"/>
              <a:ext cx="8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6" y="8"/>
                </a:cxn>
                <a:cxn ang="0">
                  <a:pos x="4" y="6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7" name="Freeform 309"/>
            <p:cNvSpPr>
              <a:spLocks/>
            </p:cNvSpPr>
            <p:nvPr/>
          </p:nvSpPr>
          <p:spPr bwMode="auto">
            <a:xfrm>
              <a:off x="3540" y="1088"/>
              <a:ext cx="16" cy="8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14" y="8"/>
                </a:cxn>
                <a:cxn ang="0">
                  <a:pos x="12" y="8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4" y="6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4" y="4"/>
                </a:cxn>
                <a:cxn ang="0">
                  <a:pos x="16" y="8"/>
                </a:cxn>
              </a:cxnLst>
              <a:rect l="0" t="0" r="r" b="b"/>
              <a:pathLst>
                <a:path w="16" h="8">
                  <a:moveTo>
                    <a:pt x="16" y="8"/>
                  </a:moveTo>
                  <a:lnTo>
                    <a:pt x="14" y="8"/>
                  </a:lnTo>
                  <a:lnTo>
                    <a:pt x="12" y="8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6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4" y="4"/>
                  </a:lnTo>
                  <a:lnTo>
                    <a:pt x="16" y="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198" name="Freeform 310"/>
          <p:cNvSpPr>
            <a:spLocks/>
          </p:cNvSpPr>
          <p:nvPr/>
        </p:nvSpPr>
        <p:spPr bwMode="auto">
          <a:xfrm>
            <a:off x="2832769" y="1337028"/>
            <a:ext cx="214313" cy="223838"/>
          </a:xfrm>
          <a:custGeom>
            <a:avLst/>
            <a:gdLst/>
            <a:ahLst/>
            <a:cxnLst>
              <a:cxn ang="0">
                <a:pos x="170" y="126"/>
              </a:cxn>
              <a:cxn ang="0">
                <a:pos x="162" y="130"/>
              </a:cxn>
              <a:cxn ang="0">
                <a:pos x="160" y="138"/>
              </a:cxn>
              <a:cxn ang="0">
                <a:pos x="160" y="152"/>
              </a:cxn>
              <a:cxn ang="0">
                <a:pos x="152" y="160"/>
              </a:cxn>
              <a:cxn ang="0">
                <a:pos x="158" y="162"/>
              </a:cxn>
              <a:cxn ang="0">
                <a:pos x="158" y="176"/>
              </a:cxn>
              <a:cxn ang="0">
                <a:pos x="152" y="162"/>
              </a:cxn>
              <a:cxn ang="0">
                <a:pos x="146" y="154"/>
              </a:cxn>
              <a:cxn ang="0">
                <a:pos x="136" y="140"/>
              </a:cxn>
              <a:cxn ang="0">
                <a:pos x="132" y="136"/>
              </a:cxn>
              <a:cxn ang="0">
                <a:pos x="134" y="146"/>
              </a:cxn>
              <a:cxn ang="0">
                <a:pos x="140" y="154"/>
              </a:cxn>
              <a:cxn ang="0">
                <a:pos x="132" y="154"/>
              </a:cxn>
              <a:cxn ang="0">
                <a:pos x="122" y="150"/>
              </a:cxn>
              <a:cxn ang="0">
                <a:pos x="118" y="138"/>
              </a:cxn>
              <a:cxn ang="0">
                <a:pos x="120" y="120"/>
              </a:cxn>
              <a:cxn ang="0">
                <a:pos x="100" y="104"/>
              </a:cxn>
              <a:cxn ang="0">
                <a:pos x="90" y="96"/>
              </a:cxn>
              <a:cxn ang="0">
                <a:pos x="68" y="90"/>
              </a:cxn>
              <a:cxn ang="0">
                <a:pos x="68" y="80"/>
              </a:cxn>
              <a:cxn ang="0">
                <a:pos x="56" y="68"/>
              </a:cxn>
              <a:cxn ang="0">
                <a:pos x="44" y="58"/>
              </a:cxn>
              <a:cxn ang="0">
                <a:pos x="38" y="62"/>
              </a:cxn>
              <a:cxn ang="0">
                <a:pos x="48" y="70"/>
              </a:cxn>
              <a:cxn ang="0">
                <a:pos x="40" y="88"/>
              </a:cxn>
              <a:cxn ang="0">
                <a:pos x="28" y="74"/>
              </a:cxn>
              <a:cxn ang="0">
                <a:pos x="16" y="72"/>
              </a:cxn>
              <a:cxn ang="0">
                <a:pos x="6" y="60"/>
              </a:cxn>
              <a:cxn ang="0">
                <a:pos x="6" y="44"/>
              </a:cxn>
              <a:cxn ang="0">
                <a:pos x="12" y="22"/>
              </a:cxn>
              <a:cxn ang="0">
                <a:pos x="2" y="16"/>
              </a:cxn>
              <a:cxn ang="0">
                <a:pos x="12" y="16"/>
              </a:cxn>
              <a:cxn ang="0">
                <a:pos x="12" y="6"/>
              </a:cxn>
              <a:cxn ang="0">
                <a:pos x="28" y="4"/>
              </a:cxn>
              <a:cxn ang="0">
                <a:pos x="40" y="10"/>
              </a:cxn>
              <a:cxn ang="0">
                <a:pos x="68" y="8"/>
              </a:cxn>
              <a:cxn ang="0">
                <a:pos x="92" y="24"/>
              </a:cxn>
              <a:cxn ang="0">
                <a:pos x="100" y="24"/>
              </a:cxn>
              <a:cxn ang="0">
                <a:pos x="110" y="28"/>
              </a:cxn>
              <a:cxn ang="0">
                <a:pos x="120" y="24"/>
              </a:cxn>
              <a:cxn ang="0">
                <a:pos x="122" y="18"/>
              </a:cxn>
              <a:cxn ang="0">
                <a:pos x="126" y="24"/>
              </a:cxn>
              <a:cxn ang="0">
                <a:pos x="130" y="40"/>
              </a:cxn>
              <a:cxn ang="0">
                <a:pos x="154" y="68"/>
              </a:cxn>
              <a:cxn ang="0">
                <a:pos x="164" y="82"/>
              </a:cxn>
              <a:cxn ang="0">
                <a:pos x="176" y="90"/>
              </a:cxn>
              <a:cxn ang="0">
                <a:pos x="174" y="96"/>
              </a:cxn>
              <a:cxn ang="0">
                <a:pos x="166" y="90"/>
              </a:cxn>
              <a:cxn ang="0">
                <a:pos x="158" y="112"/>
              </a:cxn>
            </a:cxnLst>
            <a:rect l="0" t="0" r="r" b="b"/>
            <a:pathLst>
              <a:path w="178" h="176">
                <a:moveTo>
                  <a:pt x="158" y="118"/>
                </a:moveTo>
                <a:lnTo>
                  <a:pt x="160" y="118"/>
                </a:lnTo>
                <a:lnTo>
                  <a:pt x="168" y="124"/>
                </a:lnTo>
                <a:lnTo>
                  <a:pt x="170" y="126"/>
                </a:lnTo>
                <a:lnTo>
                  <a:pt x="168" y="128"/>
                </a:lnTo>
                <a:lnTo>
                  <a:pt x="166" y="128"/>
                </a:lnTo>
                <a:lnTo>
                  <a:pt x="164" y="130"/>
                </a:lnTo>
                <a:lnTo>
                  <a:pt x="162" y="130"/>
                </a:lnTo>
                <a:lnTo>
                  <a:pt x="160" y="132"/>
                </a:lnTo>
                <a:lnTo>
                  <a:pt x="158" y="134"/>
                </a:lnTo>
                <a:lnTo>
                  <a:pt x="158" y="136"/>
                </a:lnTo>
                <a:lnTo>
                  <a:pt x="160" y="138"/>
                </a:lnTo>
                <a:lnTo>
                  <a:pt x="164" y="142"/>
                </a:lnTo>
                <a:lnTo>
                  <a:pt x="164" y="146"/>
                </a:lnTo>
                <a:lnTo>
                  <a:pt x="164" y="150"/>
                </a:lnTo>
                <a:lnTo>
                  <a:pt x="160" y="152"/>
                </a:lnTo>
                <a:lnTo>
                  <a:pt x="158" y="154"/>
                </a:lnTo>
                <a:lnTo>
                  <a:pt x="156" y="154"/>
                </a:lnTo>
                <a:lnTo>
                  <a:pt x="152" y="158"/>
                </a:lnTo>
                <a:lnTo>
                  <a:pt x="152" y="160"/>
                </a:lnTo>
                <a:lnTo>
                  <a:pt x="154" y="160"/>
                </a:lnTo>
                <a:lnTo>
                  <a:pt x="154" y="162"/>
                </a:lnTo>
                <a:lnTo>
                  <a:pt x="156" y="162"/>
                </a:lnTo>
                <a:lnTo>
                  <a:pt x="158" y="162"/>
                </a:lnTo>
                <a:lnTo>
                  <a:pt x="160" y="170"/>
                </a:lnTo>
                <a:lnTo>
                  <a:pt x="160" y="172"/>
                </a:lnTo>
                <a:lnTo>
                  <a:pt x="160" y="174"/>
                </a:lnTo>
                <a:lnTo>
                  <a:pt x="158" y="176"/>
                </a:lnTo>
                <a:lnTo>
                  <a:pt x="160" y="170"/>
                </a:lnTo>
                <a:lnTo>
                  <a:pt x="156" y="166"/>
                </a:lnTo>
                <a:lnTo>
                  <a:pt x="154" y="164"/>
                </a:lnTo>
                <a:lnTo>
                  <a:pt x="152" y="162"/>
                </a:lnTo>
                <a:lnTo>
                  <a:pt x="148" y="160"/>
                </a:lnTo>
                <a:lnTo>
                  <a:pt x="146" y="158"/>
                </a:lnTo>
                <a:lnTo>
                  <a:pt x="146" y="156"/>
                </a:lnTo>
                <a:lnTo>
                  <a:pt x="146" y="154"/>
                </a:lnTo>
                <a:lnTo>
                  <a:pt x="148" y="152"/>
                </a:lnTo>
                <a:lnTo>
                  <a:pt x="144" y="144"/>
                </a:lnTo>
                <a:lnTo>
                  <a:pt x="142" y="142"/>
                </a:lnTo>
                <a:lnTo>
                  <a:pt x="136" y="140"/>
                </a:lnTo>
                <a:lnTo>
                  <a:pt x="136" y="138"/>
                </a:lnTo>
                <a:lnTo>
                  <a:pt x="136" y="136"/>
                </a:lnTo>
                <a:lnTo>
                  <a:pt x="134" y="136"/>
                </a:lnTo>
                <a:lnTo>
                  <a:pt x="132" y="136"/>
                </a:lnTo>
                <a:lnTo>
                  <a:pt x="128" y="138"/>
                </a:lnTo>
                <a:lnTo>
                  <a:pt x="130" y="144"/>
                </a:lnTo>
                <a:lnTo>
                  <a:pt x="132" y="144"/>
                </a:lnTo>
                <a:lnTo>
                  <a:pt x="134" y="146"/>
                </a:lnTo>
                <a:lnTo>
                  <a:pt x="136" y="146"/>
                </a:lnTo>
                <a:lnTo>
                  <a:pt x="138" y="148"/>
                </a:lnTo>
                <a:lnTo>
                  <a:pt x="140" y="150"/>
                </a:lnTo>
                <a:lnTo>
                  <a:pt x="140" y="154"/>
                </a:lnTo>
                <a:lnTo>
                  <a:pt x="138" y="156"/>
                </a:lnTo>
                <a:lnTo>
                  <a:pt x="136" y="156"/>
                </a:lnTo>
                <a:lnTo>
                  <a:pt x="134" y="154"/>
                </a:lnTo>
                <a:lnTo>
                  <a:pt x="132" y="154"/>
                </a:lnTo>
                <a:lnTo>
                  <a:pt x="130" y="152"/>
                </a:lnTo>
                <a:lnTo>
                  <a:pt x="128" y="152"/>
                </a:lnTo>
                <a:lnTo>
                  <a:pt x="126" y="152"/>
                </a:lnTo>
                <a:lnTo>
                  <a:pt x="122" y="150"/>
                </a:lnTo>
                <a:lnTo>
                  <a:pt x="114" y="144"/>
                </a:lnTo>
                <a:lnTo>
                  <a:pt x="114" y="142"/>
                </a:lnTo>
                <a:lnTo>
                  <a:pt x="116" y="140"/>
                </a:lnTo>
                <a:lnTo>
                  <a:pt x="118" y="138"/>
                </a:lnTo>
                <a:lnTo>
                  <a:pt x="122" y="130"/>
                </a:lnTo>
                <a:lnTo>
                  <a:pt x="122" y="128"/>
                </a:lnTo>
                <a:lnTo>
                  <a:pt x="122" y="124"/>
                </a:lnTo>
                <a:lnTo>
                  <a:pt x="120" y="120"/>
                </a:lnTo>
                <a:lnTo>
                  <a:pt x="116" y="114"/>
                </a:lnTo>
                <a:lnTo>
                  <a:pt x="112" y="112"/>
                </a:lnTo>
                <a:lnTo>
                  <a:pt x="104" y="104"/>
                </a:lnTo>
                <a:lnTo>
                  <a:pt x="100" y="104"/>
                </a:lnTo>
                <a:lnTo>
                  <a:pt x="96" y="102"/>
                </a:lnTo>
                <a:lnTo>
                  <a:pt x="94" y="102"/>
                </a:lnTo>
                <a:lnTo>
                  <a:pt x="92" y="100"/>
                </a:lnTo>
                <a:lnTo>
                  <a:pt x="90" y="96"/>
                </a:lnTo>
                <a:lnTo>
                  <a:pt x="80" y="94"/>
                </a:lnTo>
                <a:lnTo>
                  <a:pt x="74" y="94"/>
                </a:lnTo>
                <a:lnTo>
                  <a:pt x="72" y="94"/>
                </a:lnTo>
                <a:lnTo>
                  <a:pt x="68" y="90"/>
                </a:lnTo>
                <a:lnTo>
                  <a:pt x="66" y="86"/>
                </a:lnTo>
                <a:lnTo>
                  <a:pt x="66" y="84"/>
                </a:lnTo>
                <a:lnTo>
                  <a:pt x="66" y="82"/>
                </a:lnTo>
                <a:lnTo>
                  <a:pt x="68" y="80"/>
                </a:lnTo>
                <a:lnTo>
                  <a:pt x="64" y="72"/>
                </a:lnTo>
                <a:lnTo>
                  <a:pt x="62" y="68"/>
                </a:lnTo>
                <a:lnTo>
                  <a:pt x="58" y="68"/>
                </a:lnTo>
                <a:lnTo>
                  <a:pt x="56" y="68"/>
                </a:lnTo>
                <a:lnTo>
                  <a:pt x="54" y="66"/>
                </a:lnTo>
                <a:lnTo>
                  <a:pt x="54" y="64"/>
                </a:lnTo>
                <a:lnTo>
                  <a:pt x="46" y="58"/>
                </a:lnTo>
                <a:lnTo>
                  <a:pt x="44" y="58"/>
                </a:lnTo>
                <a:lnTo>
                  <a:pt x="36" y="56"/>
                </a:lnTo>
                <a:lnTo>
                  <a:pt x="36" y="60"/>
                </a:lnTo>
                <a:lnTo>
                  <a:pt x="36" y="62"/>
                </a:lnTo>
                <a:lnTo>
                  <a:pt x="38" y="62"/>
                </a:lnTo>
                <a:lnTo>
                  <a:pt x="40" y="64"/>
                </a:lnTo>
                <a:lnTo>
                  <a:pt x="38" y="66"/>
                </a:lnTo>
                <a:lnTo>
                  <a:pt x="40" y="66"/>
                </a:lnTo>
                <a:lnTo>
                  <a:pt x="48" y="70"/>
                </a:lnTo>
                <a:lnTo>
                  <a:pt x="52" y="72"/>
                </a:lnTo>
                <a:lnTo>
                  <a:pt x="54" y="76"/>
                </a:lnTo>
                <a:lnTo>
                  <a:pt x="50" y="80"/>
                </a:lnTo>
                <a:lnTo>
                  <a:pt x="40" y="88"/>
                </a:lnTo>
                <a:lnTo>
                  <a:pt x="36" y="80"/>
                </a:lnTo>
                <a:lnTo>
                  <a:pt x="34" y="78"/>
                </a:lnTo>
                <a:lnTo>
                  <a:pt x="30" y="76"/>
                </a:lnTo>
                <a:lnTo>
                  <a:pt x="28" y="74"/>
                </a:lnTo>
                <a:lnTo>
                  <a:pt x="24" y="74"/>
                </a:lnTo>
                <a:lnTo>
                  <a:pt x="20" y="74"/>
                </a:lnTo>
                <a:lnTo>
                  <a:pt x="18" y="74"/>
                </a:lnTo>
                <a:lnTo>
                  <a:pt x="16" y="72"/>
                </a:lnTo>
                <a:lnTo>
                  <a:pt x="14" y="72"/>
                </a:lnTo>
                <a:lnTo>
                  <a:pt x="10" y="66"/>
                </a:lnTo>
                <a:lnTo>
                  <a:pt x="8" y="62"/>
                </a:lnTo>
                <a:lnTo>
                  <a:pt x="6" y="60"/>
                </a:lnTo>
                <a:lnTo>
                  <a:pt x="4" y="56"/>
                </a:lnTo>
                <a:lnTo>
                  <a:pt x="2" y="52"/>
                </a:lnTo>
                <a:lnTo>
                  <a:pt x="2" y="46"/>
                </a:lnTo>
                <a:lnTo>
                  <a:pt x="6" y="44"/>
                </a:lnTo>
                <a:lnTo>
                  <a:pt x="14" y="34"/>
                </a:lnTo>
                <a:lnTo>
                  <a:pt x="16" y="32"/>
                </a:lnTo>
                <a:lnTo>
                  <a:pt x="14" y="22"/>
                </a:lnTo>
                <a:lnTo>
                  <a:pt x="12" y="22"/>
                </a:lnTo>
                <a:lnTo>
                  <a:pt x="10" y="20"/>
                </a:lnTo>
                <a:lnTo>
                  <a:pt x="6" y="20"/>
                </a:lnTo>
                <a:lnTo>
                  <a:pt x="0" y="18"/>
                </a:lnTo>
                <a:lnTo>
                  <a:pt x="2" y="16"/>
                </a:lnTo>
                <a:lnTo>
                  <a:pt x="4" y="14"/>
                </a:lnTo>
                <a:lnTo>
                  <a:pt x="6" y="14"/>
                </a:lnTo>
                <a:lnTo>
                  <a:pt x="10" y="16"/>
                </a:lnTo>
                <a:lnTo>
                  <a:pt x="12" y="16"/>
                </a:lnTo>
                <a:lnTo>
                  <a:pt x="12" y="14"/>
                </a:lnTo>
                <a:lnTo>
                  <a:pt x="14" y="8"/>
                </a:lnTo>
                <a:lnTo>
                  <a:pt x="14" y="6"/>
                </a:lnTo>
                <a:lnTo>
                  <a:pt x="12" y="6"/>
                </a:lnTo>
                <a:lnTo>
                  <a:pt x="18" y="0"/>
                </a:lnTo>
                <a:lnTo>
                  <a:pt x="20" y="0"/>
                </a:lnTo>
                <a:lnTo>
                  <a:pt x="22" y="2"/>
                </a:lnTo>
                <a:lnTo>
                  <a:pt x="28" y="4"/>
                </a:lnTo>
                <a:lnTo>
                  <a:pt x="30" y="4"/>
                </a:lnTo>
                <a:lnTo>
                  <a:pt x="36" y="6"/>
                </a:lnTo>
                <a:lnTo>
                  <a:pt x="38" y="8"/>
                </a:lnTo>
                <a:lnTo>
                  <a:pt x="40" y="10"/>
                </a:lnTo>
                <a:lnTo>
                  <a:pt x="42" y="10"/>
                </a:lnTo>
                <a:lnTo>
                  <a:pt x="44" y="12"/>
                </a:lnTo>
                <a:lnTo>
                  <a:pt x="54" y="16"/>
                </a:lnTo>
                <a:lnTo>
                  <a:pt x="68" y="8"/>
                </a:lnTo>
                <a:lnTo>
                  <a:pt x="84" y="14"/>
                </a:lnTo>
                <a:lnTo>
                  <a:pt x="88" y="18"/>
                </a:lnTo>
                <a:lnTo>
                  <a:pt x="92" y="22"/>
                </a:lnTo>
                <a:lnTo>
                  <a:pt x="92" y="24"/>
                </a:lnTo>
                <a:lnTo>
                  <a:pt x="94" y="24"/>
                </a:lnTo>
                <a:lnTo>
                  <a:pt x="96" y="26"/>
                </a:lnTo>
                <a:lnTo>
                  <a:pt x="98" y="24"/>
                </a:lnTo>
                <a:lnTo>
                  <a:pt x="100" y="24"/>
                </a:lnTo>
                <a:lnTo>
                  <a:pt x="104" y="24"/>
                </a:lnTo>
                <a:lnTo>
                  <a:pt x="106" y="26"/>
                </a:lnTo>
                <a:lnTo>
                  <a:pt x="108" y="28"/>
                </a:lnTo>
                <a:lnTo>
                  <a:pt x="110" y="28"/>
                </a:lnTo>
                <a:lnTo>
                  <a:pt x="112" y="26"/>
                </a:lnTo>
                <a:lnTo>
                  <a:pt x="114" y="24"/>
                </a:lnTo>
                <a:lnTo>
                  <a:pt x="116" y="24"/>
                </a:lnTo>
                <a:lnTo>
                  <a:pt x="120" y="24"/>
                </a:lnTo>
                <a:lnTo>
                  <a:pt x="122" y="24"/>
                </a:lnTo>
                <a:lnTo>
                  <a:pt x="122" y="22"/>
                </a:lnTo>
                <a:lnTo>
                  <a:pt x="122" y="20"/>
                </a:lnTo>
                <a:lnTo>
                  <a:pt x="122" y="18"/>
                </a:lnTo>
                <a:lnTo>
                  <a:pt x="124" y="18"/>
                </a:lnTo>
                <a:lnTo>
                  <a:pt x="124" y="20"/>
                </a:lnTo>
                <a:lnTo>
                  <a:pt x="124" y="22"/>
                </a:lnTo>
                <a:lnTo>
                  <a:pt x="126" y="24"/>
                </a:lnTo>
                <a:lnTo>
                  <a:pt x="126" y="26"/>
                </a:lnTo>
                <a:lnTo>
                  <a:pt x="126" y="30"/>
                </a:lnTo>
                <a:lnTo>
                  <a:pt x="128" y="36"/>
                </a:lnTo>
                <a:lnTo>
                  <a:pt x="130" y="40"/>
                </a:lnTo>
                <a:lnTo>
                  <a:pt x="134" y="46"/>
                </a:lnTo>
                <a:lnTo>
                  <a:pt x="138" y="52"/>
                </a:lnTo>
                <a:lnTo>
                  <a:pt x="150" y="68"/>
                </a:lnTo>
                <a:lnTo>
                  <a:pt x="154" y="68"/>
                </a:lnTo>
                <a:lnTo>
                  <a:pt x="154" y="70"/>
                </a:lnTo>
                <a:lnTo>
                  <a:pt x="156" y="72"/>
                </a:lnTo>
                <a:lnTo>
                  <a:pt x="160" y="76"/>
                </a:lnTo>
                <a:lnTo>
                  <a:pt x="164" y="82"/>
                </a:lnTo>
                <a:lnTo>
                  <a:pt x="168" y="86"/>
                </a:lnTo>
                <a:lnTo>
                  <a:pt x="170" y="88"/>
                </a:lnTo>
                <a:lnTo>
                  <a:pt x="174" y="88"/>
                </a:lnTo>
                <a:lnTo>
                  <a:pt x="176" y="90"/>
                </a:lnTo>
                <a:lnTo>
                  <a:pt x="178" y="92"/>
                </a:lnTo>
                <a:lnTo>
                  <a:pt x="178" y="94"/>
                </a:lnTo>
                <a:lnTo>
                  <a:pt x="176" y="96"/>
                </a:lnTo>
                <a:lnTo>
                  <a:pt x="174" y="96"/>
                </a:lnTo>
                <a:lnTo>
                  <a:pt x="172" y="94"/>
                </a:lnTo>
                <a:lnTo>
                  <a:pt x="170" y="92"/>
                </a:lnTo>
                <a:lnTo>
                  <a:pt x="168" y="90"/>
                </a:lnTo>
                <a:lnTo>
                  <a:pt x="166" y="90"/>
                </a:lnTo>
                <a:lnTo>
                  <a:pt x="164" y="90"/>
                </a:lnTo>
                <a:lnTo>
                  <a:pt x="162" y="90"/>
                </a:lnTo>
                <a:lnTo>
                  <a:pt x="158" y="96"/>
                </a:lnTo>
                <a:lnTo>
                  <a:pt x="158" y="112"/>
                </a:lnTo>
                <a:lnTo>
                  <a:pt x="158" y="118"/>
                </a:lnTo>
                <a:close/>
              </a:path>
            </a:pathLst>
          </a:custGeom>
          <a:solidFill>
            <a:srgbClr val="F5F1B5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2" name="Group 311"/>
          <p:cNvGrpSpPr>
            <a:grpSpLocks/>
          </p:cNvGrpSpPr>
          <p:nvPr/>
        </p:nvGrpSpPr>
        <p:grpSpPr bwMode="auto">
          <a:xfrm>
            <a:off x="3016877" y="1451328"/>
            <a:ext cx="377826" cy="166688"/>
            <a:chOff x="1818" y="464"/>
            <a:chExt cx="314" cy="130"/>
          </a:xfrm>
        </p:grpSpPr>
        <p:sp>
          <p:nvSpPr>
            <p:cNvPr id="200" name="Freeform 312"/>
            <p:cNvSpPr>
              <a:spLocks/>
            </p:cNvSpPr>
            <p:nvPr/>
          </p:nvSpPr>
          <p:spPr bwMode="auto">
            <a:xfrm>
              <a:off x="1818" y="464"/>
              <a:ext cx="314" cy="130"/>
            </a:xfrm>
            <a:custGeom>
              <a:avLst/>
              <a:gdLst/>
              <a:ahLst/>
              <a:cxnLst>
                <a:cxn ang="0">
                  <a:pos x="4" y="72"/>
                </a:cxn>
                <a:cxn ang="0">
                  <a:pos x="6" y="64"/>
                </a:cxn>
                <a:cxn ang="0">
                  <a:pos x="6" y="46"/>
                </a:cxn>
                <a:cxn ang="0">
                  <a:pos x="16" y="38"/>
                </a:cxn>
                <a:cxn ang="0">
                  <a:pos x="6" y="6"/>
                </a:cxn>
                <a:cxn ang="0">
                  <a:pos x="20" y="4"/>
                </a:cxn>
                <a:cxn ang="0">
                  <a:pos x="36" y="10"/>
                </a:cxn>
                <a:cxn ang="0">
                  <a:pos x="50" y="36"/>
                </a:cxn>
                <a:cxn ang="0">
                  <a:pos x="60" y="26"/>
                </a:cxn>
                <a:cxn ang="0">
                  <a:pos x="74" y="38"/>
                </a:cxn>
                <a:cxn ang="0">
                  <a:pos x="102" y="44"/>
                </a:cxn>
                <a:cxn ang="0">
                  <a:pos x="120" y="38"/>
                </a:cxn>
                <a:cxn ang="0">
                  <a:pos x="142" y="26"/>
                </a:cxn>
                <a:cxn ang="0">
                  <a:pos x="162" y="16"/>
                </a:cxn>
                <a:cxn ang="0">
                  <a:pos x="182" y="4"/>
                </a:cxn>
                <a:cxn ang="0">
                  <a:pos x="208" y="4"/>
                </a:cxn>
                <a:cxn ang="0">
                  <a:pos x="216" y="6"/>
                </a:cxn>
                <a:cxn ang="0">
                  <a:pos x="242" y="10"/>
                </a:cxn>
                <a:cxn ang="0">
                  <a:pos x="262" y="20"/>
                </a:cxn>
                <a:cxn ang="0">
                  <a:pos x="284" y="36"/>
                </a:cxn>
                <a:cxn ang="0">
                  <a:pos x="296" y="52"/>
                </a:cxn>
                <a:cxn ang="0">
                  <a:pos x="298" y="60"/>
                </a:cxn>
                <a:cxn ang="0">
                  <a:pos x="304" y="70"/>
                </a:cxn>
                <a:cxn ang="0">
                  <a:pos x="314" y="88"/>
                </a:cxn>
                <a:cxn ang="0">
                  <a:pos x="290" y="112"/>
                </a:cxn>
                <a:cxn ang="0">
                  <a:pos x="284" y="110"/>
                </a:cxn>
                <a:cxn ang="0">
                  <a:pos x="280" y="116"/>
                </a:cxn>
                <a:cxn ang="0">
                  <a:pos x="262" y="112"/>
                </a:cxn>
                <a:cxn ang="0">
                  <a:pos x="248" y="90"/>
                </a:cxn>
                <a:cxn ang="0">
                  <a:pos x="252" y="84"/>
                </a:cxn>
                <a:cxn ang="0">
                  <a:pos x="254" y="74"/>
                </a:cxn>
                <a:cxn ang="0">
                  <a:pos x="270" y="74"/>
                </a:cxn>
                <a:cxn ang="0">
                  <a:pos x="282" y="80"/>
                </a:cxn>
                <a:cxn ang="0">
                  <a:pos x="264" y="64"/>
                </a:cxn>
                <a:cxn ang="0">
                  <a:pos x="244" y="64"/>
                </a:cxn>
                <a:cxn ang="0">
                  <a:pos x="234" y="50"/>
                </a:cxn>
                <a:cxn ang="0">
                  <a:pos x="214" y="34"/>
                </a:cxn>
                <a:cxn ang="0">
                  <a:pos x="210" y="30"/>
                </a:cxn>
                <a:cxn ang="0">
                  <a:pos x="194" y="34"/>
                </a:cxn>
                <a:cxn ang="0">
                  <a:pos x="178" y="40"/>
                </a:cxn>
                <a:cxn ang="0">
                  <a:pos x="166" y="62"/>
                </a:cxn>
                <a:cxn ang="0">
                  <a:pos x="144" y="72"/>
                </a:cxn>
                <a:cxn ang="0">
                  <a:pos x="136" y="82"/>
                </a:cxn>
                <a:cxn ang="0">
                  <a:pos x="154" y="100"/>
                </a:cxn>
                <a:cxn ang="0">
                  <a:pos x="154" y="120"/>
                </a:cxn>
                <a:cxn ang="0">
                  <a:pos x="138" y="128"/>
                </a:cxn>
                <a:cxn ang="0">
                  <a:pos x="114" y="130"/>
                </a:cxn>
                <a:cxn ang="0">
                  <a:pos x="108" y="108"/>
                </a:cxn>
                <a:cxn ang="0">
                  <a:pos x="100" y="96"/>
                </a:cxn>
                <a:cxn ang="0">
                  <a:pos x="92" y="106"/>
                </a:cxn>
                <a:cxn ang="0">
                  <a:pos x="76" y="94"/>
                </a:cxn>
                <a:cxn ang="0">
                  <a:pos x="72" y="84"/>
                </a:cxn>
                <a:cxn ang="0">
                  <a:pos x="46" y="76"/>
                </a:cxn>
                <a:cxn ang="0">
                  <a:pos x="34" y="72"/>
                </a:cxn>
                <a:cxn ang="0">
                  <a:pos x="16" y="70"/>
                </a:cxn>
                <a:cxn ang="0">
                  <a:pos x="10" y="80"/>
                </a:cxn>
              </a:cxnLst>
              <a:rect l="0" t="0" r="r" b="b"/>
              <a:pathLst>
                <a:path w="314" h="130">
                  <a:moveTo>
                    <a:pt x="6" y="86"/>
                  </a:moveTo>
                  <a:lnTo>
                    <a:pt x="8" y="84"/>
                  </a:lnTo>
                  <a:lnTo>
                    <a:pt x="8" y="82"/>
                  </a:lnTo>
                  <a:lnTo>
                    <a:pt x="8" y="80"/>
                  </a:lnTo>
                  <a:lnTo>
                    <a:pt x="6" y="72"/>
                  </a:lnTo>
                  <a:lnTo>
                    <a:pt x="4" y="72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0" y="68"/>
                  </a:lnTo>
                  <a:lnTo>
                    <a:pt x="4" y="64"/>
                  </a:lnTo>
                  <a:lnTo>
                    <a:pt x="6" y="64"/>
                  </a:lnTo>
                  <a:lnTo>
                    <a:pt x="8" y="62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18" y="36"/>
                  </a:lnTo>
                  <a:lnTo>
                    <a:pt x="16" y="34"/>
                  </a:lnTo>
                  <a:lnTo>
                    <a:pt x="8" y="28"/>
                  </a:lnTo>
                  <a:lnTo>
                    <a:pt x="6" y="28"/>
                  </a:lnTo>
                  <a:lnTo>
                    <a:pt x="6" y="22"/>
                  </a:lnTo>
                  <a:lnTo>
                    <a:pt x="6" y="6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2" y="6"/>
                  </a:lnTo>
                  <a:lnTo>
                    <a:pt x="24" y="6"/>
                  </a:lnTo>
                  <a:lnTo>
                    <a:pt x="26" y="4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36" y="10"/>
                  </a:lnTo>
                  <a:lnTo>
                    <a:pt x="36" y="14"/>
                  </a:lnTo>
                  <a:lnTo>
                    <a:pt x="36" y="16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4" y="32"/>
                  </a:lnTo>
                  <a:lnTo>
                    <a:pt x="50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6" y="36"/>
                  </a:lnTo>
                  <a:lnTo>
                    <a:pt x="68" y="32"/>
                  </a:lnTo>
                  <a:lnTo>
                    <a:pt x="64" y="30"/>
                  </a:lnTo>
                  <a:lnTo>
                    <a:pt x="60" y="26"/>
                  </a:lnTo>
                  <a:lnTo>
                    <a:pt x="62" y="22"/>
                  </a:lnTo>
                  <a:lnTo>
                    <a:pt x="64" y="24"/>
                  </a:lnTo>
                  <a:lnTo>
                    <a:pt x="68" y="30"/>
                  </a:lnTo>
                  <a:lnTo>
                    <a:pt x="72" y="32"/>
                  </a:lnTo>
                  <a:lnTo>
                    <a:pt x="74" y="36"/>
                  </a:lnTo>
                  <a:lnTo>
                    <a:pt x="74" y="38"/>
                  </a:lnTo>
                  <a:lnTo>
                    <a:pt x="76" y="40"/>
                  </a:lnTo>
                  <a:lnTo>
                    <a:pt x="80" y="42"/>
                  </a:lnTo>
                  <a:lnTo>
                    <a:pt x="82" y="44"/>
                  </a:lnTo>
                  <a:lnTo>
                    <a:pt x="94" y="44"/>
                  </a:lnTo>
                  <a:lnTo>
                    <a:pt x="98" y="44"/>
                  </a:lnTo>
                  <a:lnTo>
                    <a:pt x="102" y="44"/>
                  </a:lnTo>
                  <a:lnTo>
                    <a:pt x="106" y="44"/>
                  </a:lnTo>
                  <a:lnTo>
                    <a:pt x="112" y="42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18" y="40"/>
                  </a:lnTo>
                  <a:lnTo>
                    <a:pt x="120" y="38"/>
                  </a:lnTo>
                  <a:lnTo>
                    <a:pt x="122" y="36"/>
                  </a:lnTo>
                  <a:lnTo>
                    <a:pt x="124" y="34"/>
                  </a:lnTo>
                  <a:lnTo>
                    <a:pt x="128" y="30"/>
                  </a:lnTo>
                  <a:lnTo>
                    <a:pt x="130" y="30"/>
                  </a:lnTo>
                  <a:lnTo>
                    <a:pt x="134" y="28"/>
                  </a:lnTo>
                  <a:lnTo>
                    <a:pt x="142" y="26"/>
                  </a:lnTo>
                  <a:lnTo>
                    <a:pt x="146" y="24"/>
                  </a:lnTo>
                  <a:lnTo>
                    <a:pt x="150" y="24"/>
                  </a:lnTo>
                  <a:lnTo>
                    <a:pt x="156" y="22"/>
                  </a:lnTo>
                  <a:lnTo>
                    <a:pt x="158" y="22"/>
                  </a:lnTo>
                  <a:lnTo>
                    <a:pt x="160" y="20"/>
                  </a:lnTo>
                  <a:lnTo>
                    <a:pt x="162" y="16"/>
                  </a:lnTo>
                  <a:lnTo>
                    <a:pt x="164" y="16"/>
                  </a:lnTo>
                  <a:lnTo>
                    <a:pt x="166" y="14"/>
                  </a:lnTo>
                  <a:lnTo>
                    <a:pt x="174" y="12"/>
                  </a:lnTo>
                  <a:lnTo>
                    <a:pt x="178" y="10"/>
                  </a:lnTo>
                  <a:lnTo>
                    <a:pt x="180" y="6"/>
                  </a:lnTo>
                  <a:lnTo>
                    <a:pt x="182" y="4"/>
                  </a:lnTo>
                  <a:lnTo>
                    <a:pt x="184" y="2"/>
                  </a:lnTo>
                  <a:lnTo>
                    <a:pt x="186" y="2"/>
                  </a:lnTo>
                  <a:lnTo>
                    <a:pt x="188" y="0"/>
                  </a:lnTo>
                  <a:lnTo>
                    <a:pt x="192" y="4"/>
                  </a:lnTo>
                  <a:lnTo>
                    <a:pt x="204" y="4"/>
                  </a:lnTo>
                  <a:lnTo>
                    <a:pt x="208" y="4"/>
                  </a:lnTo>
                  <a:lnTo>
                    <a:pt x="214" y="4"/>
                  </a:lnTo>
                  <a:lnTo>
                    <a:pt x="216" y="4"/>
                  </a:lnTo>
                  <a:lnTo>
                    <a:pt x="218" y="4"/>
                  </a:lnTo>
                  <a:lnTo>
                    <a:pt x="220" y="4"/>
                  </a:lnTo>
                  <a:lnTo>
                    <a:pt x="218" y="4"/>
                  </a:lnTo>
                  <a:lnTo>
                    <a:pt x="216" y="6"/>
                  </a:lnTo>
                  <a:lnTo>
                    <a:pt x="214" y="6"/>
                  </a:lnTo>
                  <a:lnTo>
                    <a:pt x="214" y="8"/>
                  </a:lnTo>
                  <a:lnTo>
                    <a:pt x="214" y="10"/>
                  </a:lnTo>
                  <a:lnTo>
                    <a:pt x="216" y="10"/>
                  </a:lnTo>
                  <a:lnTo>
                    <a:pt x="234" y="10"/>
                  </a:lnTo>
                  <a:lnTo>
                    <a:pt x="242" y="10"/>
                  </a:lnTo>
                  <a:lnTo>
                    <a:pt x="244" y="12"/>
                  </a:lnTo>
                  <a:lnTo>
                    <a:pt x="246" y="14"/>
                  </a:lnTo>
                  <a:lnTo>
                    <a:pt x="250" y="14"/>
                  </a:lnTo>
                  <a:lnTo>
                    <a:pt x="252" y="16"/>
                  </a:lnTo>
                  <a:lnTo>
                    <a:pt x="258" y="18"/>
                  </a:lnTo>
                  <a:lnTo>
                    <a:pt x="262" y="20"/>
                  </a:lnTo>
                  <a:lnTo>
                    <a:pt x="270" y="22"/>
                  </a:lnTo>
                  <a:lnTo>
                    <a:pt x="274" y="26"/>
                  </a:lnTo>
                  <a:lnTo>
                    <a:pt x="276" y="28"/>
                  </a:lnTo>
                  <a:lnTo>
                    <a:pt x="278" y="30"/>
                  </a:lnTo>
                  <a:lnTo>
                    <a:pt x="282" y="32"/>
                  </a:lnTo>
                  <a:lnTo>
                    <a:pt x="284" y="36"/>
                  </a:lnTo>
                  <a:lnTo>
                    <a:pt x="284" y="38"/>
                  </a:lnTo>
                  <a:lnTo>
                    <a:pt x="286" y="40"/>
                  </a:lnTo>
                  <a:lnTo>
                    <a:pt x="290" y="42"/>
                  </a:lnTo>
                  <a:lnTo>
                    <a:pt x="294" y="46"/>
                  </a:lnTo>
                  <a:lnTo>
                    <a:pt x="296" y="50"/>
                  </a:lnTo>
                  <a:lnTo>
                    <a:pt x="296" y="52"/>
                  </a:lnTo>
                  <a:lnTo>
                    <a:pt x="298" y="52"/>
                  </a:lnTo>
                  <a:lnTo>
                    <a:pt x="302" y="52"/>
                  </a:lnTo>
                  <a:lnTo>
                    <a:pt x="304" y="52"/>
                  </a:lnTo>
                  <a:lnTo>
                    <a:pt x="304" y="54"/>
                  </a:lnTo>
                  <a:lnTo>
                    <a:pt x="300" y="58"/>
                  </a:lnTo>
                  <a:lnTo>
                    <a:pt x="298" y="60"/>
                  </a:lnTo>
                  <a:lnTo>
                    <a:pt x="300" y="62"/>
                  </a:lnTo>
                  <a:lnTo>
                    <a:pt x="302" y="62"/>
                  </a:lnTo>
                  <a:lnTo>
                    <a:pt x="302" y="64"/>
                  </a:lnTo>
                  <a:lnTo>
                    <a:pt x="304" y="66"/>
                  </a:lnTo>
                  <a:lnTo>
                    <a:pt x="304" y="68"/>
                  </a:lnTo>
                  <a:lnTo>
                    <a:pt x="304" y="70"/>
                  </a:lnTo>
                  <a:lnTo>
                    <a:pt x="304" y="74"/>
                  </a:lnTo>
                  <a:lnTo>
                    <a:pt x="306" y="74"/>
                  </a:lnTo>
                  <a:lnTo>
                    <a:pt x="308" y="78"/>
                  </a:lnTo>
                  <a:lnTo>
                    <a:pt x="310" y="80"/>
                  </a:lnTo>
                  <a:lnTo>
                    <a:pt x="312" y="84"/>
                  </a:lnTo>
                  <a:lnTo>
                    <a:pt x="314" y="88"/>
                  </a:lnTo>
                  <a:lnTo>
                    <a:pt x="312" y="92"/>
                  </a:lnTo>
                  <a:lnTo>
                    <a:pt x="308" y="94"/>
                  </a:lnTo>
                  <a:lnTo>
                    <a:pt x="304" y="100"/>
                  </a:lnTo>
                  <a:lnTo>
                    <a:pt x="306" y="104"/>
                  </a:lnTo>
                  <a:lnTo>
                    <a:pt x="292" y="114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88" y="106"/>
                  </a:lnTo>
                  <a:lnTo>
                    <a:pt x="284" y="104"/>
                  </a:lnTo>
                  <a:lnTo>
                    <a:pt x="284" y="106"/>
                  </a:lnTo>
                  <a:lnTo>
                    <a:pt x="284" y="108"/>
                  </a:lnTo>
                  <a:lnTo>
                    <a:pt x="284" y="110"/>
                  </a:lnTo>
                  <a:lnTo>
                    <a:pt x="284" y="112"/>
                  </a:lnTo>
                  <a:lnTo>
                    <a:pt x="286" y="114"/>
                  </a:lnTo>
                  <a:lnTo>
                    <a:pt x="284" y="114"/>
                  </a:lnTo>
                  <a:lnTo>
                    <a:pt x="284" y="116"/>
                  </a:lnTo>
                  <a:lnTo>
                    <a:pt x="282" y="116"/>
                  </a:lnTo>
                  <a:lnTo>
                    <a:pt x="280" y="116"/>
                  </a:lnTo>
                  <a:lnTo>
                    <a:pt x="276" y="130"/>
                  </a:lnTo>
                  <a:lnTo>
                    <a:pt x="274" y="130"/>
                  </a:lnTo>
                  <a:lnTo>
                    <a:pt x="270" y="124"/>
                  </a:lnTo>
                  <a:lnTo>
                    <a:pt x="262" y="114"/>
                  </a:lnTo>
                  <a:lnTo>
                    <a:pt x="260" y="114"/>
                  </a:lnTo>
                  <a:lnTo>
                    <a:pt x="262" y="112"/>
                  </a:lnTo>
                  <a:lnTo>
                    <a:pt x="258" y="108"/>
                  </a:lnTo>
                  <a:lnTo>
                    <a:pt x="254" y="104"/>
                  </a:lnTo>
                  <a:lnTo>
                    <a:pt x="254" y="102"/>
                  </a:lnTo>
                  <a:lnTo>
                    <a:pt x="252" y="96"/>
                  </a:lnTo>
                  <a:lnTo>
                    <a:pt x="250" y="94"/>
                  </a:lnTo>
                  <a:lnTo>
                    <a:pt x="248" y="90"/>
                  </a:lnTo>
                  <a:lnTo>
                    <a:pt x="248" y="86"/>
                  </a:lnTo>
                  <a:lnTo>
                    <a:pt x="248" y="84"/>
                  </a:lnTo>
                  <a:lnTo>
                    <a:pt x="248" y="82"/>
                  </a:lnTo>
                  <a:lnTo>
                    <a:pt x="248" y="84"/>
                  </a:lnTo>
                  <a:lnTo>
                    <a:pt x="250" y="84"/>
                  </a:lnTo>
                  <a:lnTo>
                    <a:pt x="252" y="84"/>
                  </a:lnTo>
                  <a:lnTo>
                    <a:pt x="254" y="84"/>
                  </a:lnTo>
                  <a:lnTo>
                    <a:pt x="256" y="82"/>
                  </a:lnTo>
                  <a:lnTo>
                    <a:pt x="258" y="80"/>
                  </a:lnTo>
                  <a:lnTo>
                    <a:pt x="258" y="78"/>
                  </a:lnTo>
                  <a:lnTo>
                    <a:pt x="254" y="76"/>
                  </a:lnTo>
                  <a:lnTo>
                    <a:pt x="254" y="74"/>
                  </a:lnTo>
                  <a:lnTo>
                    <a:pt x="256" y="74"/>
                  </a:lnTo>
                  <a:lnTo>
                    <a:pt x="260" y="70"/>
                  </a:lnTo>
                  <a:lnTo>
                    <a:pt x="262" y="66"/>
                  </a:lnTo>
                  <a:lnTo>
                    <a:pt x="264" y="66"/>
                  </a:lnTo>
                  <a:lnTo>
                    <a:pt x="268" y="72"/>
                  </a:lnTo>
                  <a:lnTo>
                    <a:pt x="270" y="74"/>
                  </a:lnTo>
                  <a:lnTo>
                    <a:pt x="270" y="76"/>
                  </a:lnTo>
                  <a:lnTo>
                    <a:pt x="272" y="76"/>
                  </a:lnTo>
                  <a:lnTo>
                    <a:pt x="276" y="76"/>
                  </a:lnTo>
                  <a:lnTo>
                    <a:pt x="278" y="78"/>
                  </a:lnTo>
                  <a:lnTo>
                    <a:pt x="280" y="80"/>
                  </a:lnTo>
                  <a:lnTo>
                    <a:pt x="282" y="80"/>
                  </a:lnTo>
                  <a:lnTo>
                    <a:pt x="278" y="76"/>
                  </a:lnTo>
                  <a:lnTo>
                    <a:pt x="276" y="76"/>
                  </a:lnTo>
                  <a:lnTo>
                    <a:pt x="274" y="74"/>
                  </a:lnTo>
                  <a:lnTo>
                    <a:pt x="270" y="74"/>
                  </a:lnTo>
                  <a:lnTo>
                    <a:pt x="268" y="70"/>
                  </a:lnTo>
                  <a:lnTo>
                    <a:pt x="264" y="64"/>
                  </a:lnTo>
                  <a:lnTo>
                    <a:pt x="258" y="68"/>
                  </a:lnTo>
                  <a:lnTo>
                    <a:pt x="256" y="66"/>
                  </a:lnTo>
                  <a:lnTo>
                    <a:pt x="252" y="66"/>
                  </a:lnTo>
                  <a:lnTo>
                    <a:pt x="250" y="70"/>
                  </a:lnTo>
                  <a:lnTo>
                    <a:pt x="248" y="70"/>
                  </a:lnTo>
                  <a:lnTo>
                    <a:pt x="244" y="64"/>
                  </a:lnTo>
                  <a:lnTo>
                    <a:pt x="244" y="60"/>
                  </a:lnTo>
                  <a:lnTo>
                    <a:pt x="244" y="54"/>
                  </a:lnTo>
                  <a:lnTo>
                    <a:pt x="242" y="54"/>
                  </a:lnTo>
                  <a:lnTo>
                    <a:pt x="240" y="52"/>
                  </a:lnTo>
                  <a:lnTo>
                    <a:pt x="238" y="52"/>
                  </a:lnTo>
                  <a:lnTo>
                    <a:pt x="234" y="50"/>
                  </a:lnTo>
                  <a:lnTo>
                    <a:pt x="232" y="48"/>
                  </a:lnTo>
                  <a:lnTo>
                    <a:pt x="232" y="44"/>
                  </a:lnTo>
                  <a:lnTo>
                    <a:pt x="222" y="38"/>
                  </a:lnTo>
                  <a:lnTo>
                    <a:pt x="216" y="36"/>
                  </a:lnTo>
                  <a:lnTo>
                    <a:pt x="214" y="36"/>
                  </a:lnTo>
                  <a:lnTo>
                    <a:pt x="214" y="34"/>
                  </a:lnTo>
                  <a:lnTo>
                    <a:pt x="214" y="30"/>
                  </a:lnTo>
                  <a:lnTo>
                    <a:pt x="216" y="28"/>
                  </a:lnTo>
                  <a:lnTo>
                    <a:pt x="218" y="26"/>
                  </a:lnTo>
                  <a:lnTo>
                    <a:pt x="216" y="26"/>
                  </a:lnTo>
                  <a:lnTo>
                    <a:pt x="212" y="28"/>
                  </a:lnTo>
                  <a:lnTo>
                    <a:pt x="210" y="30"/>
                  </a:lnTo>
                  <a:lnTo>
                    <a:pt x="210" y="32"/>
                  </a:lnTo>
                  <a:lnTo>
                    <a:pt x="204" y="34"/>
                  </a:lnTo>
                  <a:lnTo>
                    <a:pt x="202" y="32"/>
                  </a:lnTo>
                  <a:lnTo>
                    <a:pt x="198" y="32"/>
                  </a:lnTo>
                  <a:lnTo>
                    <a:pt x="196" y="32"/>
                  </a:lnTo>
                  <a:lnTo>
                    <a:pt x="194" y="34"/>
                  </a:lnTo>
                  <a:lnTo>
                    <a:pt x="192" y="34"/>
                  </a:lnTo>
                  <a:lnTo>
                    <a:pt x="188" y="36"/>
                  </a:lnTo>
                  <a:lnTo>
                    <a:pt x="188" y="38"/>
                  </a:lnTo>
                  <a:lnTo>
                    <a:pt x="186" y="40"/>
                  </a:lnTo>
                  <a:lnTo>
                    <a:pt x="182" y="40"/>
                  </a:lnTo>
                  <a:lnTo>
                    <a:pt x="178" y="40"/>
                  </a:lnTo>
                  <a:lnTo>
                    <a:pt x="178" y="42"/>
                  </a:lnTo>
                  <a:lnTo>
                    <a:pt x="176" y="44"/>
                  </a:lnTo>
                  <a:lnTo>
                    <a:pt x="176" y="48"/>
                  </a:lnTo>
                  <a:lnTo>
                    <a:pt x="178" y="50"/>
                  </a:lnTo>
                  <a:lnTo>
                    <a:pt x="176" y="56"/>
                  </a:lnTo>
                  <a:lnTo>
                    <a:pt x="166" y="62"/>
                  </a:lnTo>
                  <a:lnTo>
                    <a:pt x="162" y="66"/>
                  </a:lnTo>
                  <a:lnTo>
                    <a:pt x="160" y="66"/>
                  </a:lnTo>
                  <a:lnTo>
                    <a:pt x="158" y="68"/>
                  </a:lnTo>
                  <a:lnTo>
                    <a:pt x="156" y="70"/>
                  </a:lnTo>
                  <a:lnTo>
                    <a:pt x="150" y="72"/>
                  </a:lnTo>
                  <a:lnTo>
                    <a:pt x="144" y="72"/>
                  </a:lnTo>
                  <a:lnTo>
                    <a:pt x="142" y="72"/>
                  </a:lnTo>
                  <a:lnTo>
                    <a:pt x="140" y="74"/>
                  </a:lnTo>
                  <a:lnTo>
                    <a:pt x="138" y="76"/>
                  </a:lnTo>
                  <a:lnTo>
                    <a:pt x="138" y="78"/>
                  </a:lnTo>
                  <a:lnTo>
                    <a:pt x="138" y="82"/>
                  </a:lnTo>
                  <a:lnTo>
                    <a:pt x="136" y="82"/>
                  </a:lnTo>
                  <a:lnTo>
                    <a:pt x="140" y="86"/>
                  </a:lnTo>
                  <a:lnTo>
                    <a:pt x="142" y="88"/>
                  </a:lnTo>
                  <a:lnTo>
                    <a:pt x="144" y="88"/>
                  </a:lnTo>
                  <a:lnTo>
                    <a:pt x="144" y="90"/>
                  </a:lnTo>
                  <a:lnTo>
                    <a:pt x="146" y="92"/>
                  </a:lnTo>
                  <a:lnTo>
                    <a:pt x="154" y="100"/>
                  </a:lnTo>
                  <a:lnTo>
                    <a:pt x="160" y="108"/>
                  </a:lnTo>
                  <a:lnTo>
                    <a:pt x="162" y="114"/>
                  </a:lnTo>
                  <a:lnTo>
                    <a:pt x="162" y="116"/>
                  </a:lnTo>
                  <a:lnTo>
                    <a:pt x="160" y="118"/>
                  </a:lnTo>
                  <a:lnTo>
                    <a:pt x="158" y="118"/>
                  </a:lnTo>
                  <a:lnTo>
                    <a:pt x="154" y="120"/>
                  </a:lnTo>
                  <a:lnTo>
                    <a:pt x="150" y="118"/>
                  </a:lnTo>
                  <a:lnTo>
                    <a:pt x="148" y="118"/>
                  </a:lnTo>
                  <a:lnTo>
                    <a:pt x="146" y="118"/>
                  </a:lnTo>
                  <a:lnTo>
                    <a:pt x="142" y="122"/>
                  </a:lnTo>
                  <a:lnTo>
                    <a:pt x="142" y="126"/>
                  </a:lnTo>
                  <a:lnTo>
                    <a:pt x="138" y="128"/>
                  </a:lnTo>
                  <a:lnTo>
                    <a:pt x="130" y="130"/>
                  </a:lnTo>
                  <a:lnTo>
                    <a:pt x="128" y="130"/>
                  </a:lnTo>
                  <a:lnTo>
                    <a:pt x="124" y="130"/>
                  </a:lnTo>
                  <a:lnTo>
                    <a:pt x="120" y="130"/>
                  </a:lnTo>
                  <a:lnTo>
                    <a:pt x="116" y="130"/>
                  </a:lnTo>
                  <a:lnTo>
                    <a:pt x="114" y="130"/>
                  </a:lnTo>
                  <a:lnTo>
                    <a:pt x="112" y="128"/>
                  </a:lnTo>
                  <a:lnTo>
                    <a:pt x="114" y="124"/>
                  </a:lnTo>
                  <a:lnTo>
                    <a:pt x="114" y="118"/>
                  </a:lnTo>
                  <a:lnTo>
                    <a:pt x="112" y="112"/>
                  </a:lnTo>
                  <a:lnTo>
                    <a:pt x="110" y="108"/>
                  </a:lnTo>
                  <a:lnTo>
                    <a:pt x="108" y="108"/>
                  </a:lnTo>
                  <a:lnTo>
                    <a:pt x="106" y="104"/>
                  </a:lnTo>
                  <a:lnTo>
                    <a:pt x="106" y="100"/>
                  </a:lnTo>
                  <a:lnTo>
                    <a:pt x="106" y="96"/>
                  </a:lnTo>
                  <a:lnTo>
                    <a:pt x="106" y="94"/>
                  </a:lnTo>
                  <a:lnTo>
                    <a:pt x="102" y="96"/>
                  </a:lnTo>
                  <a:lnTo>
                    <a:pt x="100" y="96"/>
                  </a:lnTo>
                  <a:lnTo>
                    <a:pt x="100" y="98"/>
                  </a:lnTo>
                  <a:lnTo>
                    <a:pt x="98" y="104"/>
                  </a:lnTo>
                  <a:lnTo>
                    <a:pt x="98" y="106"/>
                  </a:lnTo>
                  <a:lnTo>
                    <a:pt x="96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6"/>
                  </a:lnTo>
                  <a:lnTo>
                    <a:pt x="86" y="104"/>
                  </a:lnTo>
                  <a:lnTo>
                    <a:pt x="82" y="104"/>
                  </a:lnTo>
                  <a:lnTo>
                    <a:pt x="78" y="100"/>
                  </a:lnTo>
                  <a:lnTo>
                    <a:pt x="76" y="98"/>
                  </a:lnTo>
                  <a:lnTo>
                    <a:pt x="76" y="94"/>
                  </a:lnTo>
                  <a:lnTo>
                    <a:pt x="76" y="90"/>
                  </a:lnTo>
                  <a:lnTo>
                    <a:pt x="76" y="88"/>
                  </a:lnTo>
                  <a:lnTo>
                    <a:pt x="74" y="88"/>
                  </a:lnTo>
                  <a:lnTo>
                    <a:pt x="72" y="86"/>
                  </a:lnTo>
                  <a:lnTo>
                    <a:pt x="70" y="84"/>
                  </a:lnTo>
                  <a:lnTo>
                    <a:pt x="72" y="84"/>
                  </a:lnTo>
                  <a:lnTo>
                    <a:pt x="70" y="80"/>
                  </a:lnTo>
                  <a:lnTo>
                    <a:pt x="68" y="78"/>
                  </a:lnTo>
                  <a:lnTo>
                    <a:pt x="58" y="78"/>
                  </a:lnTo>
                  <a:lnTo>
                    <a:pt x="50" y="76"/>
                  </a:lnTo>
                  <a:lnTo>
                    <a:pt x="48" y="78"/>
                  </a:lnTo>
                  <a:lnTo>
                    <a:pt x="46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2" y="72"/>
                  </a:lnTo>
                  <a:lnTo>
                    <a:pt x="40" y="70"/>
                  </a:lnTo>
                  <a:lnTo>
                    <a:pt x="36" y="70"/>
                  </a:lnTo>
                  <a:lnTo>
                    <a:pt x="34" y="72"/>
                  </a:lnTo>
                  <a:lnTo>
                    <a:pt x="30" y="72"/>
                  </a:lnTo>
                  <a:lnTo>
                    <a:pt x="28" y="72"/>
                  </a:lnTo>
                  <a:lnTo>
                    <a:pt x="26" y="72"/>
                  </a:lnTo>
                  <a:lnTo>
                    <a:pt x="22" y="70"/>
                  </a:lnTo>
                  <a:lnTo>
                    <a:pt x="20" y="70"/>
                  </a:lnTo>
                  <a:lnTo>
                    <a:pt x="16" y="70"/>
                  </a:lnTo>
                  <a:lnTo>
                    <a:pt x="14" y="70"/>
                  </a:lnTo>
                  <a:lnTo>
                    <a:pt x="12" y="70"/>
                  </a:lnTo>
                  <a:lnTo>
                    <a:pt x="10" y="72"/>
                  </a:lnTo>
                  <a:lnTo>
                    <a:pt x="8" y="74"/>
                  </a:lnTo>
                  <a:lnTo>
                    <a:pt x="8" y="76"/>
                  </a:lnTo>
                  <a:lnTo>
                    <a:pt x="10" y="80"/>
                  </a:lnTo>
                  <a:lnTo>
                    <a:pt x="10" y="82"/>
                  </a:lnTo>
                  <a:lnTo>
                    <a:pt x="8" y="86"/>
                  </a:lnTo>
                  <a:lnTo>
                    <a:pt x="6" y="86"/>
                  </a:lnTo>
                  <a:close/>
                </a:path>
              </a:pathLst>
            </a:custGeom>
            <a:solidFill>
              <a:srgbClr val="F5F1B5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1" name="Freeform 313"/>
            <p:cNvSpPr>
              <a:spLocks/>
            </p:cNvSpPr>
            <p:nvPr/>
          </p:nvSpPr>
          <p:spPr bwMode="auto">
            <a:xfrm>
              <a:off x="1856" y="472"/>
              <a:ext cx="6" cy="6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0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0" y="2"/>
                </a:cxn>
              </a:cxnLst>
              <a:rect l="0" t="0" r="r" b="b"/>
              <a:pathLst>
                <a:path w="6" h="6">
                  <a:moveTo>
                    <a:pt x="0" y="2"/>
                  </a:moveTo>
                  <a:lnTo>
                    <a:pt x="4" y="0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6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5F1B5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2" name="Freeform 314"/>
            <p:cNvSpPr>
              <a:spLocks/>
            </p:cNvSpPr>
            <p:nvPr/>
          </p:nvSpPr>
          <p:spPr bwMode="auto">
            <a:xfrm>
              <a:off x="2036" y="526"/>
              <a:ext cx="8" cy="1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2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2" y="12"/>
                </a:cxn>
                <a:cxn ang="0">
                  <a:pos x="0" y="10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6" y="0"/>
                </a:cxn>
              </a:cxnLst>
              <a:rect l="0" t="0" r="r" b="b"/>
              <a:pathLst>
                <a:path w="8" h="12">
                  <a:moveTo>
                    <a:pt x="6" y="0"/>
                  </a:moveTo>
                  <a:lnTo>
                    <a:pt x="6" y="2"/>
                  </a:lnTo>
                  <a:lnTo>
                    <a:pt x="8" y="4"/>
                  </a:lnTo>
                  <a:lnTo>
                    <a:pt x="8" y="8"/>
                  </a:lnTo>
                  <a:lnTo>
                    <a:pt x="6" y="10"/>
                  </a:lnTo>
                  <a:lnTo>
                    <a:pt x="2" y="12"/>
                  </a:lnTo>
                  <a:lnTo>
                    <a:pt x="0" y="10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5F1B5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3" name="Freeform 315"/>
            <p:cNvSpPr>
              <a:spLocks/>
            </p:cNvSpPr>
            <p:nvPr/>
          </p:nvSpPr>
          <p:spPr bwMode="auto">
            <a:xfrm>
              <a:off x="1880" y="570"/>
              <a:ext cx="14" cy="18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2"/>
                </a:cxn>
                <a:cxn ang="0">
                  <a:pos x="8" y="6"/>
                </a:cxn>
                <a:cxn ang="0">
                  <a:pos x="8" y="8"/>
                </a:cxn>
                <a:cxn ang="0">
                  <a:pos x="8" y="10"/>
                </a:cxn>
                <a:cxn ang="0">
                  <a:pos x="8" y="12"/>
                </a:cxn>
                <a:cxn ang="0">
                  <a:pos x="10" y="14"/>
                </a:cxn>
                <a:cxn ang="0">
                  <a:pos x="12" y="14"/>
                </a:cxn>
                <a:cxn ang="0">
                  <a:pos x="14" y="14"/>
                </a:cxn>
                <a:cxn ang="0">
                  <a:pos x="14" y="16"/>
                </a:cxn>
                <a:cxn ang="0">
                  <a:pos x="14" y="18"/>
                </a:cxn>
                <a:cxn ang="0">
                  <a:pos x="12" y="18"/>
                </a:cxn>
                <a:cxn ang="0">
                  <a:pos x="6" y="16"/>
                </a:cxn>
                <a:cxn ang="0">
                  <a:pos x="2" y="12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6" y="0"/>
                </a:cxn>
              </a:cxnLst>
              <a:rect l="0" t="0" r="r" b="b"/>
              <a:pathLst>
                <a:path w="14" h="18">
                  <a:moveTo>
                    <a:pt x="6" y="0"/>
                  </a:moveTo>
                  <a:lnTo>
                    <a:pt x="8" y="2"/>
                  </a:lnTo>
                  <a:lnTo>
                    <a:pt x="8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6" y="16"/>
                  </a:lnTo>
                  <a:lnTo>
                    <a:pt x="2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5F1B5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04" name="Freeform 316"/>
          <p:cNvSpPr>
            <a:spLocks/>
          </p:cNvSpPr>
          <p:nvPr/>
        </p:nvSpPr>
        <p:spPr bwMode="auto">
          <a:xfrm>
            <a:off x="3272465" y="1257653"/>
            <a:ext cx="793750" cy="1154113"/>
          </a:xfrm>
          <a:custGeom>
            <a:avLst/>
            <a:gdLst/>
            <a:ahLst/>
            <a:cxnLst>
              <a:cxn ang="0">
                <a:pos x="88" y="494"/>
              </a:cxn>
              <a:cxn ang="0">
                <a:pos x="96" y="466"/>
              </a:cxn>
              <a:cxn ang="0">
                <a:pos x="88" y="456"/>
              </a:cxn>
              <a:cxn ang="0">
                <a:pos x="92" y="414"/>
              </a:cxn>
              <a:cxn ang="0">
                <a:pos x="90" y="370"/>
              </a:cxn>
              <a:cxn ang="0">
                <a:pos x="92" y="328"/>
              </a:cxn>
              <a:cxn ang="0">
                <a:pos x="72" y="266"/>
              </a:cxn>
              <a:cxn ang="0">
                <a:pos x="100" y="244"/>
              </a:cxn>
              <a:cxn ang="0">
                <a:pos x="88" y="210"/>
              </a:cxn>
              <a:cxn ang="0">
                <a:pos x="114" y="230"/>
              </a:cxn>
              <a:cxn ang="0">
                <a:pos x="126" y="244"/>
              </a:cxn>
              <a:cxn ang="0">
                <a:pos x="144" y="192"/>
              </a:cxn>
              <a:cxn ang="0">
                <a:pos x="188" y="158"/>
              </a:cxn>
              <a:cxn ang="0">
                <a:pos x="190" y="110"/>
              </a:cxn>
              <a:cxn ang="0">
                <a:pos x="228" y="72"/>
              </a:cxn>
              <a:cxn ang="0">
                <a:pos x="242" y="84"/>
              </a:cxn>
              <a:cxn ang="0">
                <a:pos x="262" y="66"/>
              </a:cxn>
              <a:cxn ang="0">
                <a:pos x="300" y="64"/>
              </a:cxn>
              <a:cxn ang="0">
                <a:pos x="358" y="36"/>
              </a:cxn>
              <a:cxn ang="0">
                <a:pos x="390" y="8"/>
              </a:cxn>
              <a:cxn ang="0">
                <a:pos x="428" y="22"/>
              </a:cxn>
              <a:cxn ang="0">
                <a:pos x="364" y="70"/>
              </a:cxn>
              <a:cxn ang="0">
                <a:pos x="328" y="132"/>
              </a:cxn>
              <a:cxn ang="0">
                <a:pos x="330" y="176"/>
              </a:cxn>
              <a:cxn ang="0">
                <a:pos x="356" y="260"/>
              </a:cxn>
              <a:cxn ang="0">
                <a:pos x="382" y="294"/>
              </a:cxn>
              <a:cxn ang="0">
                <a:pos x="434" y="296"/>
              </a:cxn>
              <a:cxn ang="0">
                <a:pos x="480" y="296"/>
              </a:cxn>
              <a:cxn ang="0">
                <a:pos x="542" y="338"/>
              </a:cxn>
              <a:cxn ang="0">
                <a:pos x="588" y="338"/>
              </a:cxn>
              <a:cxn ang="0">
                <a:pos x="624" y="340"/>
              </a:cxn>
              <a:cxn ang="0">
                <a:pos x="616" y="370"/>
              </a:cxn>
              <a:cxn ang="0">
                <a:pos x="608" y="414"/>
              </a:cxn>
              <a:cxn ang="0">
                <a:pos x="620" y="472"/>
              </a:cxn>
              <a:cxn ang="0">
                <a:pos x="616" y="508"/>
              </a:cxn>
              <a:cxn ang="0">
                <a:pos x="640" y="550"/>
              </a:cxn>
              <a:cxn ang="0">
                <a:pos x="648" y="604"/>
              </a:cxn>
              <a:cxn ang="0">
                <a:pos x="624" y="560"/>
              </a:cxn>
              <a:cxn ang="0">
                <a:pos x="594" y="574"/>
              </a:cxn>
              <a:cxn ang="0">
                <a:pos x="524" y="580"/>
              </a:cxn>
              <a:cxn ang="0">
                <a:pos x="530" y="618"/>
              </a:cxn>
              <a:cxn ang="0">
                <a:pos x="486" y="642"/>
              </a:cxn>
              <a:cxn ang="0">
                <a:pos x="512" y="708"/>
              </a:cxn>
              <a:cxn ang="0">
                <a:pos x="516" y="778"/>
              </a:cxn>
              <a:cxn ang="0">
                <a:pos x="482" y="892"/>
              </a:cxn>
              <a:cxn ang="0">
                <a:pos x="456" y="870"/>
              </a:cxn>
              <a:cxn ang="0">
                <a:pos x="458" y="808"/>
              </a:cxn>
              <a:cxn ang="0">
                <a:pos x="396" y="790"/>
              </a:cxn>
              <a:cxn ang="0">
                <a:pos x="332" y="806"/>
              </a:cxn>
              <a:cxn ang="0">
                <a:pos x="314" y="774"/>
              </a:cxn>
              <a:cxn ang="0">
                <a:pos x="282" y="742"/>
              </a:cxn>
              <a:cxn ang="0">
                <a:pos x="252" y="704"/>
              </a:cxn>
              <a:cxn ang="0">
                <a:pos x="212" y="676"/>
              </a:cxn>
              <a:cxn ang="0">
                <a:pos x="178" y="672"/>
              </a:cxn>
              <a:cxn ang="0">
                <a:pos x="126" y="660"/>
              </a:cxn>
              <a:cxn ang="0">
                <a:pos x="86" y="638"/>
              </a:cxn>
              <a:cxn ang="0">
                <a:pos x="62" y="630"/>
              </a:cxn>
              <a:cxn ang="0">
                <a:pos x="26" y="608"/>
              </a:cxn>
              <a:cxn ang="0">
                <a:pos x="10" y="574"/>
              </a:cxn>
              <a:cxn ang="0">
                <a:pos x="26" y="544"/>
              </a:cxn>
              <a:cxn ang="0">
                <a:pos x="60" y="532"/>
              </a:cxn>
            </a:cxnLst>
            <a:rect l="0" t="0" r="r" b="b"/>
            <a:pathLst>
              <a:path w="658" h="904">
                <a:moveTo>
                  <a:pt x="60" y="532"/>
                </a:moveTo>
                <a:lnTo>
                  <a:pt x="60" y="530"/>
                </a:lnTo>
                <a:lnTo>
                  <a:pt x="62" y="532"/>
                </a:lnTo>
                <a:lnTo>
                  <a:pt x="62" y="534"/>
                </a:lnTo>
                <a:lnTo>
                  <a:pt x="64" y="536"/>
                </a:lnTo>
                <a:lnTo>
                  <a:pt x="68" y="534"/>
                </a:lnTo>
                <a:lnTo>
                  <a:pt x="70" y="532"/>
                </a:lnTo>
                <a:lnTo>
                  <a:pt x="70" y="530"/>
                </a:lnTo>
                <a:lnTo>
                  <a:pt x="68" y="524"/>
                </a:lnTo>
                <a:lnTo>
                  <a:pt x="72" y="518"/>
                </a:lnTo>
                <a:lnTo>
                  <a:pt x="80" y="508"/>
                </a:lnTo>
                <a:lnTo>
                  <a:pt x="88" y="498"/>
                </a:lnTo>
                <a:lnTo>
                  <a:pt x="88" y="496"/>
                </a:lnTo>
                <a:lnTo>
                  <a:pt x="88" y="494"/>
                </a:lnTo>
                <a:lnTo>
                  <a:pt x="86" y="494"/>
                </a:lnTo>
                <a:lnTo>
                  <a:pt x="86" y="492"/>
                </a:lnTo>
                <a:lnTo>
                  <a:pt x="92" y="488"/>
                </a:lnTo>
                <a:lnTo>
                  <a:pt x="98" y="480"/>
                </a:lnTo>
                <a:lnTo>
                  <a:pt x="104" y="476"/>
                </a:lnTo>
                <a:lnTo>
                  <a:pt x="104" y="472"/>
                </a:lnTo>
                <a:lnTo>
                  <a:pt x="104" y="470"/>
                </a:lnTo>
                <a:lnTo>
                  <a:pt x="110" y="462"/>
                </a:lnTo>
                <a:lnTo>
                  <a:pt x="106" y="462"/>
                </a:lnTo>
                <a:lnTo>
                  <a:pt x="104" y="464"/>
                </a:lnTo>
                <a:lnTo>
                  <a:pt x="102" y="464"/>
                </a:lnTo>
                <a:lnTo>
                  <a:pt x="100" y="466"/>
                </a:lnTo>
                <a:lnTo>
                  <a:pt x="98" y="466"/>
                </a:lnTo>
                <a:lnTo>
                  <a:pt x="96" y="466"/>
                </a:lnTo>
                <a:lnTo>
                  <a:pt x="96" y="462"/>
                </a:lnTo>
                <a:lnTo>
                  <a:pt x="96" y="460"/>
                </a:lnTo>
                <a:lnTo>
                  <a:pt x="96" y="458"/>
                </a:lnTo>
                <a:lnTo>
                  <a:pt x="98" y="458"/>
                </a:lnTo>
                <a:lnTo>
                  <a:pt x="100" y="454"/>
                </a:lnTo>
                <a:lnTo>
                  <a:pt x="100" y="452"/>
                </a:lnTo>
                <a:lnTo>
                  <a:pt x="96" y="452"/>
                </a:lnTo>
                <a:lnTo>
                  <a:pt x="96" y="454"/>
                </a:lnTo>
                <a:lnTo>
                  <a:pt x="94" y="454"/>
                </a:lnTo>
                <a:lnTo>
                  <a:pt x="94" y="458"/>
                </a:lnTo>
                <a:lnTo>
                  <a:pt x="92" y="460"/>
                </a:lnTo>
                <a:lnTo>
                  <a:pt x="92" y="462"/>
                </a:lnTo>
                <a:lnTo>
                  <a:pt x="88" y="458"/>
                </a:lnTo>
                <a:lnTo>
                  <a:pt x="88" y="456"/>
                </a:lnTo>
                <a:lnTo>
                  <a:pt x="88" y="450"/>
                </a:lnTo>
                <a:lnTo>
                  <a:pt x="88" y="448"/>
                </a:lnTo>
                <a:lnTo>
                  <a:pt x="92" y="446"/>
                </a:lnTo>
                <a:lnTo>
                  <a:pt x="96" y="446"/>
                </a:lnTo>
                <a:lnTo>
                  <a:pt x="98" y="444"/>
                </a:lnTo>
                <a:lnTo>
                  <a:pt x="96" y="442"/>
                </a:lnTo>
                <a:lnTo>
                  <a:pt x="92" y="442"/>
                </a:lnTo>
                <a:lnTo>
                  <a:pt x="90" y="438"/>
                </a:lnTo>
                <a:lnTo>
                  <a:pt x="92" y="432"/>
                </a:lnTo>
                <a:lnTo>
                  <a:pt x="94" y="432"/>
                </a:lnTo>
                <a:lnTo>
                  <a:pt x="94" y="428"/>
                </a:lnTo>
                <a:lnTo>
                  <a:pt x="94" y="422"/>
                </a:lnTo>
                <a:lnTo>
                  <a:pt x="94" y="418"/>
                </a:lnTo>
                <a:lnTo>
                  <a:pt x="92" y="414"/>
                </a:lnTo>
                <a:lnTo>
                  <a:pt x="92" y="412"/>
                </a:lnTo>
                <a:lnTo>
                  <a:pt x="92" y="410"/>
                </a:lnTo>
                <a:lnTo>
                  <a:pt x="92" y="406"/>
                </a:lnTo>
                <a:lnTo>
                  <a:pt x="92" y="398"/>
                </a:lnTo>
                <a:lnTo>
                  <a:pt x="92" y="396"/>
                </a:lnTo>
                <a:lnTo>
                  <a:pt x="92" y="392"/>
                </a:lnTo>
                <a:lnTo>
                  <a:pt x="92" y="390"/>
                </a:lnTo>
                <a:lnTo>
                  <a:pt x="92" y="386"/>
                </a:lnTo>
                <a:lnTo>
                  <a:pt x="90" y="378"/>
                </a:lnTo>
                <a:lnTo>
                  <a:pt x="86" y="376"/>
                </a:lnTo>
                <a:lnTo>
                  <a:pt x="82" y="376"/>
                </a:lnTo>
                <a:lnTo>
                  <a:pt x="84" y="372"/>
                </a:lnTo>
                <a:lnTo>
                  <a:pt x="88" y="370"/>
                </a:lnTo>
                <a:lnTo>
                  <a:pt x="90" y="370"/>
                </a:lnTo>
                <a:lnTo>
                  <a:pt x="92" y="370"/>
                </a:lnTo>
                <a:lnTo>
                  <a:pt x="94" y="370"/>
                </a:lnTo>
                <a:lnTo>
                  <a:pt x="98" y="364"/>
                </a:lnTo>
                <a:lnTo>
                  <a:pt x="98" y="362"/>
                </a:lnTo>
                <a:lnTo>
                  <a:pt x="98" y="360"/>
                </a:lnTo>
                <a:lnTo>
                  <a:pt x="94" y="350"/>
                </a:lnTo>
                <a:lnTo>
                  <a:pt x="90" y="344"/>
                </a:lnTo>
                <a:lnTo>
                  <a:pt x="86" y="342"/>
                </a:lnTo>
                <a:lnTo>
                  <a:pt x="86" y="340"/>
                </a:lnTo>
                <a:lnTo>
                  <a:pt x="84" y="340"/>
                </a:lnTo>
                <a:lnTo>
                  <a:pt x="86" y="334"/>
                </a:lnTo>
                <a:lnTo>
                  <a:pt x="90" y="336"/>
                </a:lnTo>
                <a:lnTo>
                  <a:pt x="90" y="334"/>
                </a:lnTo>
                <a:lnTo>
                  <a:pt x="92" y="328"/>
                </a:lnTo>
                <a:lnTo>
                  <a:pt x="94" y="318"/>
                </a:lnTo>
                <a:lnTo>
                  <a:pt x="90" y="312"/>
                </a:lnTo>
                <a:lnTo>
                  <a:pt x="88" y="310"/>
                </a:lnTo>
                <a:lnTo>
                  <a:pt x="86" y="310"/>
                </a:lnTo>
                <a:lnTo>
                  <a:pt x="76" y="302"/>
                </a:lnTo>
                <a:lnTo>
                  <a:pt x="76" y="296"/>
                </a:lnTo>
                <a:lnTo>
                  <a:pt x="76" y="294"/>
                </a:lnTo>
                <a:lnTo>
                  <a:pt x="76" y="292"/>
                </a:lnTo>
                <a:lnTo>
                  <a:pt x="68" y="286"/>
                </a:lnTo>
                <a:lnTo>
                  <a:pt x="64" y="282"/>
                </a:lnTo>
                <a:lnTo>
                  <a:pt x="68" y="268"/>
                </a:lnTo>
                <a:lnTo>
                  <a:pt x="70" y="268"/>
                </a:lnTo>
                <a:lnTo>
                  <a:pt x="72" y="268"/>
                </a:lnTo>
                <a:lnTo>
                  <a:pt x="72" y="266"/>
                </a:lnTo>
                <a:lnTo>
                  <a:pt x="74" y="266"/>
                </a:lnTo>
                <a:lnTo>
                  <a:pt x="72" y="264"/>
                </a:lnTo>
                <a:lnTo>
                  <a:pt x="72" y="262"/>
                </a:lnTo>
                <a:lnTo>
                  <a:pt x="72" y="260"/>
                </a:lnTo>
                <a:lnTo>
                  <a:pt x="72" y="258"/>
                </a:lnTo>
                <a:lnTo>
                  <a:pt x="72" y="256"/>
                </a:lnTo>
                <a:lnTo>
                  <a:pt x="76" y="258"/>
                </a:lnTo>
                <a:lnTo>
                  <a:pt x="78" y="262"/>
                </a:lnTo>
                <a:lnTo>
                  <a:pt x="78" y="264"/>
                </a:lnTo>
                <a:lnTo>
                  <a:pt x="80" y="266"/>
                </a:lnTo>
                <a:lnTo>
                  <a:pt x="94" y="256"/>
                </a:lnTo>
                <a:lnTo>
                  <a:pt x="92" y="252"/>
                </a:lnTo>
                <a:lnTo>
                  <a:pt x="96" y="246"/>
                </a:lnTo>
                <a:lnTo>
                  <a:pt x="100" y="244"/>
                </a:lnTo>
                <a:lnTo>
                  <a:pt x="102" y="240"/>
                </a:lnTo>
                <a:lnTo>
                  <a:pt x="100" y="236"/>
                </a:lnTo>
                <a:lnTo>
                  <a:pt x="98" y="232"/>
                </a:lnTo>
                <a:lnTo>
                  <a:pt x="96" y="230"/>
                </a:lnTo>
                <a:lnTo>
                  <a:pt x="94" y="226"/>
                </a:lnTo>
                <a:lnTo>
                  <a:pt x="92" y="226"/>
                </a:lnTo>
                <a:lnTo>
                  <a:pt x="92" y="222"/>
                </a:lnTo>
                <a:lnTo>
                  <a:pt x="92" y="220"/>
                </a:lnTo>
                <a:lnTo>
                  <a:pt x="92" y="218"/>
                </a:lnTo>
                <a:lnTo>
                  <a:pt x="90" y="216"/>
                </a:lnTo>
                <a:lnTo>
                  <a:pt x="90" y="214"/>
                </a:lnTo>
                <a:lnTo>
                  <a:pt x="88" y="214"/>
                </a:lnTo>
                <a:lnTo>
                  <a:pt x="86" y="212"/>
                </a:lnTo>
                <a:lnTo>
                  <a:pt x="88" y="210"/>
                </a:lnTo>
                <a:lnTo>
                  <a:pt x="92" y="206"/>
                </a:lnTo>
                <a:lnTo>
                  <a:pt x="92" y="204"/>
                </a:lnTo>
                <a:lnTo>
                  <a:pt x="94" y="204"/>
                </a:lnTo>
                <a:lnTo>
                  <a:pt x="96" y="210"/>
                </a:lnTo>
                <a:lnTo>
                  <a:pt x="96" y="212"/>
                </a:lnTo>
                <a:lnTo>
                  <a:pt x="98" y="214"/>
                </a:lnTo>
                <a:lnTo>
                  <a:pt x="100" y="216"/>
                </a:lnTo>
                <a:lnTo>
                  <a:pt x="102" y="216"/>
                </a:lnTo>
                <a:lnTo>
                  <a:pt x="104" y="216"/>
                </a:lnTo>
                <a:lnTo>
                  <a:pt x="104" y="218"/>
                </a:lnTo>
                <a:lnTo>
                  <a:pt x="106" y="220"/>
                </a:lnTo>
                <a:lnTo>
                  <a:pt x="108" y="222"/>
                </a:lnTo>
                <a:lnTo>
                  <a:pt x="114" y="228"/>
                </a:lnTo>
                <a:lnTo>
                  <a:pt x="114" y="230"/>
                </a:lnTo>
                <a:lnTo>
                  <a:pt x="114" y="232"/>
                </a:lnTo>
                <a:lnTo>
                  <a:pt x="118" y="234"/>
                </a:lnTo>
                <a:lnTo>
                  <a:pt x="120" y="232"/>
                </a:lnTo>
                <a:lnTo>
                  <a:pt x="120" y="234"/>
                </a:lnTo>
                <a:lnTo>
                  <a:pt x="120" y="236"/>
                </a:lnTo>
                <a:lnTo>
                  <a:pt x="120" y="240"/>
                </a:lnTo>
                <a:lnTo>
                  <a:pt x="118" y="238"/>
                </a:lnTo>
                <a:lnTo>
                  <a:pt x="116" y="238"/>
                </a:lnTo>
                <a:lnTo>
                  <a:pt x="116" y="242"/>
                </a:lnTo>
                <a:lnTo>
                  <a:pt x="116" y="244"/>
                </a:lnTo>
                <a:lnTo>
                  <a:pt x="118" y="246"/>
                </a:lnTo>
                <a:lnTo>
                  <a:pt x="122" y="246"/>
                </a:lnTo>
                <a:lnTo>
                  <a:pt x="126" y="246"/>
                </a:lnTo>
                <a:lnTo>
                  <a:pt x="126" y="244"/>
                </a:lnTo>
                <a:lnTo>
                  <a:pt x="126" y="238"/>
                </a:lnTo>
                <a:lnTo>
                  <a:pt x="126" y="236"/>
                </a:lnTo>
                <a:lnTo>
                  <a:pt x="126" y="230"/>
                </a:lnTo>
                <a:lnTo>
                  <a:pt x="124" y="222"/>
                </a:lnTo>
                <a:lnTo>
                  <a:pt x="124" y="218"/>
                </a:lnTo>
                <a:lnTo>
                  <a:pt x="122" y="214"/>
                </a:lnTo>
                <a:lnTo>
                  <a:pt x="118" y="212"/>
                </a:lnTo>
                <a:lnTo>
                  <a:pt x="116" y="212"/>
                </a:lnTo>
                <a:lnTo>
                  <a:pt x="116" y="210"/>
                </a:lnTo>
                <a:lnTo>
                  <a:pt x="118" y="206"/>
                </a:lnTo>
                <a:lnTo>
                  <a:pt x="122" y="206"/>
                </a:lnTo>
                <a:lnTo>
                  <a:pt x="130" y="204"/>
                </a:lnTo>
                <a:lnTo>
                  <a:pt x="142" y="192"/>
                </a:lnTo>
                <a:lnTo>
                  <a:pt x="144" y="192"/>
                </a:lnTo>
                <a:lnTo>
                  <a:pt x="146" y="192"/>
                </a:lnTo>
                <a:lnTo>
                  <a:pt x="150" y="190"/>
                </a:lnTo>
                <a:lnTo>
                  <a:pt x="152" y="186"/>
                </a:lnTo>
                <a:lnTo>
                  <a:pt x="156" y="176"/>
                </a:lnTo>
                <a:lnTo>
                  <a:pt x="156" y="174"/>
                </a:lnTo>
                <a:lnTo>
                  <a:pt x="160" y="170"/>
                </a:lnTo>
                <a:lnTo>
                  <a:pt x="162" y="168"/>
                </a:lnTo>
                <a:lnTo>
                  <a:pt x="170" y="164"/>
                </a:lnTo>
                <a:lnTo>
                  <a:pt x="176" y="162"/>
                </a:lnTo>
                <a:lnTo>
                  <a:pt x="182" y="164"/>
                </a:lnTo>
                <a:lnTo>
                  <a:pt x="184" y="164"/>
                </a:lnTo>
                <a:lnTo>
                  <a:pt x="186" y="162"/>
                </a:lnTo>
                <a:lnTo>
                  <a:pt x="188" y="160"/>
                </a:lnTo>
                <a:lnTo>
                  <a:pt x="188" y="158"/>
                </a:lnTo>
                <a:lnTo>
                  <a:pt x="188" y="156"/>
                </a:lnTo>
                <a:lnTo>
                  <a:pt x="188" y="154"/>
                </a:lnTo>
                <a:lnTo>
                  <a:pt x="188" y="152"/>
                </a:lnTo>
                <a:lnTo>
                  <a:pt x="188" y="150"/>
                </a:lnTo>
                <a:lnTo>
                  <a:pt x="186" y="148"/>
                </a:lnTo>
                <a:lnTo>
                  <a:pt x="184" y="146"/>
                </a:lnTo>
                <a:lnTo>
                  <a:pt x="186" y="142"/>
                </a:lnTo>
                <a:lnTo>
                  <a:pt x="188" y="134"/>
                </a:lnTo>
                <a:lnTo>
                  <a:pt x="188" y="130"/>
                </a:lnTo>
                <a:lnTo>
                  <a:pt x="188" y="128"/>
                </a:lnTo>
                <a:lnTo>
                  <a:pt x="190" y="124"/>
                </a:lnTo>
                <a:lnTo>
                  <a:pt x="192" y="122"/>
                </a:lnTo>
                <a:lnTo>
                  <a:pt x="192" y="120"/>
                </a:lnTo>
                <a:lnTo>
                  <a:pt x="190" y="110"/>
                </a:lnTo>
                <a:lnTo>
                  <a:pt x="194" y="108"/>
                </a:lnTo>
                <a:lnTo>
                  <a:pt x="194" y="106"/>
                </a:lnTo>
                <a:lnTo>
                  <a:pt x="194" y="102"/>
                </a:lnTo>
                <a:lnTo>
                  <a:pt x="194" y="100"/>
                </a:lnTo>
                <a:lnTo>
                  <a:pt x="198" y="96"/>
                </a:lnTo>
                <a:lnTo>
                  <a:pt x="206" y="94"/>
                </a:lnTo>
                <a:lnTo>
                  <a:pt x="208" y="92"/>
                </a:lnTo>
                <a:lnTo>
                  <a:pt x="206" y="92"/>
                </a:lnTo>
                <a:lnTo>
                  <a:pt x="206" y="88"/>
                </a:lnTo>
                <a:lnTo>
                  <a:pt x="208" y="88"/>
                </a:lnTo>
                <a:lnTo>
                  <a:pt x="218" y="82"/>
                </a:lnTo>
                <a:lnTo>
                  <a:pt x="220" y="80"/>
                </a:lnTo>
                <a:lnTo>
                  <a:pt x="224" y="74"/>
                </a:lnTo>
                <a:lnTo>
                  <a:pt x="228" y="72"/>
                </a:lnTo>
                <a:lnTo>
                  <a:pt x="246" y="78"/>
                </a:lnTo>
                <a:lnTo>
                  <a:pt x="248" y="80"/>
                </a:lnTo>
                <a:lnTo>
                  <a:pt x="250" y="80"/>
                </a:lnTo>
                <a:lnTo>
                  <a:pt x="252" y="80"/>
                </a:lnTo>
                <a:lnTo>
                  <a:pt x="254" y="80"/>
                </a:lnTo>
                <a:lnTo>
                  <a:pt x="256" y="80"/>
                </a:lnTo>
                <a:lnTo>
                  <a:pt x="258" y="80"/>
                </a:lnTo>
                <a:lnTo>
                  <a:pt x="258" y="78"/>
                </a:lnTo>
                <a:lnTo>
                  <a:pt x="258" y="80"/>
                </a:lnTo>
                <a:lnTo>
                  <a:pt x="256" y="80"/>
                </a:lnTo>
                <a:lnTo>
                  <a:pt x="254" y="80"/>
                </a:lnTo>
                <a:lnTo>
                  <a:pt x="252" y="80"/>
                </a:lnTo>
                <a:lnTo>
                  <a:pt x="248" y="80"/>
                </a:lnTo>
                <a:lnTo>
                  <a:pt x="242" y="84"/>
                </a:lnTo>
                <a:lnTo>
                  <a:pt x="242" y="88"/>
                </a:lnTo>
                <a:lnTo>
                  <a:pt x="242" y="90"/>
                </a:lnTo>
                <a:lnTo>
                  <a:pt x="246" y="88"/>
                </a:lnTo>
                <a:lnTo>
                  <a:pt x="248" y="90"/>
                </a:lnTo>
                <a:lnTo>
                  <a:pt x="250" y="92"/>
                </a:lnTo>
                <a:lnTo>
                  <a:pt x="252" y="92"/>
                </a:lnTo>
                <a:lnTo>
                  <a:pt x="254" y="92"/>
                </a:lnTo>
                <a:lnTo>
                  <a:pt x="254" y="90"/>
                </a:lnTo>
                <a:lnTo>
                  <a:pt x="256" y="86"/>
                </a:lnTo>
                <a:lnTo>
                  <a:pt x="258" y="80"/>
                </a:lnTo>
                <a:lnTo>
                  <a:pt x="260" y="78"/>
                </a:lnTo>
                <a:lnTo>
                  <a:pt x="262" y="72"/>
                </a:lnTo>
                <a:lnTo>
                  <a:pt x="262" y="68"/>
                </a:lnTo>
                <a:lnTo>
                  <a:pt x="262" y="66"/>
                </a:lnTo>
                <a:lnTo>
                  <a:pt x="262" y="64"/>
                </a:lnTo>
                <a:lnTo>
                  <a:pt x="264" y="62"/>
                </a:lnTo>
                <a:lnTo>
                  <a:pt x="266" y="60"/>
                </a:lnTo>
                <a:lnTo>
                  <a:pt x="272" y="60"/>
                </a:lnTo>
                <a:lnTo>
                  <a:pt x="274" y="60"/>
                </a:lnTo>
                <a:lnTo>
                  <a:pt x="276" y="60"/>
                </a:lnTo>
                <a:lnTo>
                  <a:pt x="276" y="62"/>
                </a:lnTo>
                <a:lnTo>
                  <a:pt x="280" y="64"/>
                </a:lnTo>
                <a:lnTo>
                  <a:pt x="284" y="64"/>
                </a:lnTo>
                <a:lnTo>
                  <a:pt x="292" y="64"/>
                </a:lnTo>
                <a:lnTo>
                  <a:pt x="294" y="64"/>
                </a:lnTo>
                <a:lnTo>
                  <a:pt x="296" y="64"/>
                </a:lnTo>
                <a:lnTo>
                  <a:pt x="298" y="64"/>
                </a:lnTo>
                <a:lnTo>
                  <a:pt x="300" y="64"/>
                </a:lnTo>
                <a:lnTo>
                  <a:pt x="306" y="64"/>
                </a:lnTo>
                <a:lnTo>
                  <a:pt x="308" y="64"/>
                </a:lnTo>
                <a:lnTo>
                  <a:pt x="310" y="64"/>
                </a:lnTo>
                <a:lnTo>
                  <a:pt x="312" y="62"/>
                </a:lnTo>
                <a:lnTo>
                  <a:pt x="314" y="62"/>
                </a:lnTo>
                <a:lnTo>
                  <a:pt x="316" y="60"/>
                </a:lnTo>
                <a:lnTo>
                  <a:pt x="316" y="58"/>
                </a:lnTo>
                <a:lnTo>
                  <a:pt x="320" y="56"/>
                </a:lnTo>
                <a:lnTo>
                  <a:pt x="326" y="52"/>
                </a:lnTo>
                <a:lnTo>
                  <a:pt x="340" y="42"/>
                </a:lnTo>
                <a:lnTo>
                  <a:pt x="342" y="40"/>
                </a:lnTo>
                <a:lnTo>
                  <a:pt x="354" y="36"/>
                </a:lnTo>
                <a:lnTo>
                  <a:pt x="356" y="36"/>
                </a:lnTo>
                <a:lnTo>
                  <a:pt x="358" y="36"/>
                </a:lnTo>
                <a:lnTo>
                  <a:pt x="366" y="30"/>
                </a:lnTo>
                <a:lnTo>
                  <a:pt x="368" y="30"/>
                </a:lnTo>
                <a:lnTo>
                  <a:pt x="368" y="28"/>
                </a:lnTo>
                <a:lnTo>
                  <a:pt x="372" y="18"/>
                </a:lnTo>
                <a:lnTo>
                  <a:pt x="372" y="12"/>
                </a:lnTo>
                <a:lnTo>
                  <a:pt x="372" y="10"/>
                </a:lnTo>
                <a:lnTo>
                  <a:pt x="380" y="10"/>
                </a:lnTo>
                <a:lnTo>
                  <a:pt x="382" y="10"/>
                </a:lnTo>
                <a:lnTo>
                  <a:pt x="382" y="12"/>
                </a:lnTo>
                <a:lnTo>
                  <a:pt x="380" y="14"/>
                </a:lnTo>
                <a:lnTo>
                  <a:pt x="382" y="16"/>
                </a:lnTo>
                <a:lnTo>
                  <a:pt x="384" y="16"/>
                </a:lnTo>
                <a:lnTo>
                  <a:pt x="388" y="12"/>
                </a:lnTo>
                <a:lnTo>
                  <a:pt x="390" y="8"/>
                </a:lnTo>
                <a:lnTo>
                  <a:pt x="396" y="4"/>
                </a:lnTo>
                <a:lnTo>
                  <a:pt x="400" y="2"/>
                </a:lnTo>
                <a:lnTo>
                  <a:pt x="400" y="0"/>
                </a:lnTo>
                <a:lnTo>
                  <a:pt x="396" y="0"/>
                </a:lnTo>
                <a:lnTo>
                  <a:pt x="394" y="2"/>
                </a:lnTo>
                <a:lnTo>
                  <a:pt x="396" y="0"/>
                </a:lnTo>
                <a:lnTo>
                  <a:pt x="398" y="0"/>
                </a:lnTo>
                <a:lnTo>
                  <a:pt x="404" y="0"/>
                </a:lnTo>
                <a:lnTo>
                  <a:pt x="406" y="0"/>
                </a:lnTo>
                <a:lnTo>
                  <a:pt x="420" y="6"/>
                </a:lnTo>
                <a:lnTo>
                  <a:pt x="422" y="8"/>
                </a:lnTo>
                <a:lnTo>
                  <a:pt x="428" y="18"/>
                </a:lnTo>
                <a:lnTo>
                  <a:pt x="428" y="20"/>
                </a:lnTo>
                <a:lnTo>
                  <a:pt x="428" y="22"/>
                </a:lnTo>
                <a:lnTo>
                  <a:pt x="426" y="24"/>
                </a:lnTo>
                <a:lnTo>
                  <a:pt x="426" y="26"/>
                </a:lnTo>
                <a:lnTo>
                  <a:pt x="422" y="26"/>
                </a:lnTo>
                <a:lnTo>
                  <a:pt x="420" y="28"/>
                </a:lnTo>
                <a:lnTo>
                  <a:pt x="416" y="32"/>
                </a:lnTo>
                <a:lnTo>
                  <a:pt x="412" y="34"/>
                </a:lnTo>
                <a:lnTo>
                  <a:pt x="408" y="36"/>
                </a:lnTo>
                <a:lnTo>
                  <a:pt x="400" y="38"/>
                </a:lnTo>
                <a:lnTo>
                  <a:pt x="396" y="40"/>
                </a:lnTo>
                <a:lnTo>
                  <a:pt x="392" y="40"/>
                </a:lnTo>
                <a:lnTo>
                  <a:pt x="382" y="42"/>
                </a:lnTo>
                <a:lnTo>
                  <a:pt x="376" y="52"/>
                </a:lnTo>
                <a:lnTo>
                  <a:pt x="370" y="64"/>
                </a:lnTo>
                <a:lnTo>
                  <a:pt x="364" y="70"/>
                </a:lnTo>
                <a:lnTo>
                  <a:pt x="362" y="70"/>
                </a:lnTo>
                <a:lnTo>
                  <a:pt x="356" y="72"/>
                </a:lnTo>
                <a:lnTo>
                  <a:pt x="354" y="72"/>
                </a:lnTo>
                <a:lnTo>
                  <a:pt x="352" y="76"/>
                </a:lnTo>
                <a:lnTo>
                  <a:pt x="348" y="84"/>
                </a:lnTo>
                <a:lnTo>
                  <a:pt x="342" y="90"/>
                </a:lnTo>
                <a:lnTo>
                  <a:pt x="338" y="100"/>
                </a:lnTo>
                <a:lnTo>
                  <a:pt x="336" y="102"/>
                </a:lnTo>
                <a:lnTo>
                  <a:pt x="332" y="108"/>
                </a:lnTo>
                <a:lnTo>
                  <a:pt x="332" y="110"/>
                </a:lnTo>
                <a:lnTo>
                  <a:pt x="332" y="114"/>
                </a:lnTo>
                <a:lnTo>
                  <a:pt x="330" y="126"/>
                </a:lnTo>
                <a:lnTo>
                  <a:pt x="330" y="128"/>
                </a:lnTo>
                <a:lnTo>
                  <a:pt x="328" y="132"/>
                </a:lnTo>
                <a:lnTo>
                  <a:pt x="328" y="138"/>
                </a:lnTo>
                <a:lnTo>
                  <a:pt x="328" y="146"/>
                </a:lnTo>
                <a:lnTo>
                  <a:pt x="322" y="154"/>
                </a:lnTo>
                <a:lnTo>
                  <a:pt x="320" y="156"/>
                </a:lnTo>
                <a:lnTo>
                  <a:pt x="314" y="164"/>
                </a:lnTo>
                <a:lnTo>
                  <a:pt x="308" y="174"/>
                </a:lnTo>
                <a:lnTo>
                  <a:pt x="306" y="178"/>
                </a:lnTo>
                <a:lnTo>
                  <a:pt x="308" y="178"/>
                </a:lnTo>
                <a:lnTo>
                  <a:pt x="316" y="178"/>
                </a:lnTo>
                <a:lnTo>
                  <a:pt x="318" y="176"/>
                </a:lnTo>
                <a:lnTo>
                  <a:pt x="320" y="174"/>
                </a:lnTo>
                <a:lnTo>
                  <a:pt x="326" y="170"/>
                </a:lnTo>
                <a:lnTo>
                  <a:pt x="328" y="174"/>
                </a:lnTo>
                <a:lnTo>
                  <a:pt x="330" y="176"/>
                </a:lnTo>
                <a:lnTo>
                  <a:pt x="334" y="180"/>
                </a:lnTo>
                <a:lnTo>
                  <a:pt x="338" y="182"/>
                </a:lnTo>
                <a:lnTo>
                  <a:pt x="342" y="192"/>
                </a:lnTo>
                <a:lnTo>
                  <a:pt x="346" y="206"/>
                </a:lnTo>
                <a:lnTo>
                  <a:pt x="358" y="220"/>
                </a:lnTo>
                <a:lnTo>
                  <a:pt x="360" y="220"/>
                </a:lnTo>
                <a:lnTo>
                  <a:pt x="360" y="222"/>
                </a:lnTo>
                <a:lnTo>
                  <a:pt x="362" y="232"/>
                </a:lnTo>
                <a:lnTo>
                  <a:pt x="364" y="236"/>
                </a:lnTo>
                <a:lnTo>
                  <a:pt x="364" y="238"/>
                </a:lnTo>
                <a:lnTo>
                  <a:pt x="362" y="238"/>
                </a:lnTo>
                <a:lnTo>
                  <a:pt x="360" y="238"/>
                </a:lnTo>
                <a:lnTo>
                  <a:pt x="356" y="246"/>
                </a:lnTo>
                <a:lnTo>
                  <a:pt x="356" y="260"/>
                </a:lnTo>
                <a:lnTo>
                  <a:pt x="356" y="268"/>
                </a:lnTo>
                <a:lnTo>
                  <a:pt x="358" y="272"/>
                </a:lnTo>
                <a:lnTo>
                  <a:pt x="360" y="272"/>
                </a:lnTo>
                <a:lnTo>
                  <a:pt x="364" y="274"/>
                </a:lnTo>
                <a:lnTo>
                  <a:pt x="368" y="274"/>
                </a:lnTo>
                <a:lnTo>
                  <a:pt x="372" y="278"/>
                </a:lnTo>
                <a:lnTo>
                  <a:pt x="372" y="280"/>
                </a:lnTo>
                <a:lnTo>
                  <a:pt x="372" y="282"/>
                </a:lnTo>
                <a:lnTo>
                  <a:pt x="372" y="284"/>
                </a:lnTo>
                <a:lnTo>
                  <a:pt x="374" y="286"/>
                </a:lnTo>
                <a:lnTo>
                  <a:pt x="374" y="288"/>
                </a:lnTo>
                <a:lnTo>
                  <a:pt x="376" y="290"/>
                </a:lnTo>
                <a:lnTo>
                  <a:pt x="378" y="292"/>
                </a:lnTo>
                <a:lnTo>
                  <a:pt x="382" y="294"/>
                </a:lnTo>
                <a:lnTo>
                  <a:pt x="386" y="294"/>
                </a:lnTo>
                <a:lnTo>
                  <a:pt x="388" y="296"/>
                </a:lnTo>
                <a:lnTo>
                  <a:pt x="390" y="296"/>
                </a:lnTo>
                <a:lnTo>
                  <a:pt x="392" y="294"/>
                </a:lnTo>
                <a:lnTo>
                  <a:pt x="396" y="292"/>
                </a:lnTo>
                <a:lnTo>
                  <a:pt x="400" y="292"/>
                </a:lnTo>
                <a:lnTo>
                  <a:pt x="402" y="292"/>
                </a:lnTo>
                <a:lnTo>
                  <a:pt x="406" y="292"/>
                </a:lnTo>
                <a:lnTo>
                  <a:pt x="408" y="294"/>
                </a:lnTo>
                <a:lnTo>
                  <a:pt x="410" y="294"/>
                </a:lnTo>
                <a:lnTo>
                  <a:pt x="416" y="294"/>
                </a:lnTo>
                <a:lnTo>
                  <a:pt x="420" y="296"/>
                </a:lnTo>
                <a:lnTo>
                  <a:pt x="426" y="298"/>
                </a:lnTo>
                <a:lnTo>
                  <a:pt x="434" y="296"/>
                </a:lnTo>
                <a:lnTo>
                  <a:pt x="436" y="294"/>
                </a:lnTo>
                <a:lnTo>
                  <a:pt x="440" y="292"/>
                </a:lnTo>
                <a:lnTo>
                  <a:pt x="442" y="290"/>
                </a:lnTo>
                <a:lnTo>
                  <a:pt x="444" y="290"/>
                </a:lnTo>
                <a:lnTo>
                  <a:pt x="450" y="290"/>
                </a:lnTo>
                <a:lnTo>
                  <a:pt x="460" y="292"/>
                </a:lnTo>
                <a:lnTo>
                  <a:pt x="464" y="294"/>
                </a:lnTo>
                <a:lnTo>
                  <a:pt x="468" y="296"/>
                </a:lnTo>
                <a:lnTo>
                  <a:pt x="470" y="298"/>
                </a:lnTo>
                <a:lnTo>
                  <a:pt x="472" y="298"/>
                </a:lnTo>
                <a:lnTo>
                  <a:pt x="474" y="298"/>
                </a:lnTo>
                <a:lnTo>
                  <a:pt x="476" y="298"/>
                </a:lnTo>
                <a:lnTo>
                  <a:pt x="476" y="296"/>
                </a:lnTo>
                <a:lnTo>
                  <a:pt x="480" y="296"/>
                </a:lnTo>
                <a:lnTo>
                  <a:pt x="482" y="296"/>
                </a:lnTo>
                <a:lnTo>
                  <a:pt x="504" y="322"/>
                </a:lnTo>
                <a:lnTo>
                  <a:pt x="520" y="342"/>
                </a:lnTo>
                <a:lnTo>
                  <a:pt x="522" y="340"/>
                </a:lnTo>
                <a:lnTo>
                  <a:pt x="526" y="340"/>
                </a:lnTo>
                <a:lnTo>
                  <a:pt x="526" y="342"/>
                </a:lnTo>
                <a:lnTo>
                  <a:pt x="528" y="344"/>
                </a:lnTo>
                <a:lnTo>
                  <a:pt x="530" y="344"/>
                </a:lnTo>
                <a:lnTo>
                  <a:pt x="532" y="344"/>
                </a:lnTo>
                <a:lnTo>
                  <a:pt x="534" y="340"/>
                </a:lnTo>
                <a:lnTo>
                  <a:pt x="536" y="340"/>
                </a:lnTo>
                <a:lnTo>
                  <a:pt x="538" y="338"/>
                </a:lnTo>
                <a:lnTo>
                  <a:pt x="540" y="338"/>
                </a:lnTo>
                <a:lnTo>
                  <a:pt x="542" y="338"/>
                </a:lnTo>
                <a:lnTo>
                  <a:pt x="552" y="340"/>
                </a:lnTo>
                <a:lnTo>
                  <a:pt x="556" y="340"/>
                </a:lnTo>
                <a:lnTo>
                  <a:pt x="558" y="340"/>
                </a:lnTo>
                <a:lnTo>
                  <a:pt x="560" y="340"/>
                </a:lnTo>
                <a:lnTo>
                  <a:pt x="562" y="342"/>
                </a:lnTo>
                <a:lnTo>
                  <a:pt x="568" y="340"/>
                </a:lnTo>
                <a:lnTo>
                  <a:pt x="572" y="340"/>
                </a:lnTo>
                <a:lnTo>
                  <a:pt x="572" y="338"/>
                </a:lnTo>
                <a:lnTo>
                  <a:pt x="574" y="338"/>
                </a:lnTo>
                <a:lnTo>
                  <a:pt x="576" y="340"/>
                </a:lnTo>
                <a:lnTo>
                  <a:pt x="580" y="340"/>
                </a:lnTo>
                <a:lnTo>
                  <a:pt x="584" y="338"/>
                </a:lnTo>
                <a:lnTo>
                  <a:pt x="586" y="338"/>
                </a:lnTo>
                <a:lnTo>
                  <a:pt x="588" y="338"/>
                </a:lnTo>
                <a:lnTo>
                  <a:pt x="590" y="338"/>
                </a:lnTo>
                <a:lnTo>
                  <a:pt x="592" y="338"/>
                </a:lnTo>
                <a:lnTo>
                  <a:pt x="594" y="338"/>
                </a:lnTo>
                <a:lnTo>
                  <a:pt x="596" y="338"/>
                </a:lnTo>
                <a:lnTo>
                  <a:pt x="598" y="338"/>
                </a:lnTo>
                <a:lnTo>
                  <a:pt x="602" y="336"/>
                </a:lnTo>
                <a:lnTo>
                  <a:pt x="606" y="332"/>
                </a:lnTo>
                <a:lnTo>
                  <a:pt x="612" y="332"/>
                </a:lnTo>
                <a:lnTo>
                  <a:pt x="616" y="334"/>
                </a:lnTo>
                <a:lnTo>
                  <a:pt x="620" y="334"/>
                </a:lnTo>
                <a:lnTo>
                  <a:pt x="622" y="336"/>
                </a:lnTo>
                <a:lnTo>
                  <a:pt x="624" y="338"/>
                </a:lnTo>
                <a:lnTo>
                  <a:pt x="626" y="338"/>
                </a:lnTo>
                <a:lnTo>
                  <a:pt x="624" y="340"/>
                </a:lnTo>
                <a:lnTo>
                  <a:pt x="624" y="342"/>
                </a:lnTo>
                <a:lnTo>
                  <a:pt x="624" y="344"/>
                </a:lnTo>
                <a:lnTo>
                  <a:pt x="626" y="344"/>
                </a:lnTo>
                <a:lnTo>
                  <a:pt x="628" y="346"/>
                </a:lnTo>
                <a:lnTo>
                  <a:pt x="628" y="348"/>
                </a:lnTo>
                <a:lnTo>
                  <a:pt x="628" y="350"/>
                </a:lnTo>
                <a:lnTo>
                  <a:pt x="626" y="352"/>
                </a:lnTo>
                <a:lnTo>
                  <a:pt x="622" y="354"/>
                </a:lnTo>
                <a:lnTo>
                  <a:pt x="618" y="358"/>
                </a:lnTo>
                <a:lnTo>
                  <a:pt x="618" y="360"/>
                </a:lnTo>
                <a:lnTo>
                  <a:pt x="616" y="364"/>
                </a:lnTo>
                <a:lnTo>
                  <a:pt x="616" y="366"/>
                </a:lnTo>
                <a:lnTo>
                  <a:pt x="616" y="368"/>
                </a:lnTo>
                <a:lnTo>
                  <a:pt x="616" y="370"/>
                </a:lnTo>
                <a:lnTo>
                  <a:pt x="616" y="372"/>
                </a:lnTo>
                <a:lnTo>
                  <a:pt x="618" y="374"/>
                </a:lnTo>
                <a:lnTo>
                  <a:pt x="616" y="376"/>
                </a:lnTo>
                <a:lnTo>
                  <a:pt x="614" y="378"/>
                </a:lnTo>
                <a:lnTo>
                  <a:pt x="612" y="380"/>
                </a:lnTo>
                <a:lnTo>
                  <a:pt x="610" y="380"/>
                </a:lnTo>
                <a:lnTo>
                  <a:pt x="608" y="382"/>
                </a:lnTo>
                <a:lnTo>
                  <a:pt x="606" y="386"/>
                </a:lnTo>
                <a:lnTo>
                  <a:pt x="606" y="396"/>
                </a:lnTo>
                <a:lnTo>
                  <a:pt x="606" y="398"/>
                </a:lnTo>
                <a:lnTo>
                  <a:pt x="608" y="400"/>
                </a:lnTo>
                <a:lnTo>
                  <a:pt x="608" y="404"/>
                </a:lnTo>
                <a:lnTo>
                  <a:pt x="608" y="412"/>
                </a:lnTo>
                <a:lnTo>
                  <a:pt x="608" y="414"/>
                </a:lnTo>
                <a:lnTo>
                  <a:pt x="606" y="416"/>
                </a:lnTo>
                <a:lnTo>
                  <a:pt x="604" y="426"/>
                </a:lnTo>
                <a:lnTo>
                  <a:pt x="610" y="438"/>
                </a:lnTo>
                <a:lnTo>
                  <a:pt x="608" y="440"/>
                </a:lnTo>
                <a:lnTo>
                  <a:pt x="608" y="442"/>
                </a:lnTo>
                <a:lnTo>
                  <a:pt x="608" y="444"/>
                </a:lnTo>
                <a:lnTo>
                  <a:pt x="610" y="448"/>
                </a:lnTo>
                <a:lnTo>
                  <a:pt x="612" y="452"/>
                </a:lnTo>
                <a:lnTo>
                  <a:pt x="612" y="454"/>
                </a:lnTo>
                <a:lnTo>
                  <a:pt x="614" y="458"/>
                </a:lnTo>
                <a:lnTo>
                  <a:pt x="614" y="462"/>
                </a:lnTo>
                <a:lnTo>
                  <a:pt x="616" y="468"/>
                </a:lnTo>
                <a:lnTo>
                  <a:pt x="618" y="470"/>
                </a:lnTo>
                <a:lnTo>
                  <a:pt x="620" y="472"/>
                </a:lnTo>
                <a:lnTo>
                  <a:pt x="622" y="472"/>
                </a:lnTo>
                <a:lnTo>
                  <a:pt x="624" y="470"/>
                </a:lnTo>
                <a:lnTo>
                  <a:pt x="626" y="472"/>
                </a:lnTo>
                <a:lnTo>
                  <a:pt x="628" y="476"/>
                </a:lnTo>
                <a:lnTo>
                  <a:pt x="628" y="478"/>
                </a:lnTo>
                <a:lnTo>
                  <a:pt x="630" y="484"/>
                </a:lnTo>
                <a:lnTo>
                  <a:pt x="630" y="486"/>
                </a:lnTo>
                <a:lnTo>
                  <a:pt x="632" y="486"/>
                </a:lnTo>
                <a:lnTo>
                  <a:pt x="634" y="488"/>
                </a:lnTo>
                <a:lnTo>
                  <a:pt x="636" y="490"/>
                </a:lnTo>
                <a:lnTo>
                  <a:pt x="632" y="494"/>
                </a:lnTo>
                <a:lnTo>
                  <a:pt x="628" y="498"/>
                </a:lnTo>
                <a:lnTo>
                  <a:pt x="624" y="502"/>
                </a:lnTo>
                <a:lnTo>
                  <a:pt x="616" y="508"/>
                </a:lnTo>
                <a:lnTo>
                  <a:pt x="606" y="518"/>
                </a:lnTo>
                <a:lnTo>
                  <a:pt x="608" y="522"/>
                </a:lnTo>
                <a:lnTo>
                  <a:pt x="610" y="520"/>
                </a:lnTo>
                <a:lnTo>
                  <a:pt x="618" y="522"/>
                </a:lnTo>
                <a:lnTo>
                  <a:pt x="620" y="524"/>
                </a:lnTo>
                <a:lnTo>
                  <a:pt x="622" y="528"/>
                </a:lnTo>
                <a:lnTo>
                  <a:pt x="626" y="530"/>
                </a:lnTo>
                <a:lnTo>
                  <a:pt x="634" y="540"/>
                </a:lnTo>
                <a:lnTo>
                  <a:pt x="636" y="542"/>
                </a:lnTo>
                <a:lnTo>
                  <a:pt x="638" y="542"/>
                </a:lnTo>
                <a:lnTo>
                  <a:pt x="640" y="542"/>
                </a:lnTo>
                <a:lnTo>
                  <a:pt x="642" y="544"/>
                </a:lnTo>
                <a:lnTo>
                  <a:pt x="642" y="548"/>
                </a:lnTo>
                <a:lnTo>
                  <a:pt x="640" y="550"/>
                </a:lnTo>
                <a:lnTo>
                  <a:pt x="640" y="552"/>
                </a:lnTo>
                <a:lnTo>
                  <a:pt x="642" y="554"/>
                </a:lnTo>
                <a:lnTo>
                  <a:pt x="642" y="558"/>
                </a:lnTo>
                <a:lnTo>
                  <a:pt x="644" y="558"/>
                </a:lnTo>
                <a:lnTo>
                  <a:pt x="646" y="564"/>
                </a:lnTo>
                <a:lnTo>
                  <a:pt x="652" y="582"/>
                </a:lnTo>
                <a:lnTo>
                  <a:pt x="656" y="596"/>
                </a:lnTo>
                <a:lnTo>
                  <a:pt x="658" y="604"/>
                </a:lnTo>
                <a:lnTo>
                  <a:pt x="658" y="606"/>
                </a:lnTo>
                <a:lnTo>
                  <a:pt x="658" y="608"/>
                </a:lnTo>
                <a:lnTo>
                  <a:pt x="650" y="610"/>
                </a:lnTo>
                <a:lnTo>
                  <a:pt x="648" y="610"/>
                </a:lnTo>
                <a:lnTo>
                  <a:pt x="648" y="606"/>
                </a:lnTo>
                <a:lnTo>
                  <a:pt x="648" y="604"/>
                </a:lnTo>
                <a:lnTo>
                  <a:pt x="648" y="598"/>
                </a:lnTo>
                <a:lnTo>
                  <a:pt x="648" y="596"/>
                </a:lnTo>
                <a:lnTo>
                  <a:pt x="648" y="592"/>
                </a:lnTo>
                <a:lnTo>
                  <a:pt x="648" y="586"/>
                </a:lnTo>
                <a:lnTo>
                  <a:pt x="646" y="580"/>
                </a:lnTo>
                <a:lnTo>
                  <a:pt x="644" y="576"/>
                </a:lnTo>
                <a:lnTo>
                  <a:pt x="640" y="572"/>
                </a:lnTo>
                <a:lnTo>
                  <a:pt x="638" y="568"/>
                </a:lnTo>
                <a:lnTo>
                  <a:pt x="634" y="564"/>
                </a:lnTo>
                <a:lnTo>
                  <a:pt x="634" y="562"/>
                </a:lnTo>
                <a:lnTo>
                  <a:pt x="634" y="560"/>
                </a:lnTo>
                <a:lnTo>
                  <a:pt x="632" y="560"/>
                </a:lnTo>
                <a:lnTo>
                  <a:pt x="630" y="558"/>
                </a:lnTo>
                <a:lnTo>
                  <a:pt x="624" y="560"/>
                </a:lnTo>
                <a:lnTo>
                  <a:pt x="622" y="562"/>
                </a:lnTo>
                <a:lnTo>
                  <a:pt x="620" y="562"/>
                </a:lnTo>
                <a:lnTo>
                  <a:pt x="616" y="566"/>
                </a:lnTo>
                <a:lnTo>
                  <a:pt x="614" y="568"/>
                </a:lnTo>
                <a:lnTo>
                  <a:pt x="614" y="570"/>
                </a:lnTo>
                <a:lnTo>
                  <a:pt x="610" y="576"/>
                </a:lnTo>
                <a:lnTo>
                  <a:pt x="608" y="578"/>
                </a:lnTo>
                <a:lnTo>
                  <a:pt x="604" y="580"/>
                </a:lnTo>
                <a:lnTo>
                  <a:pt x="602" y="580"/>
                </a:lnTo>
                <a:lnTo>
                  <a:pt x="600" y="580"/>
                </a:lnTo>
                <a:lnTo>
                  <a:pt x="598" y="580"/>
                </a:lnTo>
                <a:lnTo>
                  <a:pt x="596" y="578"/>
                </a:lnTo>
                <a:lnTo>
                  <a:pt x="596" y="576"/>
                </a:lnTo>
                <a:lnTo>
                  <a:pt x="594" y="574"/>
                </a:lnTo>
                <a:lnTo>
                  <a:pt x="594" y="572"/>
                </a:lnTo>
                <a:lnTo>
                  <a:pt x="592" y="570"/>
                </a:lnTo>
                <a:lnTo>
                  <a:pt x="592" y="568"/>
                </a:lnTo>
                <a:lnTo>
                  <a:pt x="588" y="566"/>
                </a:lnTo>
                <a:lnTo>
                  <a:pt x="586" y="570"/>
                </a:lnTo>
                <a:lnTo>
                  <a:pt x="584" y="570"/>
                </a:lnTo>
                <a:lnTo>
                  <a:pt x="584" y="574"/>
                </a:lnTo>
                <a:lnTo>
                  <a:pt x="586" y="578"/>
                </a:lnTo>
                <a:lnTo>
                  <a:pt x="588" y="578"/>
                </a:lnTo>
                <a:lnTo>
                  <a:pt x="590" y="580"/>
                </a:lnTo>
                <a:lnTo>
                  <a:pt x="554" y="580"/>
                </a:lnTo>
                <a:lnTo>
                  <a:pt x="538" y="580"/>
                </a:lnTo>
                <a:lnTo>
                  <a:pt x="530" y="580"/>
                </a:lnTo>
                <a:lnTo>
                  <a:pt x="524" y="580"/>
                </a:lnTo>
                <a:lnTo>
                  <a:pt x="522" y="580"/>
                </a:lnTo>
                <a:lnTo>
                  <a:pt x="520" y="580"/>
                </a:lnTo>
                <a:lnTo>
                  <a:pt x="514" y="578"/>
                </a:lnTo>
                <a:lnTo>
                  <a:pt x="506" y="580"/>
                </a:lnTo>
                <a:lnTo>
                  <a:pt x="500" y="582"/>
                </a:lnTo>
                <a:lnTo>
                  <a:pt x="498" y="580"/>
                </a:lnTo>
                <a:lnTo>
                  <a:pt x="498" y="582"/>
                </a:lnTo>
                <a:lnTo>
                  <a:pt x="498" y="616"/>
                </a:lnTo>
                <a:lnTo>
                  <a:pt x="504" y="616"/>
                </a:lnTo>
                <a:lnTo>
                  <a:pt x="510" y="616"/>
                </a:lnTo>
                <a:lnTo>
                  <a:pt x="520" y="618"/>
                </a:lnTo>
                <a:lnTo>
                  <a:pt x="522" y="616"/>
                </a:lnTo>
                <a:lnTo>
                  <a:pt x="524" y="616"/>
                </a:lnTo>
                <a:lnTo>
                  <a:pt x="530" y="618"/>
                </a:lnTo>
                <a:lnTo>
                  <a:pt x="532" y="620"/>
                </a:lnTo>
                <a:lnTo>
                  <a:pt x="536" y="628"/>
                </a:lnTo>
                <a:lnTo>
                  <a:pt x="536" y="634"/>
                </a:lnTo>
                <a:lnTo>
                  <a:pt x="538" y="638"/>
                </a:lnTo>
                <a:lnTo>
                  <a:pt x="532" y="640"/>
                </a:lnTo>
                <a:lnTo>
                  <a:pt x="528" y="640"/>
                </a:lnTo>
                <a:lnTo>
                  <a:pt x="526" y="638"/>
                </a:lnTo>
                <a:lnTo>
                  <a:pt x="520" y="634"/>
                </a:lnTo>
                <a:lnTo>
                  <a:pt x="506" y="636"/>
                </a:lnTo>
                <a:lnTo>
                  <a:pt x="502" y="640"/>
                </a:lnTo>
                <a:lnTo>
                  <a:pt x="500" y="642"/>
                </a:lnTo>
                <a:lnTo>
                  <a:pt x="494" y="642"/>
                </a:lnTo>
                <a:lnTo>
                  <a:pt x="490" y="642"/>
                </a:lnTo>
                <a:lnTo>
                  <a:pt x="486" y="642"/>
                </a:lnTo>
                <a:lnTo>
                  <a:pt x="486" y="646"/>
                </a:lnTo>
                <a:lnTo>
                  <a:pt x="486" y="654"/>
                </a:lnTo>
                <a:lnTo>
                  <a:pt x="486" y="658"/>
                </a:lnTo>
                <a:lnTo>
                  <a:pt x="486" y="666"/>
                </a:lnTo>
                <a:lnTo>
                  <a:pt x="486" y="674"/>
                </a:lnTo>
                <a:lnTo>
                  <a:pt x="486" y="678"/>
                </a:lnTo>
                <a:lnTo>
                  <a:pt x="486" y="682"/>
                </a:lnTo>
                <a:lnTo>
                  <a:pt x="488" y="686"/>
                </a:lnTo>
                <a:lnTo>
                  <a:pt x="494" y="690"/>
                </a:lnTo>
                <a:lnTo>
                  <a:pt x="504" y="698"/>
                </a:lnTo>
                <a:lnTo>
                  <a:pt x="506" y="700"/>
                </a:lnTo>
                <a:lnTo>
                  <a:pt x="510" y="700"/>
                </a:lnTo>
                <a:lnTo>
                  <a:pt x="510" y="702"/>
                </a:lnTo>
                <a:lnTo>
                  <a:pt x="512" y="708"/>
                </a:lnTo>
                <a:lnTo>
                  <a:pt x="512" y="710"/>
                </a:lnTo>
                <a:lnTo>
                  <a:pt x="512" y="712"/>
                </a:lnTo>
                <a:lnTo>
                  <a:pt x="510" y="712"/>
                </a:lnTo>
                <a:lnTo>
                  <a:pt x="510" y="714"/>
                </a:lnTo>
                <a:lnTo>
                  <a:pt x="516" y="724"/>
                </a:lnTo>
                <a:lnTo>
                  <a:pt x="518" y="726"/>
                </a:lnTo>
                <a:lnTo>
                  <a:pt x="520" y="728"/>
                </a:lnTo>
                <a:lnTo>
                  <a:pt x="520" y="730"/>
                </a:lnTo>
                <a:lnTo>
                  <a:pt x="520" y="736"/>
                </a:lnTo>
                <a:lnTo>
                  <a:pt x="522" y="742"/>
                </a:lnTo>
                <a:lnTo>
                  <a:pt x="522" y="746"/>
                </a:lnTo>
                <a:lnTo>
                  <a:pt x="522" y="748"/>
                </a:lnTo>
                <a:lnTo>
                  <a:pt x="520" y="756"/>
                </a:lnTo>
                <a:lnTo>
                  <a:pt x="516" y="778"/>
                </a:lnTo>
                <a:lnTo>
                  <a:pt x="512" y="800"/>
                </a:lnTo>
                <a:lnTo>
                  <a:pt x="510" y="802"/>
                </a:lnTo>
                <a:lnTo>
                  <a:pt x="510" y="808"/>
                </a:lnTo>
                <a:lnTo>
                  <a:pt x="508" y="812"/>
                </a:lnTo>
                <a:lnTo>
                  <a:pt x="500" y="858"/>
                </a:lnTo>
                <a:lnTo>
                  <a:pt x="496" y="886"/>
                </a:lnTo>
                <a:lnTo>
                  <a:pt x="492" y="902"/>
                </a:lnTo>
                <a:lnTo>
                  <a:pt x="492" y="904"/>
                </a:lnTo>
                <a:lnTo>
                  <a:pt x="492" y="902"/>
                </a:lnTo>
                <a:lnTo>
                  <a:pt x="490" y="900"/>
                </a:lnTo>
                <a:lnTo>
                  <a:pt x="488" y="898"/>
                </a:lnTo>
                <a:lnTo>
                  <a:pt x="486" y="898"/>
                </a:lnTo>
                <a:lnTo>
                  <a:pt x="482" y="894"/>
                </a:lnTo>
                <a:lnTo>
                  <a:pt x="482" y="892"/>
                </a:lnTo>
                <a:lnTo>
                  <a:pt x="480" y="890"/>
                </a:lnTo>
                <a:lnTo>
                  <a:pt x="480" y="888"/>
                </a:lnTo>
                <a:lnTo>
                  <a:pt x="476" y="884"/>
                </a:lnTo>
                <a:lnTo>
                  <a:pt x="472" y="880"/>
                </a:lnTo>
                <a:lnTo>
                  <a:pt x="470" y="880"/>
                </a:lnTo>
                <a:lnTo>
                  <a:pt x="470" y="878"/>
                </a:lnTo>
                <a:lnTo>
                  <a:pt x="466" y="880"/>
                </a:lnTo>
                <a:lnTo>
                  <a:pt x="464" y="882"/>
                </a:lnTo>
                <a:lnTo>
                  <a:pt x="462" y="882"/>
                </a:lnTo>
                <a:lnTo>
                  <a:pt x="460" y="882"/>
                </a:lnTo>
                <a:lnTo>
                  <a:pt x="456" y="882"/>
                </a:lnTo>
                <a:lnTo>
                  <a:pt x="450" y="878"/>
                </a:lnTo>
                <a:lnTo>
                  <a:pt x="452" y="874"/>
                </a:lnTo>
                <a:lnTo>
                  <a:pt x="456" y="870"/>
                </a:lnTo>
                <a:lnTo>
                  <a:pt x="458" y="866"/>
                </a:lnTo>
                <a:lnTo>
                  <a:pt x="464" y="856"/>
                </a:lnTo>
                <a:lnTo>
                  <a:pt x="466" y="852"/>
                </a:lnTo>
                <a:lnTo>
                  <a:pt x="486" y="822"/>
                </a:lnTo>
                <a:lnTo>
                  <a:pt x="484" y="820"/>
                </a:lnTo>
                <a:lnTo>
                  <a:pt x="482" y="820"/>
                </a:lnTo>
                <a:lnTo>
                  <a:pt x="480" y="818"/>
                </a:lnTo>
                <a:lnTo>
                  <a:pt x="478" y="816"/>
                </a:lnTo>
                <a:lnTo>
                  <a:pt x="478" y="814"/>
                </a:lnTo>
                <a:lnTo>
                  <a:pt x="474" y="810"/>
                </a:lnTo>
                <a:lnTo>
                  <a:pt x="472" y="808"/>
                </a:lnTo>
                <a:lnTo>
                  <a:pt x="470" y="810"/>
                </a:lnTo>
                <a:lnTo>
                  <a:pt x="468" y="810"/>
                </a:lnTo>
                <a:lnTo>
                  <a:pt x="458" y="808"/>
                </a:lnTo>
                <a:lnTo>
                  <a:pt x="454" y="804"/>
                </a:lnTo>
                <a:lnTo>
                  <a:pt x="454" y="802"/>
                </a:lnTo>
                <a:lnTo>
                  <a:pt x="444" y="794"/>
                </a:lnTo>
                <a:lnTo>
                  <a:pt x="436" y="798"/>
                </a:lnTo>
                <a:lnTo>
                  <a:pt x="430" y="800"/>
                </a:lnTo>
                <a:lnTo>
                  <a:pt x="426" y="802"/>
                </a:lnTo>
                <a:lnTo>
                  <a:pt x="416" y="800"/>
                </a:lnTo>
                <a:lnTo>
                  <a:pt x="412" y="798"/>
                </a:lnTo>
                <a:lnTo>
                  <a:pt x="408" y="796"/>
                </a:lnTo>
                <a:lnTo>
                  <a:pt x="404" y="796"/>
                </a:lnTo>
                <a:lnTo>
                  <a:pt x="398" y="794"/>
                </a:lnTo>
                <a:lnTo>
                  <a:pt x="398" y="792"/>
                </a:lnTo>
                <a:lnTo>
                  <a:pt x="398" y="790"/>
                </a:lnTo>
                <a:lnTo>
                  <a:pt x="396" y="790"/>
                </a:lnTo>
                <a:lnTo>
                  <a:pt x="392" y="794"/>
                </a:lnTo>
                <a:lnTo>
                  <a:pt x="388" y="800"/>
                </a:lnTo>
                <a:lnTo>
                  <a:pt x="388" y="802"/>
                </a:lnTo>
                <a:lnTo>
                  <a:pt x="384" y="802"/>
                </a:lnTo>
                <a:lnTo>
                  <a:pt x="382" y="802"/>
                </a:lnTo>
                <a:lnTo>
                  <a:pt x="378" y="804"/>
                </a:lnTo>
                <a:lnTo>
                  <a:pt x="370" y="810"/>
                </a:lnTo>
                <a:lnTo>
                  <a:pt x="364" y="808"/>
                </a:lnTo>
                <a:lnTo>
                  <a:pt x="356" y="806"/>
                </a:lnTo>
                <a:lnTo>
                  <a:pt x="350" y="804"/>
                </a:lnTo>
                <a:lnTo>
                  <a:pt x="344" y="806"/>
                </a:lnTo>
                <a:lnTo>
                  <a:pt x="336" y="808"/>
                </a:lnTo>
                <a:lnTo>
                  <a:pt x="334" y="810"/>
                </a:lnTo>
                <a:lnTo>
                  <a:pt x="332" y="806"/>
                </a:lnTo>
                <a:lnTo>
                  <a:pt x="330" y="804"/>
                </a:lnTo>
                <a:lnTo>
                  <a:pt x="328" y="804"/>
                </a:lnTo>
                <a:lnTo>
                  <a:pt x="326" y="804"/>
                </a:lnTo>
                <a:lnTo>
                  <a:pt x="322" y="802"/>
                </a:lnTo>
                <a:lnTo>
                  <a:pt x="322" y="800"/>
                </a:lnTo>
                <a:lnTo>
                  <a:pt x="320" y="800"/>
                </a:lnTo>
                <a:lnTo>
                  <a:pt x="320" y="796"/>
                </a:lnTo>
                <a:lnTo>
                  <a:pt x="322" y="796"/>
                </a:lnTo>
                <a:lnTo>
                  <a:pt x="322" y="794"/>
                </a:lnTo>
                <a:lnTo>
                  <a:pt x="324" y="790"/>
                </a:lnTo>
                <a:lnTo>
                  <a:pt x="322" y="778"/>
                </a:lnTo>
                <a:lnTo>
                  <a:pt x="320" y="774"/>
                </a:lnTo>
                <a:lnTo>
                  <a:pt x="316" y="772"/>
                </a:lnTo>
                <a:lnTo>
                  <a:pt x="314" y="774"/>
                </a:lnTo>
                <a:lnTo>
                  <a:pt x="312" y="776"/>
                </a:lnTo>
                <a:lnTo>
                  <a:pt x="304" y="772"/>
                </a:lnTo>
                <a:lnTo>
                  <a:pt x="300" y="770"/>
                </a:lnTo>
                <a:lnTo>
                  <a:pt x="300" y="768"/>
                </a:lnTo>
                <a:lnTo>
                  <a:pt x="300" y="764"/>
                </a:lnTo>
                <a:lnTo>
                  <a:pt x="302" y="762"/>
                </a:lnTo>
                <a:lnTo>
                  <a:pt x="300" y="758"/>
                </a:lnTo>
                <a:lnTo>
                  <a:pt x="298" y="754"/>
                </a:lnTo>
                <a:lnTo>
                  <a:pt x="298" y="752"/>
                </a:lnTo>
                <a:lnTo>
                  <a:pt x="298" y="748"/>
                </a:lnTo>
                <a:lnTo>
                  <a:pt x="292" y="744"/>
                </a:lnTo>
                <a:lnTo>
                  <a:pt x="288" y="744"/>
                </a:lnTo>
                <a:lnTo>
                  <a:pt x="286" y="744"/>
                </a:lnTo>
                <a:lnTo>
                  <a:pt x="282" y="742"/>
                </a:lnTo>
                <a:lnTo>
                  <a:pt x="280" y="740"/>
                </a:lnTo>
                <a:lnTo>
                  <a:pt x="268" y="732"/>
                </a:lnTo>
                <a:lnTo>
                  <a:pt x="262" y="730"/>
                </a:lnTo>
                <a:lnTo>
                  <a:pt x="260" y="728"/>
                </a:lnTo>
                <a:lnTo>
                  <a:pt x="260" y="726"/>
                </a:lnTo>
                <a:lnTo>
                  <a:pt x="258" y="724"/>
                </a:lnTo>
                <a:lnTo>
                  <a:pt x="258" y="722"/>
                </a:lnTo>
                <a:lnTo>
                  <a:pt x="260" y="720"/>
                </a:lnTo>
                <a:lnTo>
                  <a:pt x="258" y="718"/>
                </a:lnTo>
                <a:lnTo>
                  <a:pt x="256" y="716"/>
                </a:lnTo>
                <a:lnTo>
                  <a:pt x="254" y="712"/>
                </a:lnTo>
                <a:lnTo>
                  <a:pt x="254" y="708"/>
                </a:lnTo>
                <a:lnTo>
                  <a:pt x="252" y="706"/>
                </a:lnTo>
                <a:lnTo>
                  <a:pt x="252" y="704"/>
                </a:lnTo>
                <a:lnTo>
                  <a:pt x="242" y="696"/>
                </a:lnTo>
                <a:lnTo>
                  <a:pt x="240" y="694"/>
                </a:lnTo>
                <a:lnTo>
                  <a:pt x="238" y="696"/>
                </a:lnTo>
                <a:lnTo>
                  <a:pt x="234" y="694"/>
                </a:lnTo>
                <a:lnTo>
                  <a:pt x="234" y="692"/>
                </a:lnTo>
                <a:lnTo>
                  <a:pt x="234" y="690"/>
                </a:lnTo>
                <a:lnTo>
                  <a:pt x="234" y="688"/>
                </a:lnTo>
                <a:lnTo>
                  <a:pt x="232" y="688"/>
                </a:lnTo>
                <a:lnTo>
                  <a:pt x="230" y="686"/>
                </a:lnTo>
                <a:lnTo>
                  <a:pt x="228" y="686"/>
                </a:lnTo>
                <a:lnTo>
                  <a:pt x="226" y="686"/>
                </a:lnTo>
                <a:lnTo>
                  <a:pt x="222" y="684"/>
                </a:lnTo>
                <a:lnTo>
                  <a:pt x="218" y="680"/>
                </a:lnTo>
                <a:lnTo>
                  <a:pt x="212" y="676"/>
                </a:lnTo>
                <a:lnTo>
                  <a:pt x="208" y="676"/>
                </a:lnTo>
                <a:lnTo>
                  <a:pt x="206" y="678"/>
                </a:lnTo>
                <a:lnTo>
                  <a:pt x="206" y="680"/>
                </a:lnTo>
                <a:lnTo>
                  <a:pt x="204" y="680"/>
                </a:lnTo>
                <a:lnTo>
                  <a:pt x="202" y="680"/>
                </a:lnTo>
                <a:lnTo>
                  <a:pt x="202" y="678"/>
                </a:lnTo>
                <a:lnTo>
                  <a:pt x="200" y="678"/>
                </a:lnTo>
                <a:lnTo>
                  <a:pt x="198" y="678"/>
                </a:lnTo>
                <a:lnTo>
                  <a:pt x="196" y="678"/>
                </a:lnTo>
                <a:lnTo>
                  <a:pt x="190" y="674"/>
                </a:lnTo>
                <a:lnTo>
                  <a:pt x="188" y="672"/>
                </a:lnTo>
                <a:lnTo>
                  <a:pt x="182" y="672"/>
                </a:lnTo>
                <a:lnTo>
                  <a:pt x="180" y="672"/>
                </a:lnTo>
                <a:lnTo>
                  <a:pt x="178" y="672"/>
                </a:lnTo>
                <a:lnTo>
                  <a:pt x="170" y="666"/>
                </a:lnTo>
                <a:lnTo>
                  <a:pt x="166" y="660"/>
                </a:lnTo>
                <a:lnTo>
                  <a:pt x="164" y="656"/>
                </a:lnTo>
                <a:lnTo>
                  <a:pt x="162" y="656"/>
                </a:lnTo>
                <a:lnTo>
                  <a:pt x="156" y="654"/>
                </a:lnTo>
                <a:lnTo>
                  <a:pt x="150" y="652"/>
                </a:lnTo>
                <a:lnTo>
                  <a:pt x="142" y="652"/>
                </a:lnTo>
                <a:lnTo>
                  <a:pt x="142" y="660"/>
                </a:lnTo>
                <a:lnTo>
                  <a:pt x="140" y="660"/>
                </a:lnTo>
                <a:lnTo>
                  <a:pt x="134" y="662"/>
                </a:lnTo>
                <a:lnTo>
                  <a:pt x="132" y="662"/>
                </a:lnTo>
                <a:lnTo>
                  <a:pt x="132" y="660"/>
                </a:lnTo>
                <a:lnTo>
                  <a:pt x="126" y="658"/>
                </a:lnTo>
                <a:lnTo>
                  <a:pt x="126" y="660"/>
                </a:lnTo>
                <a:lnTo>
                  <a:pt x="122" y="660"/>
                </a:lnTo>
                <a:lnTo>
                  <a:pt x="120" y="660"/>
                </a:lnTo>
                <a:lnTo>
                  <a:pt x="118" y="660"/>
                </a:lnTo>
                <a:lnTo>
                  <a:pt x="108" y="658"/>
                </a:lnTo>
                <a:lnTo>
                  <a:pt x="106" y="654"/>
                </a:lnTo>
                <a:lnTo>
                  <a:pt x="100" y="656"/>
                </a:lnTo>
                <a:lnTo>
                  <a:pt x="98" y="656"/>
                </a:lnTo>
                <a:lnTo>
                  <a:pt x="94" y="654"/>
                </a:lnTo>
                <a:lnTo>
                  <a:pt x="90" y="652"/>
                </a:lnTo>
                <a:lnTo>
                  <a:pt x="88" y="652"/>
                </a:lnTo>
                <a:lnTo>
                  <a:pt x="86" y="644"/>
                </a:lnTo>
                <a:lnTo>
                  <a:pt x="86" y="642"/>
                </a:lnTo>
                <a:lnTo>
                  <a:pt x="86" y="640"/>
                </a:lnTo>
                <a:lnTo>
                  <a:pt x="86" y="638"/>
                </a:lnTo>
                <a:lnTo>
                  <a:pt x="84" y="638"/>
                </a:lnTo>
                <a:lnTo>
                  <a:pt x="82" y="638"/>
                </a:lnTo>
                <a:lnTo>
                  <a:pt x="80" y="638"/>
                </a:lnTo>
                <a:lnTo>
                  <a:pt x="78" y="636"/>
                </a:lnTo>
                <a:lnTo>
                  <a:pt x="78" y="634"/>
                </a:lnTo>
                <a:lnTo>
                  <a:pt x="76" y="634"/>
                </a:lnTo>
                <a:lnTo>
                  <a:pt x="74" y="632"/>
                </a:lnTo>
                <a:lnTo>
                  <a:pt x="76" y="630"/>
                </a:lnTo>
                <a:lnTo>
                  <a:pt x="74" y="628"/>
                </a:lnTo>
                <a:lnTo>
                  <a:pt x="72" y="628"/>
                </a:lnTo>
                <a:lnTo>
                  <a:pt x="68" y="630"/>
                </a:lnTo>
                <a:lnTo>
                  <a:pt x="66" y="630"/>
                </a:lnTo>
                <a:lnTo>
                  <a:pt x="64" y="630"/>
                </a:lnTo>
                <a:lnTo>
                  <a:pt x="62" y="630"/>
                </a:lnTo>
                <a:lnTo>
                  <a:pt x="60" y="626"/>
                </a:lnTo>
                <a:lnTo>
                  <a:pt x="56" y="624"/>
                </a:lnTo>
                <a:lnTo>
                  <a:pt x="54" y="626"/>
                </a:lnTo>
                <a:lnTo>
                  <a:pt x="52" y="624"/>
                </a:lnTo>
                <a:lnTo>
                  <a:pt x="50" y="624"/>
                </a:lnTo>
                <a:lnTo>
                  <a:pt x="46" y="622"/>
                </a:lnTo>
                <a:lnTo>
                  <a:pt x="44" y="618"/>
                </a:lnTo>
                <a:lnTo>
                  <a:pt x="42" y="618"/>
                </a:lnTo>
                <a:lnTo>
                  <a:pt x="40" y="618"/>
                </a:lnTo>
                <a:lnTo>
                  <a:pt x="40" y="616"/>
                </a:lnTo>
                <a:lnTo>
                  <a:pt x="38" y="616"/>
                </a:lnTo>
                <a:lnTo>
                  <a:pt x="32" y="612"/>
                </a:lnTo>
                <a:lnTo>
                  <a:pt x="32" y="610"/>
                </a:lnTo>
                <a:lnTo>
                  <a:pt x="26" y="608"/>
                </a:lnTo>
                <a:lnTo>
                  <a:pt x="26" y="610"/>
                </a:lnTo>
                <a:lnTo>
                  <a:pt x="24" y="606"/>
                </a:lnTo>
                <a:lnTo>
                  <a:pt x="22" y="606"/>
                </a:lnTo>
                <a:lnTo>
                  <a:pt x="22" y="604"/>
                </a:lnTo>
                <a:lnTo>
                  <a:pt x="20" y="604"/>
                </a:lnTo>
                <a:lnTo>
                  <a:pt x="12" y="596"/>
                </a:lnTo>
                <a:lnTo>
                  <a:pt x="10" y="590"/>
                </a:lnTo>
                <a:lnTo>
                  <a:pt x="6" y="588"/>
                </a:lnTo>
                <a:lnTo>
                  <a:pt x="4" y="588"/>
                </a:lnTo>
                <a:lnTo>
                  <a:pt x="0" y="588"/>
                </a:lnTo>
                <a:lnTo>
                  <a:pt x="0" y="586"/>
                </a:lnTo>
                <a:lnTo>
                  <a:pt x="4" y="580"/>
                </a:lnTo>
                <a:lnTo>
                  <a:pt x="8" y="576"/>
                </a:lnTo>
                <a:lnTo>
                  <a:pt x="10" y="574"/>
                </a:lnTo>
                <a:lnTo>
                  <a:pt x="16" y="576"/>
                </a:lnTo>
                <a:lnTo>
                  <a:pt x="22" y="578"/>
                </a:lnTo>
                <a:lnTo>
                  <a:pt x="24" y="578"/>
                </a:lnTo>
                <a:lnTo>
                  <a:pt x="26" y="572"/>
                </a:lnTo>
                <a:lnTo>
                  <a:pt x="26" y="570"/>
                </a:lnTo>
                <a:lnTo>
                  <a:pt x="24" y="564"/>
                </a:lnTo>
                <a:lnTo>
                  <a:pt x="22" y="564"/>
                </a:lnTo>
                <a:lnTo>
                  <a:pt x="22" y="562"/>
                </a:lnTo>
                <a:lnTo>
                  <a:pt x="20" y="558"/>
                </a:lnTo>
                <a:lnTo>
                  <a:pt x="20" y="556"/>
                </a:lnTo>
                <a:lnTo>
                  <a:pt x="22" y="550"/>
                </a:lnTo>
                <a:lnTo>
                  <a:pt x="24" y="544"/>
                </a:lnTo>
                <a:lnTo>
                  <a:pt x="26" y="542"/>
                </a:lnTo>
                <a:lnTo>
                  <a:pt x="26" y="544"/>
                </a:lnTo>
                <a:lnTo>
                  <a:pt x="26" y="542"/>
                </a:lnTo>
                <a:lnTo>
                  <a:pt x="28" y="542"/>
                </a:lnTo>
                <a:lnTo>
                  <a:pt x="32" y="542"/>
                </a:lnTo>
                <a:lnTo>
                  <a:pt x="32" y="538"/>
                </a:lnTo>
                <a:lnTo>
                  <a:pt x="34" y="538"/>
                </a:lnTo>
                <a:lnTo>
                  <a:pt x="36" y="540"/>
                </a:lnTo>
                <a:lnTo>
                  <a:pt x="36" y="542"/>
                </a:lnTo>
                <a:lnTo>
                  <a:pt x="38" y="542"/>
                </a:lnTo>
                <a:lnTo>
                  <a:pt x="42" y="538"/>
                </a:lnTo>
                <a:lnTo>
                  <a:pt x="48" y="540"/>
                </a:lnTo>
                <a:lnTo>
                  <a:pt x="50" y="540"/>
                </a:lnTo>
                <a:lnTo>
                  <a:pt x="58" y="538"/>
                </a:lnTo>
                <a:lnTo>
                  <a:pt x="58" y="536"/>
                </a:lnTo>
                <a:lnTo>
                  <a:pt x="60" y="532"/>
                </a:lnTo>
                <a:close/>
              </a:path>
            </a:pathLst>
          </a:custGeom>
          <a:solidFill>
            <a:srgbClr val="92D050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5" name="Rectangle 332"/>
          <p:cNvSpPr>
            <a:spLocks noChangeArrowheads="1"/>
          </p:cNvSpPr>
          <p:nvPr/>
        </p:nvSpPr>
        <p:spPr bwMode="auto">
          <a:xfrm>
            <a:off x="3861497" y="4577202"/>
            <a:ext cx="686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900" b="1" dirty="0">
                <a:solidFill>
                  <a:prstClr val="white"/>
                </a:solidFill>
              </a:rPr>
              <a:t>ARGENTINA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206" name="Rectangle 334"/>
          <p:cNvSpPr>
            <a:spLocks noChangeArrowheads="1"/>
          </p:cNvSpPr>
          <p:nvPr/>
        </p:nvSpPr>
        <p:spPr bwMode="auto">
          <a:xfrm>
            <a:off x="3375995" y="1862482"/>
            <a:ext cx="62837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900" b="1" dirty="0">
                <a:solidFill>
                  <a:prstClr val="white"/>
                </a:solidFill>
              </a:rPr>
              <a:t>COLOMBIA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207" name="Rectangle 339"/>
          <p:cNvSpPr>
            <a:spLocks noChangeArrowheads="1"/>
          </p:cNvSpPr>
          <p:nvPr/>
        </p:nvSpPr>
        <p:spPr bwMode="auto">
          <a:xfrm>
            <a:off x="3423071" y="2867080"/>
            <a:ext cx="32060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900" b="1">
                <a:solidFill>
                  <a:prstClr val="white"/>
                </a:solidFill>
              </a:rPr>
              <a:t>PERU</a:t>
            </a:r>
            <a:endParaRPr lang="en-US" sz="1400" b="1">
              <a:solidFill>
                <a:prstClr val="white"/>
              </a:solidFill>
            </a:endParaRPr>
          </a:p>
        </p:txBody>
      </p:sp>
      <p:sp>
        <p:nvSpPr>
          <p:cNvPr id="208" name="Rectangle 340"/>
          <p:cNvSpPr>
            <a:spLocks noChangeArrowheads="1"/>
          </p:cNvSpPr>
          <p:nvPr/>
        </p:nvSpPr>
        <p:spPr bwMode="auto">
          <a:xfrm>
            <a:off x="4948866" y="2845228"/>
            <a:ext cx="36067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prstClr val="white"/>
                </a:solidFill>
              </a:rPr>
              <a:t>BRAZIL</a:t>
            </a:r>
          </a:p>
        </p:txBody>
      </p:sp>
      <p:sp>
        <p:nvSpPr>
          <p:cNvPr id="209" name="Rectangle 344"/>
          <p:cNvSpPr>
            <a:spLocks noChangeArrowheads="1"/>
          </p:cNvSpPr>
          <p:nvPr/>
        </p:nvSpPr>
        <p:spPr bwMode="auto">
          <a:xfrm>
            <a:off x="3843759" y="3854431"/>
            <a:ext cx="3462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900" b="1">
                <a:solidFill>
                  <a:prstClr val="white"/>
                </a:solidFill>
              </a:rPr>
              <a:t>CHILE</a:t>
            </a:r>
            <a:endParaRPr lang="en-US" sz="1400" b="1">
              <a:solidFill>
                <a:prstClr val="white"/>
              </a:solidFill>
            </a:endParaRPr>
          </a:p>
        </p:txBody>
      </p:sp>
      <p:sp>
        <p:nvSpPr>
          <p:cNvPr id="210" name="Freeform 387"/>
          <p:cNvSpPr>
            <a:spLocks/>
          </p:cNvSpPr>
          <p:nvPr/>
        </p:nvSpPr>
        <p:spPr bwMode="auto">
          <a:xfrm>
            <a:off x="5258427" y="2211817"/>
            <a:ext cx="19050" cy="20637"/>
          </a:xfrm>
          <a:custGeom>
            <a:avLst/>
            <a:gdLst/>
            <a:ahLst/>
            <a:cxnLst>
              <a:cxn ang="0">
                <a:pos x="16" y="8"/>
              </a:cxn>
              <a:cxn ang="0">
                <a:pos x="14" y="6"/>
              </a:cxn>
              <a:cxn ang="0">
                <a:pos x="14" y="4"/>
              </a:cxn>
              <a:cxn ang="0">
                <a:pos x="10" y="2"/>
              </a:cxn>
              <a:cxn ang="0">
                <a:pos x="8" y="0"/>
              </a:cxn>
              <a:cxn ang="0">
                <a:pos x="4" y="2"/>
              </a:cxn>
              <a:cxn ang="0">
                <a:pos x="2" y="4"/>
              </a:cxn>
              <a:cxn ang="0">
                <a:pos x="0" y="6"/>
              </a:cxn>
              <a:cxn ang="0">
                <a:pos x="0" y="8"/>
              </a:cxn>
              <a:cxn ang="0">
                <a:pos x="0" y="12"/>
              </a:cxn>
              <a:cxn ang="0">
                <a:pos x="2" y="14"/>
              </a:cxn>
              <a:cxn ang="0">
                <a:pos x="4" y="16"/>
              </a:cxn>
              <a:cxn ang="0">
                <a:pos x="8" y="16"/>
              </a:cxn>
              <a:cxn ang="0">
                <a:pos x="10" y="16"/>
              </a:cxn>
              <a:cxn ang="0">
                <a:pos x="14" y="14"/>
              </a:cxn>
              <a:cxn ang="0">
                <a:pos x="14" y="12"/>
              </a:cxn>
              <a:cxn ang="0">
                <a:pos x="16" y="8"/>
              </a:cxn>
            </a:cxnLst>
            <a:rect l="0" t="0" r="r" b="b"/>
            <a:pathLst>
              <a:path w="16" h="16">
                <a:moveTo>
                  <a:pt x="16" y="8"/>
                </a:moveTo>
                <a:lnTo>
                  <a:pt x="14" y="6"/>
                </a:lnTo>
                <a:lnTo>
                  <a:pt x="14" y="4"/>
                </a:lnTo>
                <a:lnTo>
                  <a:pt x="10" y="2"/>
                </a:lnTo>
                <a:lnTo>
                  <a:pt x="8" y="0"/>
                </a:lnTo>
                <a:lnTo>
                  <a:pt x="4" y="2"/>
                </a:lnTo>
                <a:lnTo>
                  <a:pt x="2" y="4"/>
                </a:lnTo>
                <a:lnTo>
                  <a:pt x="0" y="6"/>
                </a:lnTo>
                <a:lnTo>
                  <a:pt x="0" y="8"/>
                </a:lnTo>
                <a:lnTo>
                  <a:pt x="0" y="12"/>
                </a:lnTo>
                <a:lnTo>
                  <a:pt x="2" y="14"/>
                </a:lnTo>
                <a:lnTo>
                  <a:pt x="4" y="16"/>
                </a:lnTo>
                <a:lnTo>
                  <a:pt x="8" y="16"/>
                </a:lnTo>
                <a:lnTo>
                  <a:pt x="10" y="16"/>
                </a:lnTo>
                <a:lnTo>
                  <a:pt x="14" y="14"/>
                </a:lnTo>
                <a:lnTo>
                  <a:pt x="14" y="12"/>
                </a:lnTo>
                <a:lnTo>
                  <a:pt x="16" y="8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6" name="Group 280"/>
          <p:cNvGrpSpPr>
            <a:grpSpLocks/>
          </p:cNvGrpSpPr>
          <p:nvPr/>
        </p:nvGrpSpPr>
        <p:grpSpPr bwMode="auto">
          <a:xfrm>
            <a:off x="3602711" y="1752899"/>
            <a:ext cx="2544762" cy="2740025"/>
            <a:chOff x="2304" y="688"/>
            <a:chExt cx="2110" cy="2146"/>
          </a:xfrm>
          <a:solidFill>
            <a:srgbClr val="92D050"/>
          </a:solidFill>
        </p:grpSpPr>
        <p:sp>
          <p:nvSpPr>
            <p:cNvPr id="212" name="Freeform 281"/>
            <p:cNvSpPr>
              <a:spLocks/>
            </p:cNvSpPr>
            <p:nvPr/>
          </p:nvSpPr>
          <p:spPr bwMode="auto">
            <a:xfrm>
              <a:off x="2304" y="688"/>
              <a:ext cx="2110" cy="2146"/>
            </a:xfrm>
            <a:custGeom>
              <a:avLst/>
              <a:gdLst>
                <a:gd name="T0" fmla="*/ 1284 w 2110"/>
                <a:gd name="T1" fmla="*/ 1728 h 2146"/>
                <a:gd name="T2" fmla="*/ 1256 w 2110"/>
                <a:gd name="T3" fmla="*/ 1872 h 2146"/>
                <a:gd name="T4" fmla="*/ 1120 w 2110"/>
                <a:gd name="T5" fmla="*/ 2024 h 2146"/>
                <a:gd name="T6" fmla="*/ 1118 w 2110"/>
                <a:gd name="T7" fmla="*/ 2006 h 2146"/>
                <a:gd name="T8" fmla="*/ 1122 w 2110"/>
                <a:gd name="T9" fmla="*/ 1950 h 2146"/>
                <a:gd name="T10" fmla="*/ 1062 w 2110"/>
                <a:gd name="T11" fmla="*/ 2052 h 2146"/>
                <a:gd name="T12" fmla="*/ 988 w 2110"/>
                <a:gd name="T13" fmla="*/ 2112 h 2146"/>
                <a:gd name="T14" fmla="*/ 926 w 2110"/>
                <a:gd name="T15" fmla="*/ 2008 h 2146"/>
                <a:gd name="T16" fmla="*/ 822 w 2110"/>
                <a:gd name="T17" fmla="*/ 1944 h 2146"/>
                <a:gd name="T18" fmla="*/ 912 w 2110"/>
                <a:gd name="T19" fmla="*/ 1848 h 2146"/>
                <a:gd name="T20" fmla="*/ 1020 w 2110"/>
                <a:gd name="T21" fmla="*/ 1770 h 2146"/>
                <a:gd name="T22" fmla="*/ 1002 w 2110"/>
                <a:gd name="T23" fmla="*/ 1644 h 2146"/>
                <a:gd name="T24" fmla="*/ 944 w 2110"/>
                <a:gd name="T25" fmla="*/ 1552 h 2146"/>
                <a:gd name="T26" fmla="*/ 836 w 2110"/>
                <a:gd name="T27" fmla="*/ 1500 h 2146"/>
                <a:gd name="T28" fmla="*/ 856 w 2110"/>
                <a:gd name="T29" fmla="*/ 1298 h 2146"/>
                <a:gd name="T30" fmla="*/ 826 w 2110"/>
                <a:gd name="T31" fmla="*/ 1178 h 2146"/>
                <a:gd name="T32" fmla="*/ 646 w 2110"/>
                <a:gd name="T33" fmla="*/ 1024 h 2146"/>
                <a:gd name="T34" fmla="*/ 518 w 2110"/>
                <a:gd name="T35" fmla="*/ 966 h 2146"/>
                <a:gd name="T36" fmla="*/ 464 w 2110"/>
                <a:gd name="T37" fmla="*/ 848 h 2146"/>
                <a:gd name="T38" fmla="*/ 344 w 2110"/>
                <a:gd name="T39" fmla="*/ 856 h 2146"/>
                <a:gd name="T40" fmla="*/ 204 w 2110"/>
                <a:gd name="T41" fmla="*/ 886 h 2146"/>
                <a:gd name="T42" fmla="*/ 108 w 2110"/>
                <a:gd name="T43" fmla="*/ 830 h 2146"/>
                <a:gd name="T44" fmla="*/ 24 w 2110"/>
                <a:gd name="T45" fmla="*/ 738 h 2146"/>
                <a:gd name="T46" fmla="*/ 42 w 2110"/>
                <a:gd name="T47" fmla="*/ 618 h 2146"/>
                <a:gd name="T48" fmla="*/ 174 w 2110"/>
                <a:gd name="T49" fmla="*/ 512 h 2146"/>
                <a:gd name="T50" fmla="*/ 214 w 2110"/>
                <a:gd name="T51" fmla="*/ 300 h 2146"/>
                <a:gd name="T52" fmla="*/ 310 w 2110"/>
                <a:gd name="T53" fmla="*/ 188 h 2146"/>
                <a:gd name="T54" fmla="*/ 416 w 2110"/>
                <a:gd name="T55" fmla="*/ 248 h 2146"/>
                <a:gd name="T56" fmla="*/ 502 w 2110"/>
                <a:gd name="T57" fmla="*/ 220 h 2146"/>
                <a:gd name="T58" fmla="*/ 530 w 2110"/>
                <a:gd name="T59" fmla="*/ 98 h 2146"/>
                <a:gd name="T60" fmla="*/ 562 w 2110"/>
                <a:gd name="T61" fmla="*/ 74 h 2146"/>
                <a:gd name="T62" fmla="*/ 658 w 2110"/>
                <a:gd name="T63" fmla="*/ 60 h 2146"/>
                <a:gd name="T64" fmla="*/ 756 w 2110"/>
                <a:gd name="T65" fmla="*/ 24 h 2146"/>
                <a:gd name="T66" fmla="*/ 770 w 2110"/>
                <a:gd name="T67" fmla="*/ 186 h 2146"/>
                <a:gd name="T68" fmla="*/ 902 w 2110"/>
                <a:gd name="T69" fmla="*/ 180 h 2146"/>
                <a:gd name="T70" fmla="*/ 1036 w 2110"/>
                <a:gd name="T71" fmla="*/ 154 h 2146"/>
                <a:gd name="T72" fmla="*/ 1158 w 2110"/>
                <a:gd name="T73" fmla="*/ 148 h 2146"/>
                <a:gd name="T74" fmla="*/ 1232 w 2110"/>
                <a:gd name="T75" fmla="*/ 64 h 2146"/>
                <a:gd name="T76" fmla="*/ 1298 w 2110"/>
                <a:gd name="T77" fmla="*/ 220 h 2146"/>
                <a:gd name="T78" fmla="*/ 1218 w 2110"/>
                <a:gd name="T79" fmla="*/ 316 h 2146"/>
                <a:gd name="T80" fmla="*/ 1188 w 2110"/>
                <a:gd name="T81" fmla="*/ 378 h 2146"/>
                <a:gd name="T82" fmla="*/ 1218 w 2110"/>
                <a:gd name="T83" fmla="*/ 394 h 2146"/>
                <a:gd name="T84" fmla="*/ 1256 w 2110"/>
                <a:gd name="T85" fmla="*/ 406 h 2146"/>
                <a:gd name="T86" fmla="*/ 1328 w 2110"/>
                <a:gd name="T87" fmla="*/ 426 h 2146"/>
                <a:gd name="T88" fmla="*/ 1380 w 2110"/>
                <a:gd name="T89" fmla="*/ 360 h 2146"/>
                <a:gd name="T90" fmla="*/ 1464 w 2110"/>
                <a:gd name="T91" fmla="*/ 336 h 2146"/>
                <a:gd name="T92" fmla="*/ 1536 w 2110"/>
                <a:gd name="T93" fmla="*/ 360 h 2146"/>
                <a:gd name="T94" fmla="*/ 1592 w 2110"/>
                <a:gd name="T95" fmla="*/ 390 h 2146"/>
                <a:gd name="T96" fmla="*/ 1602 w 2110"/>
                <a:gd name="T97" fmla="*/ 440 h 2146"/>
                <a:gd name="T98" fmla="*/ 1678 w 2110"/>
                <a:gd name="T99" fmla="*/ 428 h 2146"/>
                <a:gd name="T100" fmla="*/ 1772 w 2110"/>
                <a:gd name="T101" fmla="*/ 458 h 2146"/>
                <a:gd name="T102" fmla="*/ 1958 w 2110"/>
                <a:gd name="T103" fmla="*/ 548 h 2146"/>
                <a:gd name="T104" fmla="*/ 2092 w 2110"/>
                <a:gd name="T105" fmla="*/ 622 h 2146"/>
                <a:gd name="T106" fmla="*/ 2104 w 2110"/>
                <a:gd name="T107" fmla="*/ 754 h 2146"/>
                <a:gd name="T108" fmla="*/ 1976 w 2110"/>
                <a:gd name="T109" fmla="*/ 914 h 2146"/>
                <a:gd name="T110" fmla="*/ 1942 w 2110"/>
                <a:gd name="T111" fmla="*/ 970 h 2146"/>
                <a:gd name="T112" fmla="*/ 1870 w 2110"/>
                <a:gd name="T113" fmla="*/ 1026 h 2146"/>
                <a:gd name="T114" fmla="*/ 1848 w 2110"/>
                <a:gd name="T115" fmla="*/ 1128 h 2146"/>
                <a:gd name="T116" fmla="*/ 1796 w 2110"/>
                <a:gd name="T117" fmla="*/ 1330 h 2146"/>
                <a:gd name="T118" fmla="*/ 1720 w 2110"/>
                <a:gd name="T119" fmla="*/ 1474 h 2146"/>
                <a:gd name="T120" fmla="*/ 1616 w 2110"/>
                <a:gd name="T121" fmla="*/ 1586 h 2146"/>
                <a:gd name="T122" fmla="*/ 1530 w 2110"/>
                <a:gd name="T123" fmla="*/ 1586 h 2146"/>
                <a:gd name="T124" fmla="*/ 1430 w 2110"/>
                <a:gd name="T125" fmla="*/ 1620 h 214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110"/>
                <a:gd name="T190" fmla="*/ 0 h 2146"/>
                <a:gd name="T191" fmla="*/ 2110 w 2110"/>
                <a:gd name="T192" fmla="*/ 2146 h 214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110" h="2146">
                  <a:moveTo>
                    <a:pt x="1318" y="1694"/>
                  </a:moveTo>
                  <a:lnTo>
                    <a:pt x="1316" y="1694"/>
                  </a:lnTo>
                  <a:lnTo>
                    <a:pt x="1314" y="1696"/>
                  </a:lnTo>
                  <a:lnTo>
                    <a:pt x="1312" y="1698"/>
                  </a:lnTo>
                  <a:lnTo>
                    <a:pt x="1308" y="1702"/>
                  </a:lnTo>
                  <a:lnTo>
                    <a:pt x="1306" y="1704"/>
                  </a:lnTo>
                  <a:lnTo>
                    <a:pt x="1306" y="1706"/>
                  </a:lnTo>
                  <a:lnTo>
                    <a:pt x="1304" y="1706"/>
                  </a:lnTo>
                  <a:lnTo>
                    <a:pt x="1304" y="1704"/>
                  </a:lnTo>
                  <a:lnTo>
                    <a:pt x="1306" y="1700"/>
                  </a:lnTo>
                  <a:lnTo>
                    <a:pt x="1308" y="1698"/>
                  </a:lnTo>
                  <a:lnTo>
                    <a:pt x="1310" y="1696"/>
                  </a:lnTo>
                  <a:lnTo>
                    <a:pt x="1306" y="1698"/>
                  </a:lnTo>
                  <a:lnTo>
                    <a:pt x="1302" y="1700"/>
                  </a:lnTo>
                  <a:lnTo>
                    <a:pt x="1300" y="1698"/>
                  </a:lnTo>
                  <a:lnTo>
                    <a:pt x="1298" y="1698"/>
                  </a:lnTo>
                  <a:lnTo>
                    <a:pt x="1296" y="1696"/>
                  </a:lnTo>
                  <a:lnTo>
                    <a:pt x="1294" y="1698"/>
                  </a:lnTo>
                  <a:lnTo>
                    <a:pt x="1294" y="1700"/>
                  </a:lnTo>
                  <a:lnTo>
                    <a:pt x="1294" y="1702"/>
                  </a:lnTo>
                  <a:lnTo>
                    <a:pt x="1292" y="1706"/>
                  </a:lnTo>
                  <a:lnTo>
                    <a:pt x="1288" y="1706"/>
                  </a:lnTo>
                  <a:lnTo>
                    <a:pt x="1284" y="1704"/>
                  </a:lnTo>
                  <a:lnTo>
                    <a:pt x="1282" y="1702"/>
                  </a:lnTo>
                  <a:lnTo>
                    <a:pt x="1280" y="1702"/>
                  </a:lnTo>
                  <a:lnTo>
                    <a:pt x="1278" y="1706"/>
                  </a:lnTo>
                  <a:lnTo>
                    <a:pt x="1280" y="1706"/>
                  </a:lnTo>
                  <a:lnTo>
                    <a:pt x="1282" y="1708"/>
                  </a:lnTo>
                  <a:lnTo>
                    <a:pt x="1284" y="1708"/>
                  </a:lnTo>
                  <a:lnTo>
                    <a:pt x="1288" y="1708"/>
                  </a:lnTo>
                  <a:lnTo>
                    <a:pt x="1290" y="1708"/>
                  </a:lnTo>
                  <a:lnTo>
                    <a:pt x="1296" y="1710"/>
                  </a:lnTo>
                  <a:lnTo>
                    <a:pt x="1296" y="1712"/>
                  </a:lnTo>
                  <a:lnTo>
                    <a:pt x="1296" y="1714"/>
                  </a:lnTo>
                  <a:lnTo>
                    <a:pt x="1294" y="1714"/>
                  </a:lnTo>
                  <a:lnTo>
                    <a:pt x="1292" y="1716"/>
                  </a:lnTo>
                  <a:lnTo>
                    <a:pt x="1290" y="1720"/>
                  </a:lnTo>
                  <a:lnTo>
                    <a:pt x="1288" y="1722"/>
                  </a:lnTo>
                  <a:lnTo>
                    <a:pt x="1282" y="1724"/>
                  </a:lnTo>
                  <a:lnTo>
                    <a:pt x="1276" y="1726"/>
                  </a:lnTo>
                  <a:lnTo>
                    <a:pt x="1274" y="1728"/>
                  </a:lnTo>
                  <a:lnTo>
                    <a:pt x="1280" y="1728"/>
                  </a:lnTo>
                  <a:lnTo>
                    <a:pt x="1284" y="1728"/>
                  </a:lnTo>
                  <a:lnTo>
                    <a:pt x="1284" y="1732"/>
                  </a:lnTo>
                  <a:lnTo>
                    <a:pt x="1282" y="1734"/>
                  </a:lnTo>
                  <a:lnTo>
                    <a:pt x="1280" y="1738"/>
                  </a:lnTo>
                  <a:lnTo>
                    <a:pt x="1282" y="1742"/>
                  </a:lnTo>
                  <a:lnTo>
                    <a:pt x="1282" y="1744"/>
                  </a:lnTo>
                  <a:lnTo>
                    <a:pt x="1278" y="1748"/>
                  </a:lnTo>
                  <a:lnTo>
                    <a:pt x="1276" y="1748"/>
                  </a:lnTo>
                  <a:lnTo>
                    <a:pt x="1274" y="1746"/>
                  </a:lnTo>
                  <a:lnTo>
                    <a:pt x="1274" y="1744"/>
                  </a:lnTo>
                  <a:lnTo>
                    <a:pt x="1272" y="1740"/>
                  </a:lnTo>
                  <a:lnTo>
                    <a:pt x="1272" y="1738"/>
                  </a:lnTo>
                  <a:lnTo>
                    <a:pt x="1272" y="1742"/>
                  </a:lnTo>
                  <a:lnTo>
                    <a:pt x="1272" y="1750"/>
                  </a:lnTo>
                  <a:lnTo>
                    <a:pt x="1276" y="1756"/>
                  </a:lnTo>
                  <a:lnTo>
                    <a:pt x="1278" y="1758"/>
                  </a:lnTo>
                  <a:lnTo>
                    <a:pt x="1278" y="1760"/>
                  </a:lnTo>
                  <a:lnTo>
                    <a:pt x="1276" y="1762"/>
                  </a:lnTo>
                  <a:lnTo>
                    <a:pt x="1274" y="1766"/>
                  </a:lnTo>
                  <a:lnTo>
                    <a:pt x="1274" y="1768"/>
                  </a:lnTo>
                  <a:lnTo>
                    <a:pt x="1272" y="1772"/>
                  </a:lnTo>
                  <a:lnTo>
                    <a:pt x="1272" y="1774"/>
                  </a:lnTo>
                  <a:lnTo>
                    <a:pt x="1272" y="1776"/>
                  </a:lnTo>
                  <a:lnTo>
                    <a:pt x="1276" y="1778"/>
                  </a:lnTo>
                  <a:lnTo>
                    <a:pt x="1274" y="1784"/>
                  </a:lnTo>
                  <a:lnTo>
                    <a:pt x="1274" y="1796"/>
                  </a:lnTo>
                  <a:lnTo>
                    <a:pt x="1274" y="1798"/>
                  </a:lnTo>
                  <a:lnTo>
                    <a:pt x="1276" y="1798"/>
                  </a:lnTo>
                  <a:lnTo>
                    <a:pt x="1278" y="1798"/>
                  </a:lnTo>
                  <a:lnTo>
                    <a:pt x="1278" y="1800"/>
                  </a:lnTo>
                  <a:lnTo>
                    <a:pt x="1278" y="1802"/>
                  </a:lnTo>
                  <a:lnTo>
                    <a:pt x="1276" y="1802"/>
                  </a:lnTo>
                  <a:lnTo>
                    <a:pt x="1272" y="1804"/>
                  </a:lnTo>
                  <a:lnTo>
                    <a:pt x="1268" y="1816"/>
                  </a:lnTo>
                  <a:lnTo>
                    <a:pt x="1270" y="1824"/>
                  </a:lnTo>
                  <a:lnTo>
                    <a:pt x="1268" y="1826"/>
                  </a:lnTo>
                  <a:lnTo>
                    <a:pt x="1268" y="1832"/>
                  </a:lnTo>
                  <a:lnTo>
                    <a:pt x="1268" y="1834"/>
                  </a:lnTo>
                  <a:lnTo>
                    <a:pt x="1270" y="1836"/>
                  </a:lnTo>
                  <a:lnTo>
                    <a:pt x="1270" y="1838"/>
                  </a:lnTo>
                  <a:lnTo>
                    <a:pt x="1266" y="1846"/>
                  </a:lnTo>
                  <a:lnTo>
                    <a:pt x="1264" y="1850"/>
                  </a:lnTo>
                  <a:lnTo>
                    <a:pt x="1262" y="1858"/>
                  </a:lnTo>
                  <a:lnTo>
                    <a:pt x="1256" y="1872"/>
                  </a:lnTo>
                  <a:lnTo>
                    <a:pt x="1254" y="1872"/>
                  </a:lnTo>
                  <a:lnTo>
                    <a:pt x="1254" y="1870"/>
                  </a:lnTo>
                  <a:lnTo>
                    <a:pt x="1254" y="1866"/>
                  </a:lnTo>
                  <a:lnTo>
                    <a:pt x="1252" y="1862"/>
                  </a:lnTo>
                  <a:lnTo>
                    <a:pt x="1250" y="1864"/>
                  </a:lnTo>
                  <a:lnTo>
                    <a:pt x="1250" y="1868"/>
                  </a:lnTo>
                  <a:lnTo>
                    <a:pt x="1250" y="1870"/>
                  </a:lnTo>
                  <a:lnTo>
                    <a:pt x="1254" y="1874"/>
                  </a:lnTo>
                  <a:lnTo>
                    <a:pt x="1250" y="1880"/>
                  </a:lnTo>
                  <a:lnTo>
                    <a:pt x="1246" y="1880"/>
                  </a:lnTo>
                  <a:lnTo>
                    <a:pt x="1244" y="1882"/>
                  </a:lnTo>
                  <a:lnTo>
                    <a:pt x="1232" y="1888"/>
                  </a:lnTo>
                  <a:lnTo>
                    <a:pt x="1230" y="1890"/>
                  </a:lnTo>
                  <a:lnTo>
                    <a:pt x="1220" y="1896"/>
                  </a:lnTo>
                  <a:lnTo>
                    <a:pt x="1218" y="1900"/>
                  </a:lnTo>
                  <a:lnTo>
                    <a:pt x="1206" y="1910"/>
                  </a:lnTo>
                  <a:lnTo>
                    <a:pt x="1204" y="1912"/>
                  </a:lnTo>
                  <a:lnTo>
                    <a:pt x="1202" y="1914"/>
                  </a:lnTo>
                  <a:lnTo>
                    <a:pt x="1202" y="1916"/>
                  </a:lnTo>
                  <a:lnTo>
                    <a:pt x="1200" y="1918"/>
                  </a:lnTo>
                  <a:lnTo>
                    <a:pt x="1198" y="1920"/>
                  </a:lnTo>
                  <a:lnTo>
                    <a:pt x="1190" y="1928"/>
                  </a:lnTo>
                  <a:lnTo>
                    <a:pt x="1188" y="1932"/>
                  </a:lnTo>
                  <a:lnTo>
                    <a:pt x="1182" y="1942"/>
                  </a:lnTo>
                  <a:lnTo>
                    <a:pt x="1180" y="1946"/>
                  </a:lnTo>
                  <a:lnTo>
                    <a:pt x="1172" y="1958"/>
                  </a:lnTo>
                  <a:lnTo>
                    <a:pt x="1170" y="1966"/>
                  </a:lnTo>
                  <a:lnTo>
                    <a:pt x="1168" y="1966"/>
                  </a:lnTo>
                  <a:lnTo>
                    <a:pt x="1168" y="1968"/>
                  </a:lnTo>
                  <a:lnTo>
                    <a:pt x="1166" y="1970"/>
                  </a:lnTo>
                  <a:lnTo>
                    <a:pt x="1166" y="1972"/>
                  </a:lnTo>
                  <a:lnTo>
                    <a:pt x="1164" y="1976"/>
                  </a:lnTo>
                  <a:lnTo>
                    <a:pt x="1160" y="1980"/>
                  </a:lnTo>
                  <a:lnTo>
                    <a:pt x="1156" y="1984"/>
                  </a:lnTo>
                  <a:lnTo>
                    <a:pt x="1154" y="1988"/>
                  </a:lnTo>
                  <a:lnTo>
                    <a:pt x="1144" y="2000"/>
                  </a:lnTo>
                  <a:lnTo>
                    <a:pt x="1144" y="2002"/>
                  </a:lnTo>
                  <a:lnTo>
                    <a:pt x="1142" y="2004"/>
                  </a:lnTo>
                  <a:lnTo>
                    <a:pt x="1140" y="2006"/>
                  </a:lnTo>
                  <a:lnTo>
                    <a:pt x="1138" y="2008"/>
                  </a:lnTo>
                  <a:lnTo>
                    <a:pt x="1132" y="2014"/>
                  </a:lnTo>
                  <a:lnTo>
                    <a:pt x="1128" y="2018"/>
                  </a:lnTo>
                  <a:lnTo>
                    <a:pt x="1120" y="2024"/>
                  </a:lnTo>
                  <a:lnTo>
                    <a:pt x="1120" y="2026"/>
                  </a:lnTo>
                  <a:lnTo>
                    <a:pt x="1116" y="2028"/>
                  </a:lnTo>
                  <a:lnTo>
                    <a:pt x="1110" y="2032"/>
                  </a:lnTo>
                  <a:lnTo>
                    <a:pt x="1096" y="2042"/>
                  </a:lnTo>
                  <a:lnTo>
                    <a:pt x="1090" y="2046"/>
                  </a:lnTo>
                  <a:lnTo>
                    <a:pt x="1086" y="2046"/>
                  </a:lnTo>
                  <a:lnTo>
                    <a:pt x="1078" y="2050"/>
                  </a:lnTo>
                  <a:lnTo>
                    <a:pt x="1076" y="2052"/>
                  </a:lnTo>
                  <a:lnTo>
                    <a:pt x="1074" y="2052"/>
                  </a:lnTo>
                  <a:lnTo>
                    <a:pt x="1074" y="2056"/>
                  </a:lnTo>
                  <a:lnTo>
                    <a:pt x="1072" y="2058"/>
                  </a:lnTo>
                  <a:lnTo>
                    <a:pt x="1066" y="2064"/>
                  </a:lnTo>
                  <a:lnTo>
                    <a:pt x="1064" y="2062"/>
                  </a:lnTo>
                  <a:lnTo>
                    <a:pt x="1066" y="2060"/>
                  </a:lnTo>
                  <a:lnTo>
                    <a:pt x="1068" y="2058"/>
                  </a:lnTo>
                  <a:lnTo>
                    <a:pt x="1070" y="2052"/>
                  </a:lnTo>
                  <a:lnTo>
                    <a:pt x="1068" y="2050"/>
                  </a:lnTo>
                  <a:lnTo>
                    <a:pt x="1068" y="2048"/>
                  </a:lnTo>
                  <a:lnTo>
                    <a:pt x="1066" y="2046"/>
                  </a:lnTo>
                  <a:lnTo>
                    <a:pt x="1068" y="2046"/>
                  </a:lnTo>
                  <a:lnTo>
                    <a:pt x="1070" y="2044"/>
                  </a:lnTo>
                  <a:lnTo>
                    <a:pt x="1072" y="2046"/>
                  </a:lnTo>
                  <a:lnTo>
                    <a:pt x="1074" y="2046"/>
                  </a:lnTo>
                  <a:lnTo>
                    <a:pt x="1074" y="2048"/>
                  </a:lnTo>
                  <a:lnTo>
                    <a:pt x="1076" y="2048"/>
                  </a:lnTo>
                  <a:lnTo>
                    <a:pt x="1078" y="2048"/>
                  </a:lnTo>
                  <a:lnTo>
                    <a:pt x="1086" y="2044"/>
                  </a:lnTo>
                  <a:lnTo>
                    <a:pt x="1088" y="2044"/>
                  </a:lnTo>
                  <a:lnTo>
                    <a:pt x="1090" y="2042"/>
                  </a:lnTo>
                  <a:lnTo>
                    <a:pt x="1094" y="2036"/>
                  </a:lnTo>
                  <a:lnTo>
                    <a:pt x="1100" y="2032"/>
                  </a:lnTo>
                  <a:lnTo>
                    <a:pt x="1102" y="2030"/>
                  </a:lnTo>
                  <a:lnTo>
                    <a:pt x="1104" y="2032"/>
                  </a:lnTo>
                  <a:lnTo>
                    <a:pt x="1106" y="2032"/>
                  </a:lnTo>
                  <a:lnTo>
                    <a:pt x="1106" y="2030"/>
                  </a:lnTo>
                  <a:lnTo>
                    <a:pt x="1110" y="2030"/>
                  </a:lnTo>
                  <a:lnTo>
                    <a:pt x="1110" y="2028"/>
                  </a:lnTo>
                  <a:lnTo>
                    <a:pt x="1114" y="2024"/>
                  </a:lnTo>
                  <a:lnTo>
                    <a:pt x="1116" y="2020"/>
                  </a:lnTo>
                  <a:lnTo>
                    <a:pt x="1116" y="2016"/>
                  </a:lnTo>
                  <a:lnTo>
                    <a:pt x="1116" y="2014"/>
                  </a:lnTo>
                  <a:lnTo>
                    <a:pt x="1116" y="2012"/>
                  </a:lnTo>
                  <a:lnTo>
                    <a:pt x="1118" y="2006"/>
                  </a:lnTo>
                  <a:lnTo>
                    <a:pt x="1122" y="2008"/>
                  </a:lnTo>
                  <a:lnTo>
                    <a:pt x="1124" y="2008"/>
                  </a:lnTo>
                  <a:lnTo>
                    <a:pt x="1126" y="2010"/>
                  </a:lnTo>
                  <a:lnTo>
                    <a:pt x="1126" y="2006"/>
                  </a:lnTo>
                  <a:lnTo>
                    <a:pt x="1128" y="2000"/>
                  </a:lnTo>
                  <a:lnTo>
                    <a:pt x="1130" y="1998"/>
                  </a:lnTo>
                  <a:lnTo>
                    <a:pt x="1132" y="1998"/>
                  </a:lnTo>
                  <a:lnTo>
                    <a:pt x="1138" y="1994"/>
                  </a:lnTo>
                  <a:lnTo>
                    <a:pt x="1140" y="1994"/>
                  </a:lnTo>
                  <a:lnTo>
                    <a:pt x="1140" y="1992"/>
                  </a:lnTo>
                  <a:lnTo>
                    <a:pt x="1142" y="1990"/>
                  </a:lnTo>
                  <a:lnTo>
                    <a:pt x="1144" y="1988"/>
                  </a:lnTo>
                  <a:lnTo>
                    <a:pt x="1144" y="1984"/>
                  </a:lnTo>
                  <a:lnTo>
                    <a:pt x="1146" y="1982"/>
                  </a:lnTo>
                  <a:lnTo>
                    <a:pt x="1146" y="1976"/>
                  </a:lnTo>
                  <a:lnTo>
                    <a:pt x="1148" y="1974"/>
                  </a:lnTo>
                  <a:lnTo>
                    <a:pt x="1148" y="1976"/>
                  </a:lnTo>
                  <a:lnTo>
                    <a:pt x="1150" y="1976"/>
                  </a:lnTo>
                  <a:lnTo>
                    <a:pt x="1150" y="1974"/>
                  </a:lnTo>
                  <a:lnTo>
                    <a:pt x="1152" y="1968"/>
                  </a:lnTo>
                  <a:lnTo>
                    <a:pt x="1154" y="1966"/>
                  </a:lnTo>
                  <a:lnTo>
                    <a:pt x="1154" y="1964"/>
                  </a:lnTo>
                  <a:lnTo>
                    <a:pt x="1152" y="1960"/>
                  </a:lnTo>
                  <a:lnTo>
                    <a:pt x="1150" y="1960"/>
                  </a:lnTo>
                  <a:lnTo>
                    <a:pt x="1148" y="1960"/>
                  </a:lnTo>
                  <a:lnTo>
                    <a:pt x="1148" y="1962"/>
                  </a:lnTo>
                  <a:lnTo>
                    <a:pt x="1148" y="1964"/>
                  </a:lnTo>
                  <a:lnTo>
                    <a:pt x="1148" y="1966"/>
                  </a:lnTo>
                  <a:lnTo>
                    <a:pt x="1142" y="1964"/>
                  </a:lnTo>
                  <a:lnTo>
                    <a:pt x="1136" y="1966"/>
                  </a:lnTo>
                  <a:lnTo>
                    <a:pt x="1134" y="1966"/>
                  </a:lnTo>
                  <a:lnTo>
                    <a:pt x="1134" y="1970"/>
                  </a:lnTo>
                  <a:lnTo>
                    <a:pt x="1132" y="1970"/>
                  </a:lnTo>
                  <a:lnTo>
                    <a:pt x="1130" y="1970"/>
                  </a:lnTo>
                  <a:lnTo>
                    <a:pt x="1130" y="1966"/>
                  </a:lnTo>
                  <a:lnTo>
                    <a:pt x="1130" y="1964"/>
                  </a:lnTo>
                  <a:lnTo>
                    <a:pt x="1128" y="1960"/>
                  </a:lnTo>
                  <a:lnTo>
                    <a:pt x="1126" y="1960"/>
                  </a:lnTo>
                  <a:lnTo>
                    <a:pt x="1126" y="1962"/>
                  </a:lnTo>
                  <a:lnTo>
                    <a:pt x="1124" y="1960"/>
                  </a:lnTo>
                  <a:lnTo>
                    <a:pt x="1122" y="1956"/>
                  </a:lnTo>
                  <a:lnTo>
                    <a:pt x="1122" y="1952"/>
                  </a:lnTo>
                  <a:lnTo>
                    <a:pt x="1122" y="1950"/>
                  </a:lnTo>
                  <a:lnTo>
                    <a:pt x="1120" y="1948"/>
                  </a:lnTo>
                  <a:lnTo>
                    <a:pt x="1116" y="1956"/>
                  </a:lnTo>
                  <a:lnTo>
                    <a:pt x="1118" y="1962"/>
                  </a:lnTo>
                  <a:lnTo>
                    <a:pt x="1120" y="1970"/>
                  </a:lnTo>
                  <a:lnTo>
                    <a:pt x="1118" y="1972"/>
                  </a:lnTo>
                  <a:lnTo>
                    <a:pt x="1116" y="1976"/>
                  </a:lnTo>
                  <a:lnTo>
                    <a:pt x="1114" y="1980"/>
                  </a:lnTo>
                  <a:lnTo>
                    <a:pt x="1114" y="1982"/>
                  </a:lnTo>
                  <a:lnTo>
                    <a:pt x="1114" y="1988"/>
                  </a:lnTo>
                  <a:lnTo>
                    <a:pt x="1114" y="1990"/>
                  </a:lnTo>
                  <a:lnTo>
                    <a:pt x="1114" y="1992"/>
                  </a:lnTo>
                  <a:lnTo>
                    <a:pt x="1112" y="1990"/>
                  </a:lnTo>
                  <a:lnTo>
                    <a:pt x="1114" y="1990"/>
                  </a:lnTo>
                  <a:lnTo>
                    <a:pt x="1114" y="1988"/>
                  </a:lnTo>
                  <a:lnTo>
                    <a:pt x="1112" y="1982"/>
                  </a:lnTo>
                  <a:lnTo>
                    <a:pt x="1110" y="1982"/>
                  </a:lnTo>
                  <a:lnTo>
                    <a:pt x="1110" y="1984"/>
                  </a:lnTo>
                  <a:lnTo>
                    <a:pt x="1110" y="1988"/>
                  </a:lnTo>
                  <a:lnTo>
                    <a:pt x="1104" y="1996"/>
                  </a:lnTo>
                  <a:lnTo>
                    <a:pt x="1104" y="1998"/>
                  </a:lnTo>
                  <a:lnTo>
                    <a:pt x="1102" y="1998"/>
                  </a:lnTo>
                  <a:lnTo>
                    <a:pt x="1102" y="2000"/>
                  </a:lnTo>
                  <a:lnTo>
                    <a:pt x="1102" y="2004"/>
                  </a:lnTo>
                  <a:lnTo>
                    <a:pt x="1100" y="2006"/>
                  </a:lnTo>
                  <a:lnTo>
                    <a:pt x="1098" y="2008"/>
                  </a:lnTo>
                  <a:lnTo>
                    <a:pt x="1094" y="2008"/>
                  </a:lnTo>
                  <a:lnTo>
                    <a:pt x="1094" y="2010"/>
                  </a:lnTo>
                  <a:lnTo>
                    <a:pt x="1092" y="2012"/>
                  </a:lnTo>
                  <a:lnTo>
                    <a:pt x="1092" y="2014"/>
                  </a:lnTo>
                  <a:lnTo>
                    <a:pt x="1078" y="2016"/>
                  </a:lnTo>
                  <a:lnTo>
                    <a:pt x="1076" y="2018"/>
                  </a:lnTo>
                  <a:lnTo>
                    <a:pt x="1074" y="2022"/>
                  </a:lnTo>
                  <a:lnTo>
                    <a:pt x="1074" y="2030"/>
                  </a:lnTo>
                  <a:lnTo>
                    <a:pt x="1072" y="2034"/>
                  </a:lnTo>
                  <a:lnTo>
                    <a:pt x="1070" y="2036"/>
                  </a:lnTo>
                  <a:lnTo>
                    <a:pt x="1068" y="2036"/>
                  </a:lnTo>
                  <a:lnTo>
                    <a:pt x="1066" y="2038"/>
                  </a:lnTo>
                  <a:lnTo>
                    <a:pt x="1064" y="2038"/>
                  </a:lnTo>
                  <a:lnTo>
                    <a:pt x="1062" y="2038"/>
                  </a:lnTo>
                  <a:lnTo>
                    <a:pt x="1062" y="2040"/>
                  </a:lnTo>
                  <a:lnTo>
                    <a:pt x="1060" y="2046"/>
                  </a:lnTo>
                  <a:lnTo>
                    <a:pt x="1062" y="2048"/>
                  </a:lnTo>
                  <a:lnTo>
                    <a:pt x="1062" y="2052"/>
                  </a:lnTo>
                  <a:lnTo>
                    <a:pt x="1058" y="2052"/>
                  </a:lnTo>
                  <a:lnTo>
                    <a:pt x="1056" y="2056"/>
                  </a:lnTo>
                  <a:lnTo>
                    <a:pt x="1058" y="2058"/>
                  </a:lnTo>
                  <a:lnTo>
                    <a:pt x="1060" y="2058"/>
                  </a:lnTo>
                  <a:lnTo>
                    <a:pt x="1064" y="2060"/>
                  </a:lnTo>
                  <a:lnTo>
                    <a:pt x="1064" y="2064"/>
                  </a:lnTo>
                  <a:lnTo>
                    <a:pt x="1060" y="2066"/>
                  </a:lnTo>
                  <a:lnTo>
                    <a:pt x="1056" y="2068"/>
                  </a:lnTo>
                  <a:lnTo>
                    <a:pt x="1056" y="2070"/>
                  </a:lnTo>
                  <a:lnTo>
                    <a:pt x="1054" y="2072"/>
                  </a:lnTo>
                  <a:lnTo>
                    <a:pt x="1048" y="2082"/>
                  </a:lnTo>
                  <a:lnTo>
                    <a:pt x="1044" y="2090"/>
                  </a:lnTo>
                  <a:lnTo>
                    <a:pt x="1044" y="2092"/>
                  </a:lnTo>
                  <a:lnTo>
                    <a:pt x="1042" y="2094"/>
                  </a:lnTo>
                  <a:lnTo>
                    <a:pt x="1038" y="2102"/>
                  </a:lnTo>
                  <a:lnTo>
                    <a:pt x="1038" y="2104"/>
                  </a:lnTo>
                  <a:lnTo>
                    <a:pt x="1032" y="2114"/>
                  </a:lnTo>
                  <a:lnTo>
                    <a:pt x="1030" y="2114"/>
                  </a:lnTo>
                  <a:lnTo>
                    <a:pt x="1024" y="2122"/>
                  </a:lnTo>
                  <a:lnTo>
                    <a:pt x="1016" y="2128"/>
                  </a:lnTo>
                  <a:lnTo>
                    <a:pt x="1014" y="2130"/>
                  </a:lnTo>
                  <a:lnTo>
                    <a:pt x="1002" y="2138"/>
                  </a:lnTo>
                  <a:lnTo>
                    <a:pt x="1000" y="2142"/>
                  </a:lnTo>
                  <a:lnTo>
                    <a:pt x="998" y="2142"/>
                  </a:lnTo>
                  <a:lnTo>
                    <a:pt x="996" y="2144"/>
                  </a:lnTo>
                  <a:lnTo>
                    <a:pt x="994" y="2144"/>
                  </a:lnTo>
                  <a:lnTo>
                    <a:pt x="992" y="2146"/>
                  </a:lnTo>
                  <a:lnTo>
                    <a:pt x="990" y="2146"/>
                  </a:lnTo>
                  <a:lnTo>
                    <a:pt x="984" y="2142"/>
                  </a:lnTo>
                  <a:lnTo>
                    <a:pt x="984" y="2140"/>
                  </a:lnTo>
                  <a:lnTo>
                    <a:pt x="984" y="2138"/>
                  </a:lnTo>
                  <a:lnTo>
                    <a:pt x="984" y="2136"/>
                  </a:lnTo>
                  <a:lnTo>
                    <a:pt x="986" y="2134"/>
                  </a:lnTo>
                  <a:lnTo>
                    <a:pt x="986" y="2132"/>
                  </a:lnTo>
                  <a:lnTo>
                    <a:pt x="986" y="2130"/>
                  </a:lnTo>
                  <a:lnTo>
                    <a:pt x="988" y="2128"/>
                  </a:lnTo>
                  <a:lnTo>
                    <a:pt x="988" y="2126"/>
                  </a:lnTo>
                  <a:lnTo>
                    <a:pt x="988" y="2122"/>
                  </a:lnTo>
                  <a:lnTo>
                    <a:pt x="988" y="2120"/>
                  </a:lnTo>
                  <a:lnTo>
                    <a:pt x="988" y="2118"/>
                  </a:lnTo>
                  <a:lnTo>
                    <a:pt x="988" y="2116"/>
                  </a:lnTo>
                  <a:lnTo>
                    <a:pt x="988" y="2114"/>
                  </a:lnTo>
                  <a:lnTo>
                    <a:pt x="988" y="2112"/>
                  </a:lnTo>
                  <a:lnTo>
                    <a:pt x="990" y="2110"/>
                  </a:lnTo>
                  <a:lnTo>
                    <a:pt x="990" y="2108"/>
                  </a:lnTo>
                  <a:lnTo>
                    <a:pt x="992" y="2108"/>
                  </a:lnTo>
                  <a:lnTo>
                    <a:pt x="994" y="2108"/>
                  </a:lnTo>
                  <a:lnTo>
                    <a:pt x="1000" y="2102"/>
                  </a:lnTo>
                  <a:lnTo>
                    <a:pt x="1004" y="2098"/>
                  </a:lnTo>
                  <a:lnTo>
                    <a:pt x="1008" y="2094"/>
                  </a:lnTo>
                  <a:lnTo>
                    <a:pt x="1012" y="2090"/>
                  </a:lnTo>
                  <a:lnTo>
                    <a:pt x="1010" y="2088"/>
                  </a:lnTo>
                  <a:lnTo>
                    <a:pt x="1008" y="2086"/>
                  </a:lnTo>
                  <a:lnTo>
                    <a:pt x="1004" y="2084"/>
                  </a:lnTo>
                  <a:lnTo>
                    <a:pt x="1000" y="2082"/>
                  </a:lnTo>
                  <a:lnTo>
                    <a:pt x="998" y="2082"/>
                  </a:lnTo>
                  <a:lnTo>
                    <a:pt x="994" y="2076"/>
                  </a:lnTo>
                  <a:lnTo>
                    <a:pt x="992" y="2074"/>
                  </a:lnTo>
                  <a:lnTo>
                    <a:pt x="992" y="2072"/>
                  </a:lnTo>
                  <a:lnTo>
                    <a:pt x="988" y="2070"/>
                  </a:lnTo>
                  <a:lnTo>
                    <a:pt x="988" y="2066"/>
                  </a:lnTo>
                  <a:lnTo>
                    <a:pt x="990" y="2064"/>
                  </a:lnTo>
                  <a:lnTo>
                    <a:pt x="988" y="2060"/>
                  </a:lnTo>
                  <a:lnTo>
                    <a:pt x="986" y="2054"/>
                  </a:lnTo>
                  <a:lnTo>
                    <a:pt x="980" y="2048"/>
                  </a:lnTo>
                  <a:lnTo>
                    <a:pt x="978" y="2046"/>
                  </a:lnTo>
                  <a:lnTo>
                    <a:pt x="972" y="2042"/>
                  </a:lnTo>
                  <a:lnTo>
                    <a:pt x="970" y="2042"/>
                  </a:lnTo>
                  <a:lnTo>
                    <a:pt x="966" y="2042"/>
                  </a:lnTo>
                  <a:lnTo>
                    <a:pt x="962" y="2036"/>
                  </a:lnTo>
                  <a:lnTo>
                    <a:pt x="958" y="2034"/>
                  </a:lnTo>
                  <a:lnTo>
                    <a:pt x="958" y="2032"/>
                  </a:lnTo>
                  <a:lnTo>
                    <a:pt x="956" y="2030"/>
                  </a:lnTo>
                  <a:lnTo>
                    <a:pt x="954" y="2030"/>
                  </a:lnTo>
                  <a:lnTo>
                    <a:pt x="954" y="2024"/>
                  </a:lnTo>
                  <a:lnTo>
                    <a:pt x="948" y="2016"/>
                  </a:lnTo>
                  <a:lnTo>
                    <a:pt x="944" y="2016"/>
                  </a:lnTo>
                  <a:lnTo>
                    <a:pt x="942" y="2016"/>
                  </a:lnTo>
                  <a:lnTo>
                    <a:pt x="940" y="2016"/>
                  </a:lnTo>
                  <a:lnTo>
                    <a:pt x="938" y="2016"/>
                  </a:lnTo>
                  <a:lnTo>
                    <a:pt x="938" y="2014"/>
                  </a:lnTo>
                  <a:lnTo>
                    <a:pt x="936" y="2014"/>
                  </a:lnTo>
                  <a:lnTo>
                    <a:pt x="934" y="2012"/>
                  </a:lnTo>
                  <a:lnTo>
                    <a:pt x="932" y="2010"/>
                  </a:lnTo>
                  <a:lnTo>
                    <a:pt x="930" y="2008"/>
                  </a:lnTo>
                  <a:lnTo>
                    <a:pt x="926" y="2008"/>
                  </a:lnTo>
                  <a:lnTo>
                    <a:pt x="920" y="2004"/>
                  </a:lnTo>
                  <a:lnTo>
                    <a:pt x="918" y="2002"/>
                  </a:lnTo>
                  <a:lnTo>
                    <a:pt x="916" y="1994"/>
                  </a:lnTo>
                  <a:lnTo>
                    <a:pt x="914" y="1992"/>
                  </a:lnTo>
                  <a:lnTo>
                    <a:pt x="912" y="1988"/>
                  </a:lnTo>
                  <a:lnTo>
                    <a:pt x="908" y="1982"/>
                  </a:lnTo>
                  <a:lnTo>
                    <a:pt x="904" y="1980"/>
                  </a:lnTo>
                  <a:lnTo>
                    <a:pt x="902" y="1980"/>
                  </a:lnTo>
                  <a:lnTo>
                    <a:pt x="902" y="1982"/>
                  </a:lnTo>
                  <a:lnTo>
                    <a:pt x="900" y="1986"/>
                  </a:lnTo>
                  <a:lnTo>
                    <a:pt x="894" y="1990"/>
                  </a:lnTo>
                  <a:lnTo>
                    <a:pt x="890" y="1992"/>
                  </a:lnTo>
                  <a:lnTo>
                    <a:pt x="888" y="1992"/>
                  </a:lnTo>
                  <a:lnTo>
                    <a:pt x="884" y="1992"/>
                  </a:lnTo>
                  <a:lnTo>
                    <a:pt x="882" y="1992"/>
                  </a:lnTo>
                  <a:lnTo>
                    <a:pt x="884" y="1986"/>
                  </a:lnTo>
                  <a:lnTo>
                    <a:pt x="884" y="1984"/>
                  </a:lnTo>
                  <a:lnTo>
                    <a:pt x="884" y="1982"/>
                  </a:lnTo>
                  <a:lnTo>
                    <a:pt x="886" y="1980"/>
                  </a:lnTo>
                  <a:lnTo>
                    <a:pt x="886" y="1978"/>
                  </a:lnTo>
                  <a:lnTo>
                    <a:pt x="884" y="1978"/>
                  </a:lnTo>
                  <a:lnTo>
                    <a:pt x="880" y="1970"/>
                  </a:lnTo>
                  <a:lnTo>
                    <a:pt x="874" y="1962"/>
                  </a:lnTo>
                  <a:lnTo>
                    <a:pt x="872" y="1962"/>
                  </a:lnTo>
                  <a:lnTo>
                    <a:pt x="870" y="1960"/>
                  </a:lnTo>
                  <a:lnTo>
                    <a:pt x="868" y="1958"/>
                  </a:lnTo>
                  <a:lnTo>
                    <a:pt x="862" y="1952"/>
                  </a:lnTo>
                  <a:lnTo>
                    <a:pt x="862" y="1950"/>
                  </a:lnTo>
                  <a:lnTo>
                    <a:pt x="860" y="1950"/>
                  </a:lnTo>
                  <a:lnTo>
                    <a:pt x="860" y="1948"/>
                  </a:lnTo>
                  <a:lnTo>
                    <a:pt x="856" y="1944"/>
                  </a:lnTo>
                  <a:lnTo>
                    <a:pt x="850" y="1938"/>
                  </a:lnTo>
                  <a:lnTo>
                    <a:pt x="846" y="1936"/>
                  </a:lnTo>
                  <a:lnTo>
                    <a:pt x="842" y="1936"/>
                  </a:lnTo>
                  <a:lnTo>
                    <a:pt x="836" y="1936"/>
                  </a:lnTo>
                  <a:lnTo>
                    <a:pt x="834" y="1938"/>
                  </a:lnTo>
                  <a:lnTo>
                    <a:pt x="832" y="1940"/>
                  </a:lnTo>
                  <a:lnTo>
                    <a:pt x="832" y="1942"/>
                  </a:lnTo>
                  <a:lnTo>
                    <a:pt x="830" y="1946"/>
                  </a:lnTo>
                  <a:lnTo>
                    <a:pt x="828" y="1946"/>
                  </a:lnTo>
                  <a:lnTo>
                    <a:pt x="824" y="1946"/>
                  </a:lnTo>
                  <a:lnTo>
                    <a:pt x="824" y="1944"/>
                  </a:lnTo>
                  <a:lnTo>
                    <a:pt x="822" y="1944"/>
                  </a:lnTo>
                  <a:lnTo>
                    <a:pt x="814" y="1944"/>
                  </a:lnTo>
                  <a:lnTo>
                    <a:pt x="812" y="1944"/>
                  </a:lnTo>
                  <a:lnTo>
                    <a:pt x="812" y="1942"/>
                  </a:lnTo>
                  <a:lnTo>
                    <a:pt x="812" y="1940"/>
                  </a:lnTo>
                  <a:lnTo>
                    <a:pt x="810" y="1940"/>
                  </a:lnTo>
                  <a:lnTo>
                    <a:pt x="812" y="1940"/>
                  </a:lnTo>
                  <a:lnTo>
                    <a:pt x="814" y="1938"/>
                  </a:lnTo>
                  <a:lnTo>
                    <a:pt x="816" y="1936"/>
                  </a:lnTo>
                  <a:lnTo>
                    <a:pt x="824" y="1930"/>
                  </a:lnTo>
                  <a:lnTo>
                    <a:pt x="824" y="1928"/>
                  </a:lnTo>
                  <a:lnTo>
                    <a:pt x="826" y="1924"/>
                  </a:lnTo>
                  <a:lnTo>
                    <a:pt x="826" y="1920"/>
                  </a:lnTo>
                  <a:lnTo>
                    <a:pt x="828" y="1920"/>
                  </a:lnTo>
                  <a:lnTo>
                    <a:pt x="828" y="1918"/>
                  </a:lnTo>
                  <a:lnTo>
                    <a:pt x="830" y="1918"/>
                  </a:lnTo>
                  <a:lnTo>
                    <a:pt x="832" y="1918"/>
                  </a:lnTo>
                  <a:lnTo>
                    <a:pt x="834" y="1918"/>
                  </a:lnTo>
                  <a:lnTo>
                    <a:pt x="836" y="1918"/>
                  </a:lnTo>
                  <a:lnTo>
                    <a:pt x="838" y="1916"/>
                  </a:lnTo>
                  <a:lnTo>
                    <a:pt x="840" y="1914"/>
                  </a:lnTo>
                  <a:lnTo>
                    <a:pt x="846" y="1906"/>
                  </a:lnTo>
                  <a:lnTo>
                    <a:pt x="852" y="1902"/>
                  </a:lnTo>
                  <a:lnTo>
                    <a:pt x="858" y="1896"/>
                  </a:lnTo>
                  <a:lnTo>
                    <a:pt x="862" y="1890"/>
                  </a:lnTo>
                  <a:lnTo>
                    <a:pt x="862" y="1888"/>
                  </a:lnTo>
                  <a:lnTo>
                    <a:pt x="864" y="1886"/>
                  </a:lnTo>
                  <a:lnTo>
                    <a:pt x="866" y="1884"/>
                  </a:lnTo>
                  <a:lnTo>
                    <a:pt x="868" y="1884"/>
                  </a:lnTo>
                  <a:lnTo>
                    <a:pt x="870" y="1882"/>
                  </a:lnTo>
                  <a:lnTo>
                    <a:pt x="872" y="1882"/>
                  </a:lnTo>
                  <a:lnTo>
                    <a:pt x="874" y="1880"/>
                  </a:lnTo>
                  <a:lnTo>
                    <a:pt x="880" y="1868"/>
                  </a:lnTo>
                  <a:lnTo>
                    <a:pt x="882" y="1868"/>
                  </a:lnTo>
                  <a:lnTo>
                    <a:pt x="882" y="1866"/>
                  </a:lnTo>
                  <a:lnTo>
                    <a:pt x="888" y="1864"/>
                  </a:lnTo>
                  <a:lnTo>
                    <a:pt x="894" y="1858"/>
                  </a:lnTo>
                  <a:lnTo>
                    <a:pt x="896" y="1854"/>
                  </a:lnTo>
                  <a:lnTo>
                    <a:pt x="898" y="1850"/>
                  </a:lnTo>
                  <a:lnTo>
                    <a:pt x="904" y="1844"/>
                  </a:lnTo>
                  <a:lnTo>
                    <a:pt x="906" y="1844"/>
                  </a:lnTo>
                  <a:lnTo>
                    <a:pt x="912" y="1844"/>
                  </a:lnTo>
                  <a:lnTo>
                    <a:pt x="912" y="1846"/>
                  </a:lnTo>
                  <a:lnTo>
                    <a:pt x="912" y="1848"/>
                  </a:lnTo>
                  <a:lnTo>
                    <a:pt x="914" y="1844"/>
                  </a:lnTo>
                  <a:lnTo>
                    <a:pt x="914" y="1842"/>
                  </a:lnTo>
                  <a:lnTo>
                    <a:pt x="912" y="1840"/>
                  </a:lnTo>
                  <a:lnTo>
                    <a:pt x="910" y="1838"/>
                  </a:lnTo>
                  <a:lnTo>
                    <a:pt x="910" y="1836"/>
                  </a:lnTo>
                  <a:lnTo>
                    <a:pt x="912" y="1836"/>
                  </a:lnTo>
                  <a:lnTo>
                    <a:pt x="914" y="1836"/>
                  </a:lnTo>
                  <a:lnTo>
                    <a:pt x="914" y="1834"/>
                  </a:lnTo>
                  <a:lnTo>
                    <a:pt x="918" y="1832"/>
                  </a:lnTo>
                  <a:lnTo>
                    <a:pt x="920" y="1832"/>
                  </a:lnTo>
                  <a:lnTo>
                    <a:pt x="926" y="1830"/>
                  </a:lnTo>
                  <a:lnTo>
                    <a:pt x="930" y="1826"/>
                  </a:lnTo>
                  <a:lnTo>
                    <a:pt x="932" y="1824"/>
                  </a:lnTo>
                  <a:lnTo>
                    <a:pt x="934" y="1822"/>
                  </a:lnTo>
                  <a:lnTo>
                    <a:pt x="942" y="1818"/>
                  </a:lnTo>
                  <a:lnTo>
                    <a:pt x="948" y="1818"/>
                  </a:lnTo>
                  <a:lnTo>
                    <a:pt x="950" y="1816"/>
                  </a:lnTo>
                  <a:lnTo>
                    <a:pt x="956" y="1812"/>
                  </a:lnTo>
                  <a:lnTo>
                    <a:pt x="956" y="1810"/>
                  </a:lnTo>
                  <a:lnTo>
                    <a:pt x="956" y="1808"/>
                  </a:lnTo>
                  <a:lnTo>
                    <a:pt x="962" y="1802"/>
                  </a:lnTo>
                  <a:lnTo>
                    <a:pt x="964" y="1800"/>
                  </a:lnTo>
                  <a:lnTo>
                    <a:pt x="964" y="1802"/>
                  </a:lnTo>
                  <a:lnTo>
                    <a:pt x="968" y="1802"/>
                  </a:lnTo>
                  <a:lnTo>
                    <a:pt x="970" y="1802"/>
                  </a:lnTo>
                  <a:lnTo>
                    <a:pt x="976" y="1800"/>
                  </a:lnTo>
                  <a:lnTo>
                    <a:pt x="980" y="1798"/>
                  </a:lnTo>
                  <a:lnTo>
                    <a:pt x="984" y="1798"/>
                  </a:lnTo>
                  <a:lnTo>
                    <a:pt x="988" y="1796"/>
                  </a:lnTo>
                  <a:lnTo>
                    <a:pt x="992" y="1794"/>
                  </a:lnTo>
                  <a:lnTo>
                    <a:pt x="996" y="1790"/>
                  </a:lnTo>
                  <a:lnTo>
                    <a:pt x="998" y="1790"/>
                  </a:lnTo>
                  <a:lnTo>
                    <a:pt x="1000" y="1790"/>
                  </a:lnTo>
                  <a:lnTo>
                    <a:pt x="1000" y="1788"/>
                  </a:lnTo>
                  <a:lnTo>
                    <a:pt x="1002" y="1786"/>
                  </a:lnTo>
                  <a:lnTo>
                    <a:pt x="1004" y="1784"/>
                  </a:lnTo>
                  <a:lnTo>
                    <a:pt x="1010" y="1782"/>
                  </a:lnTo>
                  <a:lnTo>
                    <a:pt x="1012" y="1782"/>
                  </a:lnTo>
                  <a:lnTo>
                    <a:pt x="1012" y="1784"/>
                  </a:lnTo>
                  <a:lnTo>
                    <a:pt x="1014" y="1782"/>
                  </a:lnTo>
                  <a:lnTo>
                    <a:pt x="1018" y="1776"/>
                  </a:lnTo>
                  <a:lnTo>
                    <a:pt x="1018" y="1774"/>
                  </a:lnTo>
                  <a:lnTo>
                    <a:pt x="1020" y="1770"/>
                  </a:lnTo>
                  <a:lnTo>
                    <a:pt x="1020" y="1768"/>
                  </a:lnTo>
                  <a:lnTo>
                    <a:pt x="1020" y="1762"/>
                  </a:lnTo>
                  <a:lnTo>
                    <a:pt x="1020" y="1758"/>
                  </a:lnTo>
                  <a:lnTo>
                    <a:pt x="1020" y="1756"/>
                  </a:lnTo>
                  <a:lnTo>
                    <a:pt x="1022" y="1748"/>
                  </a:lnTo>
                  <a:lnTo>
                    <a:pt x="1024" y="1740"/>
                  </a:lnTo>
                  <a:lnTo>
                    <a:pt x="1024" y="1738"/>
                  </a:lnTo>
                  <a:lnTo>
                    <a:pt x="1026" y="1738"/>
                  </a:lnTo>
                  <a:lnTo>
                    <a:pt x="1026" y="1736"/>
                  </a:lnTo>
                  <a:lnTo>
                    <a:pt x="1026" y="1734"/>
                  </a:lnTo>
                  <a:lnTo>
                    <a:pt x="1026" y="1732"/>
                  </a:lnTo>
                  <a:lnTo>
                    <a:pt x="1026" y="1730"/>
                  </a:lnTo>
                  <a:lnTo>
                    <a:pt x="1024" y="1724"/>
                  </a:lnTo>
                  <a:lnTo>
                    <a:pt x="1020" y="1718"/>
                  </a:lnTo>
                  <a:lnTo>
                    <a:pt x="1020" y="1712"/>
                  </a:lnTo>
                  <a:lnTo>
                    <a:pt x="1020" y="1710"/>
                  </a:lnTo>
                  <a:lnTo>
                    <a:pt x="1020" y="1708"/>
                  </a:lnTo>
                  <a:lnTo>
                    <a:pt x="1020" y="1702"/>
                  </a:lnTo>
                  <a:lnTo>
                    <a:pt x="1018" y="1700"/>
                  </a:lnTo>
                  <a:lnTo>
                    <a:pt x="1008" y="1690"/>
                  </a:lnTo>
                  <a:lnTo>
                    <a:pt x="1006" y="1694"/>
                  </a:lnTo>
                  <a:lnTo>
                    <a:pt x="1004" y="1694"/>
                  </a:lnTo>
                  <a:lnTo>
                    <a:pt x="1000" y="1694"/>
                  </a:lnTo>
                  <a:lnTo>
                    <a:pt x="998" y="1694"/>
                  </a:lnTo>
                  <a:lnTo>
                    <a:pt x="994" y="1696"/>
                  </a:lnTo>
                  <a:lnTo>
                    <a:pt x="990" y="1698"/>
                  </a:lnTo>
                  <a:lnTo>
                    <a:pt x="986" y="1694"/>
                  </a:lnTo>
                  <a:lnTo>
                    <a:pt x="982" y="1694"/>
                  </a:lnTo>
                  <a:lnTo>
                    <a:pt x="982" y="1690"/>
                  </a:lnTo>
                  <a:lnTo>
                    <a:pt x="982" y="1686"/>
                  </a:lnTo>
                  <a:lnTo>
                    <a:pt x="986" y="1682"/>
                  </a:lnTo>
                  <a:lnTo>
                    <a:pt x="988" y="1680"/>
                  </a:lnTo>
                  <a:lnTo>
                    <a:pt x="990" y="1678"/>
                  </a:lnTo>
                  <a:lnTo>
                    <a:pt x="994" y="1672"/>
                  </a:lnTo>
                  <a:lnTo>
                    <a:pt x="994" y="1670"/>
                  </a:lnTo>
                  <a:lnTo>
                    <a:pt x="992" y="1668"/>
                  </a:lnTo>
                  <a:lnTo>
                    <a:pt x="992" y="1666"/>
                  </a:lnTo>
                  <a:lnTo>
                    <a:pt x="994" y="1664"/>
                  </a:lnTo>
                  <a:lnTo>
                    <a:pt x="996" y="1654"/>
                  </a:lnTo>
                  <a:lnTo>
                    <a:pt x="998" y="1652"/>
                  </a:lnTo>
                  <a:lnTo>
                    <a:pt x="1000" y="1646"/>
                  </a:lnTo>
                  <a:lnTo>
                    <a:pt x="1002" y="1646"/>
                  </a:lnTo>
                  <a:lnTo>
                    <a:pt x="1002" y="1644"/>
                  </a:lnTo>
                  <a:lnTo>
                    <a:pt x="1002" y="1642"/>
                  </a:lnTo>
                  <a:lnTo>
                    <a:pt x="1002" y="1638"/>
                  </a:lnTo>
                  <a:lnTo>
                    <a:pt x="1002" y="1636"/>
                  </a:lnTo>
                  <a:lnTo>
                    <a:pt x="1002" y="1634"/>
                  </a:lnTo>
                  <a:lnTo>
                    <a:pt x="1002" y="1632"/>
                  </a:lnTo>
                  <a:lnTo>
                    <a:pt x="1004" y="1632"/>
                  </a:lnTo>
                  <a:lnTo>
                    <a:pt x="1006" y="1630"/>
                  </a:lnTo>
                  <a:lnTo>
                    <a:pt x="1006" y="1628"/>
                  </a:lnTo>
                  <a:lnTo>
                    <a:pt x="1006" y="1624"/>
                  </a:lnTo>
                  <a:lnTo>
                    <a:pt x="1004" y="1622"/>
                  </a:lnTo>
                  <a:lnTo>
                    <a:pt x="1004" y="1616"/>
                  </a:lnTo>
                  <a:lnTo>
                    <a:pt x="1004" y="1614"/>
                  </a:lnTo>
                  <a:lnTo>
                    <a:pt x="1006" y="1612"/>
                  </a:lnTo>
                  <a:lnTo>
                    <a:pt x="1008" y="1612"/>
                  </a:lnTo>
                  <a:lnTo>
                    <a:pt x="1006" y="1610"/>
                  </a:lnTo>
                  <a:lnTo>
                    <a:pt x="1000" y="1604"/>
                  </a:lnTo>
                  <a:lnTo>
                    <a:pt x="994" y="1600"/>
                  </a:lnTo>
                  <a:lnTo>
                    <a:pt x="990" y="1596"/>
                  </a:lnTo>
                  <a:lnTo>
                    <a:pt x="978" y="1602"/>
                  </a:lnTo>
                  <a:lnTo>
                    <a:pt x="976" y="1604"/>
                  </a:lnTo>
                  <a:lnTo>
                    <a:pt x="974" y="1606"/>
                  </a:lnTo>
                  <a:lnTo>
                    <a:pt x="968" y="1606"/>
                  </a:lnTo>
                  <a:lnTo>
                    <a:pt x="964" y="1608"/>
                  </a:lnTo>
                  <a:lnTo>
                    <a:pt x="962" y="1608"/>
                  </a:lnTo>
                  <a:lnTo>
                    <a:pt x="960" y="1608"/>
                  </a:lnTo>
                  <a:lnTo>
                    <a:pt x="952" y="1606"/>
                  </a:lnTo>
                  <a:lnTo>
                    <a:pt x="950" y="1604"/>
                  </a:lnTo>
                  <a:lnTo>
                    <a:pt x="950" y="1602"/>
                  </a:lnTo>
                  <a:lnTo>
                    <a:pt x="950" y="1600"/>
                  </a:lnTo>
                  <a:lnTo>
                    <a:pt x="950" y="1594"/>
                  </a:lnTo>
                  <a:lnTo>
                    <a:pt x="950" y="1592"/>
                  </a:lnTo>
                  <a:lnTo>
                    <a:pt x="950" y="1590"/>
                  </a:lnTo>
                  <a:lnTo>
                    <a:pt x="948" y="1588"/>
                  </a:lnTo>
                  <a:lnTo>
                    <a:pt x="948" y="1586"/>
                  </a:lnTo>
                  <a:lnTo>
                    <a:pt x="946" y="1586"/>
                  </a:lnTo>
                  <a:lnTo>
                    <a:pt x="946" y="1584"/>
                  </a:lnTo>
                  <a:lnTo>
                    <a:pt x="946" y="1576"/>
                  </a:lnTo>
                  <a:lnTo>
                    <a:pt x="948" y="1572"/>
                  </a:lnTo>
                  <a:lnTo>
                    <a:pt x="946" y="1570"/>
                  </a:lnTo>
                  <a:lnTo>
                    <a:pt x="946" y="1568"/>
                  </a:lnTo>
                  <a:lnTo>
                    <a:pt x="946" y="1558"/>
                  </a:lnTo>
                  <a:lnTo>
                    <a:pt x="944" y="1556"/>
                  </a:lnTo>
                  <a:lnTo>
                    <a:pt x="944" y="1552"/>
                  </a:lnTo>
                  <a:lnTo>
                    <a:pt x="944" y="1542"/>
                  </a:lnTo>
                  <a:lnTo>
                    <a:pt x="944" y="1540"/>
                  </a:lnTo>
                  <a:lnTo>
                    <a:pt x="944" y="1538"/>
                  </a:lnTo>
                  <a:lnTo>
                    <a:pt x="944" y="1536"/>
                  </a:lnTo>
                  <a:lnTo>
                    <a:pt x="946" y="1530"/>
                  </a:lnTo>
                  <a:lnTo>
                    <a:pt x="944" y="1530"/>
                  </a:lnTo>
                  <a:lnTo>
                    <a:pt x="942" y="1528"/>
                  </a:lnTo>
                  <a:lnTo>
                    <a:pt x="940" y="1526"/>
                  </a:lnTo>
                  <a:lnTo>
                    <a:pt x="940" y="1524"/>
                  </a:lnTo>
                  <a:lnTo>
                    <a:pt x="940" y="1522"/>
                  </a:lnTo>
                  <a:lnTo>
                    <a:pt x="940" y="1520"/>
                  </a:lnTo>
                  <a:lnTo>
                    <a:pt x="940" y="1518"/>
                  </a:lnTo>
                  <a:lnTo>
                    <a:pt x="934" y="1512"/>
                  </a:lnTo>
                  <a:lnTo>
                    <a:pt x="928" y="1510"/>
                  </a:lnTo>
                  <a:lnTo>
                    <a:pt x="926" y="1510"/>
                  </a:lnTo>
                  <a:lnTo>
                    <a:pt x="924" y="1510"/>
                  </a:lnTo>
                  <a:lnTo>
                    <a:pt x="918" y="1510"/>
                  </a:lnTo>
                  <a:lnTo>
                    <a:pt x="916" y="1510"/>
                  </a:lnTo>
                  <a:lnTo>
                    <a:pt x="912" y="1506"/>
                  </a:lnTo>
                  <a:lnTo>
                    <a:pt x="910" y="1504"/>
                  </a:lnTo>
                  <a:lnTo>
                    <a:pt x="908" y="1502"/>
                  </a:lnTo>
                  <a:lnTo>
                    <a:pt x="908" y="1500"/>
                  </a:lnTo>
                  <a:lnTo>
                    <a:pt x="908" y="1498"/>
                  </a:lnTo>
                  <a:lnTo>
                    <a:pt x="904" y="1498"/>
                  </a:lnTo>
                  <a:lnTo>
                    <a:pt x="902" y="1500"/>
                  </a:lnTo>
                  <a:lnTo>
                    <a:pt x="900" y="1502"/>
                  </a:lnTo>
                  <a:lnTo>
                    <a:pt x="898" y="1504"/>
                  </a:lnTo>
                  <a:lnTo>
                    <a:pt x="894" y="1508"/>
                  </a:lnTo>
                  <a:lnTo>
                    <a:pt x="892" y="1506"/>
                  </a:lnTo>
                  <a:lnTo>
                    <a:pt x="888" y="1506"/>
                  </a:lnTo>
                  <a:lnTo>
                    <a:pt x="888" y="1508"/>
                  </a:lnTo>
                  <a:lnTo>
                    <a:pt x="886" y="1508"/>
                  </a:lnTo>
                  <a:lnTo>
                    <a:pt x="882" y="1508"/>
                  </a:lnTo>
                  <a:lnTo>
                    <a:pt x="876" y="1506"/>
                  </a:lnTo>
                  <a:lnTo>
                    <a:pt x="868" y="1504"/>
                  </a:lnTo>
                  <a:lnTo>
                    <a:pt x="866" y="1504"/>
                  </a:lnTo>
                  <a:lnTo>
                    <a:pt x="864" y="1504"/>
                  </a:lnTo>
                  <a:lnTo>
                    <a:pt x="860" y="1504"/>
                  </a:lnTo>
                  <a:lnTo>
                    <a:pt x="856" y="1504"/>
                  </a:lnTo>
                  <a:lnTo>
                    <a:pt x="846" y="1502"/>
                  </a:lnTo>
                  <a:lnTo>
                    <a:pt x="844" y="1500"/>
                  </a:lnTo>
                  <a:lnTo>
                    <a:pt x="836" y="1498"/>
                  </a:lnTo>
                  <a:lnTo>
                    <a:pt x="836" y="1500"/>
                  </a:lnTo>
                  <a:lnTo>
                    <a:pt x="834" y="1500"/>
                  </a:lnTo>
                  <a:lnTo>
                    <a:pt x="832" y="1500"/>
                  </a:lnTo>
                  <a:lnTo>
                    <a:pt x="830" y="1498"/>
                  </a:lnTo>
                  <a:lnTo>
                    <a:pt x="826" y="1496"/>
                  </a:lnTo>
                  <a:lnTo>
                    <a:pt x="826" y="1494"/>
                  </a:lnTo>
                  <a:lnTo>
                    <a:pt x="826" y="1492"/>
                  </a:lnTo>
                  <a:lnTo>
                    <a:pt x="828" y="1490"/>
                  </a:lnTo>
                  <a:lnTo>
                    <a:pt x="830" y="1480"/>
                  </a:lnTo>
                  <a:lnTo>
                    <a:pt x="830" y="1472"/>
                  </a:lnTo>
                  <a:lnTo>
                    <a:pt x="830" y="1464"/>
                  </a:lnTo>
                  <a:lnTo>
                    <a:pt x="832" y="1462"/>
                  </a:lnTo>
                  <a:lnTo>
                    <a:pt x="832" y="1460"/>
                  </a:lnTo>
                  <a:lnTo>
                    <a:pt x="834" y="1458"/>
                  </a:lnTo>
                  <a:lnTo>
                    <a:pt x="836" y="1456"/>
                  </a:lnTo>
                  <a:lnTo>
                    <a:pt x="838" y="1436"/>
                  </a:lnTo>
                  <a:lnTo>
                    <a:pt x="836" y="1428"/>
                  </a:lnTo>
                  <a:lnTo>
                    <a:pt x="838" y="1422"/>
                  </a:lnTo>
                  <a:lnTo>
                    <a:pt x="834" y="1420"/>
                  </a:lnTo>
                  <a:lnTo>
                    <a:pt x="834" y="1418"/>
                  </a:lnTo>
                  <a:lnTo>
                    <a:pt x="832" y="1422"/>
                  </a:lnTo>
                  <a:lnTo>
                    <a:pt x="832" y="1416"/>
                  </a:lnTo>
                  <a:lnTo>
                    <a:pt x="830" y="1410"/>
                  </a:lnTo>
                  <a:lnTo>
                    <a:pt x="828" y="1404"/>
                  </a:lnTo>
                  <a:lnTo>
                    <a:pt x="826" y="1400"/>
                  </a:lnTo>
                  <a:lnTo>
                    <a:pt x="824" y="1396"/>
                  </a:lnTo>
                  <a:lnTo>
                    <a:pt x="824" y="1394"/>
                  </a:lnTo>
                  <a:lnTo>
                    <a:pt x="824" y="1390"/>
                  </a:lnTo>
                  <a:lnTo>
                    <a:pt x="826" y="1390"/>
                  </a:lnTo>
                  <a:lnTo>
                    <a:pt x="838" y="1384"/>
                  </a:lnTo>
                  <a:lnTo>
                    <a:pt x="840" y="1380"/>
                  </a:lnTo>
                  <a:lnTo>
                    <a:pt x="828" y="1370"/>
                  </a:lnTo>
                  <a:lnTo>
                    <a:pt x="828" y="1368"/>
                  </a:lnTo>
                  <a:lnTo>
                    <a:pt x="830" y="1364"/>
                  </a:lnTo>
                  <a:lnTo>
                    <a:pt x="836" y="1350"/>
                  </a:lnTo>
                  <a:lnTo>
                    <a:pt x="842" y="1338"/>
                  </a:lnTo>
                  <a:lnTo>
                    <a:pt x="844" y="1334"/>
                  </a:lnTo>
                  <a:lnTo>
                    <a:pt x="846" y="1332"/>
                  </a:lnTo>
                  <a:lnTo>
                    <a:pt x="848" y="1330"/>
                  </a:lnTo>
                  <a:lnTo>
                    <a:pt x="852" y="1330"/>
                  </a:lnTo>
                  <a:lnTo>
                    <a:pt x="852" y="1324"/>
                  </a:lnTo>
                  <a:lnTo>
                    <a:pt x="850" y="1322"/>
                  </a:lnTo>
                  <a:lnTo>
                    <a:pt x="848" y="1322"/>
                  </a:lnTo>
                  <a:lnTo>
                    <a:pt x="856" y="1298"/>
                  </a:lnTo>
                  <a:lnTo>
                    <a:pt x="860" y="1288"/>
                  </a:lnTo>
                  <a:lnTo>
                    <a:pt x="862" y="1286"/>
                  </a:lnTo>
                  <a:lnTo>
                    <a:pt x="864" y="1284"/>
                  </a:lnTo>
                  <a:lnTo>
                    <a:pt x="860" y="1280"/>
                  </a:lnTo>
                  <a:lnTo>
                    <a:pt x="854" y="1264"/>
                  </a:lnTo>
                  <a:lnTo>
                    <a:pt x="854" y="1262"/>
                  </a:lnTo>
                  <a:lnTo>
                    <a:pt x="854" y="1260"/>
                  </a:lnTo>
                  <a:lnTo>
                    <a:pt x="854" y="1258"/>
                  </a:lnTo>
                  <a:lnTo>
                    <a:pt x="852" y="1256"/>
                  </a:lnTo>
                  <a:lnTo>
                    <a:pt x="852" y="1254"/>
                  </a:lnTo>
                  <a:lnTo>
                    <a:pt x="852" y="1252"/>
                  </a:lnTo>
                  <a:lnTo>
                    <a:pt x="852" y="1250"/>
                  </a:lnTo>
                  <a:lnTo>
                    <a:pt x="852" y="1248"/>
                  </a:lnTo>
                  <a:lnTo>
                    <a:pt x="846" y="1244"/>
                  </a:lnTo>
                  <a:lnTo>
                    <a:pt x="846" y="1242"/>
                  </a:lnTo>
                  <a:lnTo>
                    <a:pt x="840" y="1246"/>
                  </a:lnTo>
                  <a:lnTo>
                    <a:pt x="840" y="1244"/>
                  </a:lnTo>
                  <a:lnTo>
                    <a:pt x="836" y="1242"/>
                  </a:lnTo>
                  <a:lnTo>
                    <a:pt x="834" y="1242"/>
                  </a:lnTo>
                  <a:lnTo>
                    <a:pt x="834" y="1240"/>
                  </a:lnTo>
                  <a:lnTo>
                    <a:pt x="828" y="1236"/>
                  </a:lnTo>
                  <a:lnTo>
                    <a:pt x="826" y="1234"/>
                  </a:lnTo>
                  <a:lnTo>
                    <a:pt x="824" y="1234"/>
                  </a:lnTo>
                  <a:lnTo>
                    <a:pt x="822" y="1234"/>
                  </a:lnTo>
                  <a:lnTo>
                    <a:pt x="822" y="1232"/>
                  </a:lnTo>
                  <a:lnTo>
                    <a:pt x="820" y="1232"/>
                  </a:lnTo>
                  <a:lnTo>
                    <a:pt x="820" y="1230"/>
                  </a:lnTo>
                  <a:lnTo>
                    <a:pt x="820" y="1228"/>
                  </a:lnTo>
                  <a:lnTo>
                    <a:pt x="820" y="1224"/>
                  </a:lnTo>
                  <a:lnTo>
                    <a:pt x="820" y="1218"/>
                  </a:lnTo>
                  <a:lnTo>
                    <a:pt x="818" y="1216"/>
                  </a:lnTo>
                  <a:lnTo>
                    <a:pt x="818" y="1214"/>
                  </a:lnTo>
                  <a:lnTo>
                    <a:pt x="818" y="1212"/>
                  </a:lnTo>
                  <a:lnTo>
                    <a:pt x="816" y="1202"/>
                  </a:lnTo>
                  <a:lnTo>
                    <a:pt x="818" y="1200"/>
                  </a:lnTo>
                  <a:lnTo>
                    <a:pt x="818" y="1198"/>
                  </a:lnTo>
                  <a:lnTo>
                    <a:pt x="820" y="1194"/>
                  </a:lnTo>
                  <a:lnTo>
                    <a:pt x="822" y="1192"/>
                  </a:lnTo>
                  <a:lnTo>
                    <a:pt x="824" y="1192"/>
                  </a:lnTo>
                  <a:lnTo>
                    <a:pt x="824" y="1190"/>
                  </a:lnTo>
                  <a:lnTo>
                    <a:pt x="826" y="1184"/>
                  </a:lnTo>
                  <a:lnTo>
                    <a:pt x="826" y="1180"/>
                  </a:lnTo>
                  <a:lnTo>
                    <a:pt x="826" y="1178"/>
                  </a:lnTo>
                  <a:lnTo>
                    <a:pt x="822" y="1178"/>
                  </a:lnTo>
                  <a:lnTo>
                    <a:pt x="822" y="1180"/>
                  </a:lnTo>
                  <a:lnTo>
                    <a:pt x="820" y="1180"/>
                  </a:lnTo>
                  <a:lnTo>
                    <a:pt x="816" y="1180"/>
                  </a:lnTo>
                  <a:lnTo>
                    <a:pt x="792" y="1180"/>
                  </a:lnTo>
                  <a:lnTo>
                    <a:pt x="764" y="1178"/>
                  </a:lnTo>
                  <a:lnTo>
                    <a:pt x="762" y="1178"/>
                  </a:lnTo>
                  <a:lnTo>
                    <a:pt x="738" y="1176"/>
                  </a:lnTo>
                  <a:lnTo>
                    <a:pt x="732" y="1176"/>
                  </a:lnTo>
                  <a:lnTo>
                    <a:pt x="730" y="1176"/>
                  </a:lnTo>
                  <a:lnTo>
                    <a:pt x="730" y="1160"/>
                  </a:lnTo>
                  <a:lnTo>
                    <a:pt x="728" y="1132"/>
                  </a:lnTo>
                  <a:lnTo>
                    <a:pt x="718" y="1118"/>
                  </a:lnTo>
                  <a:lnTo>
                    <a:pt x="710" y="1112"/>
                  </a:lnTo>
                  <a:lnTo>
                    <a:pt x="720" y="1112"/>
                  </a:lnTo>
                  <a:lnTo>
                    <a:pt x="726" y="1112"/>
                  </a:lnTo>
                  <a:lnTo>
                    <a:pt x="726" y="1108"/>
                  </a:lnTo>
                  <a:lnTo>
                    <a:pt x="726" y="1102"/>
                  </a:lnTo>
                  <a:lnTo>
                    <a:pt x="726" y="1090"/>
                  </a:lnTo>
                  <a:lnTo>
                    <a:pt x="726" y="1086"/>
                  </a:lnTo>
                  <a:lnTo>
                    <a:pt x="724" y="1078"/>
                  </a:lnTo>
                  <a:lnTo>
                    <a:pt x="720" y="1070"/>
                  </a:lnTo>
                  <a:lnTo>
                    <a:pt x="718" y="1068"/>
                  </a:lnTo>
                  <a:lnTo>
                    <a:pt x="718" y="1060"/>
                  </a:lnTo>
                  <a:lnTo>
                    <a:pt x="718" y="1058"/>
                  </a:lnTo>
                  <a:lnTo>
                    <a:pt x="720" y="1056"/>
                  </a:lnTo>
                  <a:lnTo>
                    <a:pt x="722" y="1054"/>
                  </a:lnTo>
                  <a:lnTo>
                    <a:pt x="724" y="1050"/>
                  </a:lnTo>
                  <a:lnTo>
                    <a:pt x="718" y="1040"/>
                  </a:lnTo>
                  <a:lnTo>
                    <a:pt x="712" y="1040"/>
                  </a:lnTo>
                  <a:lnTo>
                    <a:pt x="708" y="1038"/>
                  </a:lnTo>
                  <a:lnTo>
                    <a:pt x="704" y="1034"/>
                  </a:lnTo>
                  <a:lnTo>
                    <a:pt x="702" y="1034"/>
                  </a:lnTo>
                  <a:lnTo>
                    <a:pt x="692" y="1028"/>
                  </a:lnTo>
                  <a:lnTo>
                    <a:pt x="690" y="1026"/>
                  </a:lnTo>
                  <a:lnTo>
                    <a:pt x="688" y="1022"/>
                  </a:lnTo>
                  <a:lnTo>
                    <a:pt x="676" y="1024"/>
                  </a:lnTo>
                  <a:lnTo>
                    <a:pt x="664" y="1026"/>
                  </a:lnTo>
                  <a:lnTo>
                    <a:pt x="660" y="1024"/>
                  </a:lnTo>
                  <a:lnTo>
                    <a:pt x="658" y="1024"/>
                  </a:lnTo>
                  <a:lnTo>
                    <a:pt x="652" y="1024"/>
                  </a:lnTo>
                  <a:lnTo>
                    <a:pt x="648" y="1026"/>
                  </a:lnTo>
                  <a:lnTo>
                    <a:pt x="646" y="1024"/>
                  </a:lnTo>
                  <a:lnTo>
                    <a:pt x="646" y="1022"/>
                  </a:lnTo>
                  <a:lnTo>
                    <a:pt x="644" y="1020"/>
                  </a:lnTo>
                  <a:lnTo>
                    <a:pt x="640" y="1018"/>
                  </a:lnTo>
                  <a:lnTo>
                    <a:pt x="640" y="1016"/>
                  </a:lnTo>
                  <a:lnTo>
                    <a:pt x="638" y="1016"/>
                  </a:lnTo>
                  <a:lnTo>
                    <a:pt x="634" y="1010"/>
                  </a:lnTo>
                  <a:lnTo>
                    <a:pt x="632" y="1006"/>
                  </a:lnTo>
                  <a:lnTo>
                    <a:pt x="632" y="1004"/>
                  </a:lnTo>
                  <a:lnTo>
                    <a:pt x="628" y="1002"/>
                  </a:lnTo>
                  <a:lnTo>
                    <a:pt x="626" y="1002"/>
                  </a:lnTo>
                  <a:lnTo>
                    <a:pt x="624" y="1004"/>
                  </a:lnTo>
                  <a:lnTo>
                    <a:pt x="620" y="1004"/>
                  </a:lnTo>
                  <a:lnTo>
                    <a:pt x="618" y="1004"/>
                  </a:lnTo>
                  <a:lnTo>
                    <a:pt x="616" y="1004"/>
                  </a:lnTo>
                  <a:lnTo>
                    <a:pt x="604" y="998"/>
                  </a:lnTo>
                  <a:lnTo>
                    <a:pt x="604" y="996"/>
                  </a:lnTo>
                  <a:lnTo>
                    <a:pt x="602" y="994"/>
                  </a:lnTo>
                  <a:lnTo>
                    <a:pt x="598" y="996"/>
                  </a:lnTo>
                  <a:lnTo>
                    <a:pt x="594" y="992"/>
                  </a:lnTo>
                  <a:lnTo>
                    <a:pt x="592" y="990"/>
                  </a:lnTo>
                  <a:lnTo>
                    <a:pt x="588" y="986"/>
                  </a:lnTo>
                  <a:lnTo>
                    <a:pt x="586" y="986"/>
                  </a:lnTo>
                  <a:lnTo>
                    <a:pt x="584" y="982"/>
                  </a:lnTo>
                  <a:lnTo>
                    <a:pt x="582" y="978"/>
                  </a:lnTo>
                  <a:lnTo>
                    <a:pt x="582" y="976"/>
                  </a:lnTo>
                  <a:lnTo>
                    <a:pt x="578" y="976"/>
                  </a:lnTo>
                  <a:lnTo>
                    <a:pt x="576" y="976"/>
                  </a:lnTo>
                  <a:lnTo>
                    <a:pt x="574" y="978"/>
                  </a:lnTo>
                  <a:lnTo>
                    <a:pt x="572" y="980"/>
                  </a:lnTo>
                  <a:lnTo>
                    <a:pt x="568" y="978"/>
                  </a:lnTo>
                  <a:lnTo>
                    <a:pt x="564" y="976"/>
                  </a:lnTo>
                  <a:lnTo>
                    <a:pt x="560" y="972"/>
                  </a:lnTo>
                  <a:lnTo>
                    <a:pt x="550" y="966"/>
                  </a:lnTo>
                  <a:lnTo>
                    <a:pt x="544" y="966"/>
                  </a:lnTo>
                  <a:lnTo>
                    <a:pt x="542" y="966"/>
                  </a:lnTo>
                  <a:lnTo>
                    <a:pt x="540" y="966"/>
                  </a:lnTo>
                  <a:lnTo>
                    <a:pt x="538" y="968"/>
                  </a:lnTo>
                  <a:lnTo>
                    <a:pt x="536" y="970"/>
                  </a:lnTo>
                  <a:lnTo>
                    <a:pt x="532" y="968"/>
                  </a:lnTo>
                  <a:lnTo>
                    <a:pt x="530" y="968"/>
                  </a:lnTo>
                  <a:lnTo>
                    <a:pt x="524" y="966"/>
                  </a:lnTo>
                  <a:lnTo>
                    <a:pt x="520" y="966"/>
                  </a:lnTo>
                  <a:lnTo>
                    <a:pt x="518" y="966"/>
                  </a:lnTo>
                  <a:lnTo>
                    <a:pt x="514" y="966"/>
                  </a:lnTo>
                  <a:lnTo>
                    <a:pt x="512" y="966"/>
                  </a:lnTo>
                  <a:lnTo>
                    <a:pt x="510" y="964"/>
                  </a:lnTo>
                  <a:lnTo>
                    <a:pt x="506" y="960"/>
                  </a:lnTo>
                  <a:lnTo>
                    <a:pt x="506" y="952"/>
                  </a:lnTo>
                  <a:lnTo>
                    <a:pt x="500" y="950"/>
                  </a:lnTo>
                  <a:lnTo>
                    <a:pt x="494" y="948"/>
                  </a:lnTo>
                  <a:lnTo>
                    <a:pt x="492" y="946"/>
                  </a:lnTo>
                  <a:lnTo>
                    <a:pt x="492" y="942"/>
                  </a:lnTo>
                  <a:lnTo>
                    <a:pt x="490" y="942"/>
                  </a:lnTo>
                  <a:lnTo>
                    <a:pt x="488" y="940"/>
                  </a:lnTo>
                  <a:lnTo>
                    <a:pt x="486" y="940"/>
                  </a:lnTo>
                  <a:lnTo>
                    <a:pt x="482" y="940"/>
                  </a:lnTo>
                  <a:lnTo>
                    <a:pt x="480" y="938"/>
                  </a:lnTo>
                  <a:lnTo>
                    <a:pt x="478" y="932"/>
                  </a:lnTo>
                  <a:lnTo>
                    <a:pt x="478" y="930"/>
                  </a:lnTo>
                  <a:lnTo>
                    <a:pt x="478" y="926"/>
                  </a:lnTo>
                  <a:lnTo>
                    <a:pt x="474" y="924"/>
                  </a:lnTo>
                  <a:lnTo>
                    <a:pt x="472" y="928"/>
                  </a:lnTo>
                  <a:lnTo>
                    <a:pt x="470" y="926"/>
                  </a:lnTo>
                  <a:lnTo>
                    <a:pt x="468" y="924"/>
                  </a:lnTo>
                  <a:lnTo>
                    <a:pt x="470" y="922"/>
                  </a:lnTo>
                  <a:lnTo>
                    <a:pt x="470" y="920"/>
                  </a:lnTo>
                  <a:lnTo>
                    <a:pt x="472" y="918"/>
                  </a:lnTo>
                  <a:lnTo>
                    <a:pt x="468" y="912"/>
                  </a:lnTo>
                  <a:lnTo>
                    <a:pt x="466" y="912"/>
                  </a:lnTo>
                  <a:lnTo>
                    <a:pt x="464" y="912"/>
                  </a:lnTo>
                  <a:lnTo>
                    <a:pt x="462" y="908"/>
                  </a:lnTo>
                  <a:lnTo>
                    <a:pt x="460" y="900"/>
                  </a:lnTo>
                  <a:lnTo>
                    <a:pt x="460" y="894"/>
                  </a:lnTo>
                  <a:lnTo>
                    <a:pt x="460" y="892"/>
                  </a:lnTo>
                  <a:lnTo>
                    <a:pt x="462" y="888"/>
                  </a:lnTo>
                  <a:lnTo>
                    <a:pt x="466" y="884"/>
                  </a:lnTo>
                  <a:lnTo>
                    <a:pt x="464" y="878"/>
                  </a:lnTo>
                  <a:lnTo>
                    <a:pt x="464" y="876"/>
                  </a:lnTo>
                  <a:lnTo>
                    <a:pt x="460" y="872"/>
                  </a:lnTo>
                  <a:lnTo>
                    <a:pt x="458" y="864"/>
                  </a:lnTo>
                  <a:lnTo>
                    <a:pt x="458" y="856"/>
                  </a:lnTo>
                  <a:lnTo>
                    <a:pt x="460" y="856"/>
                  </a:lnTo>
                  <a:lnTo>
                    <a:pt x="460" y="854"/>
                  </a:lnTo>
                  <a:lnTo>
                    <a:pt x="460" y="852"/>
                  </a:lnTo>
                  <a:lnTo>
                    <a:pt x="462" y="850"/>
                  </a:lnTo>
                  <a:lnTo>
                    <a:pt x="464" y="848"/>
                  </a:lnTo>
                  <a:lnTo>
                    <a:pt x="466" y="846"/>
                  </a:lnTo>
                  <a:lnTo>
                    <a:pt x="466" y="842"/>
                  </a:lnTo>
                  <a:lnTo>
                    <a:pt x="466" y="836"/>
                  </a:lnTo>
                  <a:lnTo>
                    <a:pt x="464" y="834"/>
                  </a:lnTo>
                  <a:lnTo>
                    <a:pt x="464" y="828"/>
                  </a:lnTo>
                  <a:lnTo>
                    <a:pt x="466" y="826"/>
                  </a:lnTo>
                  <a:lnTo>
                    <a:pt x="466" y="822"/>
                  </a:lnTo>
                  <a:lnTo>
                    <a:pt x="464" y="818"/>
                  </a:lnTo>
                  <a:lnTo>
                    <a:pt x="462" y="814"/>
                  </a:lnTo>
                  <a:lnTo>
                    <a:pt x="460" y="814"/>
                  </a:lnTo>
                  <a:lnTo>
                    <a:pt x="458" y="814"/>
                  </a:lnTo>
                  <a:lnTo>
                    <a:pt x="456" y="816"/>
                  </a:lnTo>
                  <a:lnTo>
                    <a:pt x="454" y="818"/>
                  </a:lnTo>
                  <a:lnTo>
                    <a:pt x="452" y="822"/>
                  </a:lnTo>
                  <a:lnTo>
                    <a:pt x="450" y="822"/>
                  </a:lnTo>
                  <a:lnTo>
                    <a:pt x="442" y="818"/>
                  </a:lnTo>
                  <a:lnTo>
                    <a:pt x="440" y="818"/>
                  </a:lnTo>
                  <a:lnTo>
                    <a:pt x="436" y="820"/>
                  </a:lnTo>
                  <a:lnTo>
                    <a:pt x="430" y="820"/>
                  </a:lnTo>
                  <a:lnTo>
                    <a:pt x="424" y="818"/>
                  </a:lnTo>
                  <a:lnTo>
                    <a:pt x="420" y="820"/>
                  </a:lnTo>
                  <a:lnTo>
                    <a:pt x="408" y="822"/>
                  </a:lnTo>
                  <a:lnTo>
                    <a:pt x="406" y="824"/>
                  </a:lnTo>
                  <a:lnTo>
                    <a:pt x="402" y="824"/>
                  </a:lnTo>
                  <a:lnTo>
                    <a:pt x="400" y="824"/>
                  </a:lnTo>
                  <a:lnTo>
                    <a:pt x="394" y="826"/>
                  </a:lnTo>
                  <a:lnTo>
                    <a:pt x="392" y="828"/>
                  </a:lnTo>
                  <a:lnTo>
                    <a:pt x="390" y="830"/>
                  </a:lnTo>
                  <a:lnTo>
                    <a:pt x="388" y="830"/>
                  </a:lnTo>
                  <a:lnTo>
                    <a:pt x="380" y="836"/>
                  </a:lnTo>
                  <a:lnTo>
                    <a:pt x="378" y="838"/>
                  </a:lnTo>
                  <a:lnTo>
                    <a:pt x="376" y="840"/>
                  </a:lnTo>
                  <a:lnTo>
                    <a:pt x="372" y="844"/>
                  </a:lnTo>
                  <a:lnTo>
                    <a:pt x="370" y="844"/>
                  </a:lnTo>
                  <a:lnTo>
                    <a:pt x="364" y="848"/>
                  </a:lnTo>
                  <a:lnTo>
                    <a:pt x="362" y="848"/>
                  </a:lnTo>
                  <a:lnTo>
                    <a:pt x="358" y="848"/>
                  </a:lnTo>
                  <a:lnTo>
                    <a:pt x="356" y="848"/>
                  </a:lnTo>
                  <a:lnTo>
                    <a:pt x="356" y="850"/>
                  </a:lnTo>
                  <a:lnTo>
                    <a:pt x="350" y="854"/>
                  </a:lnTo>
                  <a:lnTo>
                    <a:pt x="348" y="856"/>
                  </a:lnTo>
                  <a:lnTo>
                    <a:pt x="346" y="856"/>
                  </a:lnTo>
                  <a:lnTo>
                    <a:pt x="344" y="856"/>
                  </a:lnTo>
                  <a:lnTo>
                    <a:pt x="342" y="858"/>
                  </a:lnTo>
                  <a:lnTo>
                    <a:pt x="338" y="864"/>
                  </a:lnTo>
                  <a:lnTo>
                    <a:pt x="338" y="868"/>
                  </a:lnTo>
                  <a:lnTo>
                    <a:pt x="334" y="868"/>
                  </a:lnTo>
                  <a:lnTo>
                    <a:pt x="332" y="868"/>
                  </a:lnTo>
                  <a:lnTo>
                    <a:pt x="330" y="866"/>
                  </a:lnTo>
                  <a:lnTo>
                    <a:pt x="328" y="866"/>
                  </a:lnTo>
                  <a:lnTo>
                    <a:pt x="320" y="866"/>
                  </a:lnTo>
                  <a:lnTo>
                    <a:pt x="318" y="866"/>
                  </a:lnTo>
                  <a:lnTo>
                    <a:pt x="316" y="868"/>
                  </a:lnTo>
                  <a:lnTo>
                    <a:pt x="314" y="870"/>
                  </a:lnTo>
                  <a:lnTo>
                    <a:pt x="314" y="872"/>
                  </a:lnTo>
                  <a:lnTo>
                    <a:pt x="308" y="880"/>
                  </a:lnTo>
                  <a:lnTo>
                    <a:pt x="306" y="882"/>
                  </a:lnTo>
                  <a:lnTo>
                    <a:pt x="304" y="884"/>
                  </a:lnTo>
                  <a:lnTo>
                    <a:pt x="302" y="884"/>
                  </a:lnTo>
                  <a:lnTo>
                    <a:pt x="300" y="886"/>
                  </a:lnTo>
                  <a:lnTo>
                    <a:pt x="292" y="888"/>
                  </a:lnTo>
                  <a:lnTo>
                    <a:pt x="292" y="890"/>
                  </a:lnTo>
                  <a:lnTo>
                    <a:pt x="290" y="890"/>
                  </a:lnTo>
                  <a:lnTo>
                    <a:pt x="288" y="890"/>
                  </a:lnTo>
                  <a:lnTo>
                    <a:pt x="286" y="892"/>
                  </a:lnTo>
                  <a:lnTo>
                    <a:pt x="282" y="892"/>
                  </a:lnTo>
                  <a:lnTo>
                    <a:pt x="280" y="892"/>
                  </a:lnTo>
                  <a:lnTo>
                    <a:pt x="280" y="884"/>
                  </a:lnTo>
                  <a:lnTo>
                    <a:pt x="276" y="884"/>
                  </a:lnTo>
                  <a:lnTo>
                    <a:pt x="264" y="882"/>
                  </a:lnTo>
                  <a:lnTo>
                    <a:pt x="256" y="882"/>
                  </a:lnTo>
                  <a:lnTo>
                    <a:pt x="246" y="880"/>
                  </a:lnTo>
                  <a:lnTo>
                    <a:pt x="244" y="880"/>
                  </a:lnTo>
                  <a:lnTo>
                    <a:pt x="242" y="882"/>
                  </a:lnTo>
                  <a:lnTo>
                    <a:pt x="238" y="882"/>
                  </a:lnTo>
                  <a:lnTo>
                    <a:pt x="236" y="880"/>
                  </a:lnTo>
                  <a:lnTo>
                    <a:pt x="232" y="882"/>
                  </a:lnTo>
                  <a:lnTo>
                    <a:pt x="230" y="882"/>
                  </a:lnTo>
                  <a:lnTo>
                    <a:pt x="228" y="882"/>
                  </a:lnTo>
                  <a:lnTo>
                    <a:pt x="226" y="880"/>
                  </a:lnTo>
                  <a:lnTo>
                    <a:pt x="218" y="878"/>
                  </a:lnTo>
                  <a:lnTo>
                    <a:pt x="216" y="880"/>
                  </a:lnTo>
                  <a:lnTo>
                    <a:pt x="214" y="880"/>
                  </a:lnTo>
                  <a:lnTo>
                    <a:pt x="210" y="882"/>
                  </a:lnTo>
                  <a:lnTo>
                    <a:pt x="206" y="886"/>
                  </a:lnTo>
                  <a:lnTo>
                    <a:pt x="204" y="886"/>
                  </a:lnTo>
                  <a:lnTo>
                    <a:pt x="202" y="886"/>
                  </a:lnTo>
                  <a:lnTo>
                    <a:pt x="196" y="888"/>
                  </a:lnTo>
                  <a:lnTo>
                    <a:pt x="194" y="888"/>
                  </a:lnTo>
                  <a:lnTo>
                    <a:pt x="192" y="886"/>
                  </a:lnTo>
                  <a:lnTo>
                    <a:pt x="190" y="886"/>
                  </a:lnTo>
                  <a:lnTo>
                    <a:pt x="190" y="884"/>
                  </a:lnTo>
                  <a:lnTo>
                    <a:pt x="188" y="882"/>
                  </a:lnTo>
                  <a:lnTo>
                    <a:pt x="188" y="880"/>
                  </a:lnTo>
                  <a:lnTo>
                    <a:pt x="186" y="880"/>
                  </a:lnTo>
                  <a:lnTo>
                    <a:pt x="182" y="882"/>
                  </a:lnTo>
                  <a:lnTo>
                    <a:pt x="180" y="884"/>
                  </a:lnTo>
                  <a:lnTo>
                    <a:pt x="180" y="882"/>
                  </a:lnTo>
                  <a:lnTo>
                    <a:pt x="180" y="878"/>
                  </a:lnTo>
                  <a:lnTo>
                    <a:pt x="180" y="872"/>
                  </a:lnTo>
                  <a:lnTo>
                    <a:pt x="180" y="862"/>
                  </a:lnTo>
                  <a:lnTo>
                    <a:pt x="180" y="848"/>
                  </a:lnTo>
                  <a:lnTo>
                    <a:pt x="180" y="826"/>
                  </a:lnTo>
                  <a:lnTo>
                    <a:pt x="180" y="824"/>
                  </a:lnTo>
                  <a:lnTo>
                    <a:pt x="180" y="820"/>
                  </a:lnTo>
                  <a:lnTo>
                    <a:pt x="182" y="820"/>
                  </a:lnTo>
                  <a:lnTo>
                    <a:pt x="182" y="818"/>
                  </a:lnTo>
                  <a:lnTo>
                    <a:pt x="182" y="810"/>
                  </a:lnTo>
                  <a:lnTo>
                    <a:pt x="182" y="806"/>
                  </a:lnTo>
                  <a:lnTo>
                    <a:pt x="184" y="804"/>
                  </a:lnTo>
                  <a:lnTo>
                    <a:pt x="186" y="802"/>
                  </a:lnTo>
                  <a:lnTo>
                    <a:pt x="186" y="798"/>
                  </a:lnTo>
                  <a:lnTo>
                    <a:pt x="184" y="800"/>
                  </a:lnTo>
                  <a:lnTo>
                    <a:pt x="182" y="800"/>
                  </a:lnTo>
                  <a:lnTo>
                    <a:pt x="180" y="802"/>
                  </a:lnTo>
                  <a:lnTo>
                    <a:pt x="172" y="808"/>
                  </a:lnTo>
                  <a:lnTo>
                    <a:pt x="170" y="810"/>
                  </a:lnTo>
                  <a:lnTo>
                    <a:pt x="168" y="812"/>
                  </a:lnTo>
                  <a:lnTo>
                    <a:pt x="162" y="818"/>
                  </a:lnTo>
                  <a:lnTo>
                    <a:pt x="160" y="820"/>
                  </a:lnTo>
                  <a:lnTo>
                    <a:pt x="152" y="822"/>
                  </a:lnTo>
                  <a:lnTo>
                    <a:pt x="152" y="824"/>
                  </a:lnTo>
                  <a:lnTo>
                    <a:pt x="152" y="826"/>
                  </a:lnTo>
                  <a:lnTo>
                    <a:pt x="144" y="830"/>
                  </a:lnTo>
                  <a:lnTo>
                    <a:pt x="140" y="830"/>
                  </a:lnTo>
                  <a:lnTo>
                    <a:pt x="136" y="830"/>
                  </a:lnTo>
                  <a:lnTo>
                    <a:pt x="126" y="830"/>
                  </a:lnTo>
                  <a:lnTo>
                    <a:pt x="110" y="830"/>
                  </a:lnTo>
                  <a:lnTo>
                    <a:pt x="108" y="830"/>
                  </a:lnTo>
                  <a:lnTo>
                    <a:pt x="106" y="830"/>
                  </a:lnTo>
                  <a:lnTo>
                    <a:pt x="104" y="830"/>
                  </a:lnTo>
                  <a:lnTo>
                    <a:pt x="98" y="830"/>
                  </a:lnTo>
                  <a:lnTo>
                    <a:pt x="98" y="826"/>
                  </a:lnTo>
                  <a:lnTo>
                    <a:pt x="98" y="822"/>
                  </a:lnTo>
                  <a:lnTo>
                    <a:pt x="98" y="820"/>
                  </a:lnTo>
                  <a:lnTo>
                    <a:pt x="94" y="818"/>
                  </a:lnTo>
                  <a:lnTo>
                    <a:pt x="94" y="816"/>
                  </a:lnTo>
                  <a:lnTo>
                    <a:pt x="92" y="816"/>
                  </a:lnTo>
                  <a:lnTo>
                    <a:pt x="94" y="812"/>
                  </a:lnTo>
                  <a:lnTo>
                    <a:pt x="94" y="810"/>
                  </a:lnTo>
                  <a:lnTo>
                    <a:pt x="90" y="804"/>
                  </a:lnTo>
                  <a:lnTo>
                    <a:pt x="86" y="802"/>
                  </a:lnTo>
                  <a:lnTo>
                    <a:pt x="86" y="800"/>
                  </a:lnTo>
                  <a:lnTo>
                    <a:pt x="74" y="800"/>
                  </a:lnTo>
                  <a:lnTo>
                    <a:pt x="68" y="798"/>
                  </a:lnTo>
                  <a:lnTo>
                    <a:pt x="62" y="798"/>
                  </a:lnTo>
                  <a:lnTo>
                    <a:pt x="60" y="798"/>
                  </a:lnTo>
                  <a:lnTo>
                    <a:pt x="54" y="798"/>
                  </a:lnTo>
                  <a:lnTo>
                    <a:pt x="42" y="798"/>
                  </a:lnTo>
                  <a:lnTo>
                    <a:pt x="42" y="796"/>
                  </a:lnTo>
                  <a:lnTo>
                    <a:pt x="44" y="794"/>
                  </a:lnTo>
                  <a:lnTo>
                    <a:pt x="46" y="792"/>
                  </a:lnTo>
                  <a:lnTo>
                    <a:pt x="52" y="786"/>
                  </a:lnTo>
                  <a:lnTo>
                    <a:pt x="56" y="782"/>
                  </a:lnTo>
                  <a:lnTo>
                    <a:pt x="56" y="780"/>
                  </a:lnTo>
                  <a:lnTo>
                    <a:pt x="56" y="778"/>
                  </a:lnTo>
                  <a:lnTo>
                    <a:pt x="56" y="774"/>
                  </a:lnTo>
                  <a:lnTo>
                    <a:pt x="52" y="772"/>
                  </a:lnTo>
                  <a:lnTo>
                    <a:pt x="50" y="770"/>
                  </a:lnTo>
                  <a:lnTo>
                    <a:pt x="46" y="764"/>
                  </a:lnTo>
                  <a:lnTo>
                    <a:pt x="46" y="762"/>
                  </a:lnTo>
                  <a:lnTo>
                    <a:pt x="44" y="762"/>
                  </a:lnTo>
                  <a:lnTo>
                    <a:pt x="44" y="760"/>
                  </a:lnTo>
                  <a:lnTo>
                    <a:pt x="42" y="760"/>
                  </a:lnTo>
                  <a:lnTo>
                    <a:pt x="42" y="758"/>
                  </a:lnTo>
                  <a:lnTo>
                    <a:pt x="40" y="758"/>
                  </a:lnTo>
                  <a:lnTo>
                    <a:pt x="38" y="758"/>
                  </a:lnTo>
                  <a:lnTo>
                    <a:pt x="34" y="754"/>
                  </a:lnTo>
                  <a:lnTo>
                    <a:pt x="32" y="746"/>
                  </a:lnTo>
                  <a:lnTo>
                    <a:pt x="28" y="744"/>
                  </a:lnTo>
                  <a:lnTo>
                    <a:pt x="24" y="740"/>
                  </a:lnTo>
                  <a:lnTo>
                    <a:pt x="24" y="738"/>
                  </a:lnTo>
                  <a:lnTo>
                    <a:pt x="24" y="734"/>
                  </a:lnTo>
                  <a:lnTo>
                    <a:pt x="22" y="728"/>
                  </a:lnTo>
                  <a:lnTo>
                    <a:pt x="18" y="722"/>
                  </a:lnTo>
                  <a:lnTo>
                    <a:pt x="14" y="720"/>
                  </a:lnTo>
                  <a:lnTo>
                    <a:pt x="12" y="720"/>
                  </a:lnTo>
                  <a:lnTo>
                    <a:pt x="12" y="718"/>
                  </a:lnTo>
                  <a:lnTo>
                    <a:pt x="12" y="714"/>
                  </a:lnTo>
                  <a:lnTo>
                    <a:pt x="14" y="714"/>
                  </a:lnTo>
                  <a:lnTo>
                    <a:pt x="16" y="712"/>
                  </a:lnTo>
                  <a:lnTo>
                    <a:pt x="16" y="710"/>
                  </a:lnTo>
                  <a:lnTo>
                    <a:pt x="16" y="708"/>
                  </a:lnTo>
                  <a:lnTo>
                    <a:pt x="14" y="708"/>
                  </a:lnTo>
                  <a:lnTo>
                    <a:pt x="12" y="708"/>
                  </a:lnTo>
                  <a:lnTo>
                    <a:pt x="8" y="706"/>
                  </a:lnTo>
                  <a:lnTo>
                    <a:pt x="6" y="706"/>
                  </a:lnTo>
                  <a:lnTo>
                    <a:pt x="6" y="704"/>
                  </a:lnTo>
                  <a:lnTo>
                    <a:pt x="4" y="700"/>
                  </a:lnTo>
                  <a:lnTo>
                    <a:pt x="0" y="698"/>
                  </a:lnTo>
                  <a:lnTo>
                    <a:pt x="0" y="696"/>
                  </a:lnTo>
                  <a:lnTo>
                    <a:pt x="2" y="696"/>
                  </a:lnTo>
                  <a:lnTo>
                    <a:pt x="4" y="690"/>
                  </a:lnTo>
                  <a:lnTo>
                    <a:pt x="4" y="686"/>
                  </a:lnTo>
                  <a:lnTo>
                    <a:pt x="14" y="686"/>
                  </a:lnTo>
                  <a:lnTo>
                    <a:pt x="16" y="684"/>
                  </a:lnTo>
                  <a:lnTo>
                    <a:pt x="14" y="678"/>
                  </a:lnTo>
                  <a:lnTo>
                    <a:pt x="12" y="674"/>
                  </a:lnTo>
                  <a:lnTo>
                    <a:pt x="10" y="674"/>
                  </a:lnTo>
                  <a:lnTo>
                    <a:pt x="10" y="672"/>
                  </a:lnTo>
                  <a:lnTo>
                    <a:pt x="12" y="662"/>
                  </a:lnTo>
                  <a:lnTo>
                    <a:pt x="12" y="660"/>
                  </a:lnTo>
                  <a:lnTo>
                    <a:pt x="16" y="656"/>
                  </a:lnTo>
                  <a:lnTo>
                    <a:pt x="22" y="654"/>
                  </a:lnTo>
                  <a:lnTo>
                    <a:pt x="34" y="644"/>
                  </a:lnTo>
                  <a:lnTo>
                    <a:pt x="36" y="644"/>
                  </a:lnTo>
                  <a:lnTo>
                    <a:pt x="38" y="644"/>
                  </a:lnTo>
                  <a:lnTo>
                    <a:pt x="42" y="644"/>
                  </a:lnTo>
                  <a:lnTo>
                    <a:pt x="42" y="642"/>
                  </a:lnTo>
                  <a:lnTo>
                    <a:pt x="44" y="640"/>
                  </a:lnTo>
                  <a:lnTo>
                    <a:pt x="46" y="636"/>
                  </a:lnTo>
                  <a:lnTo>
                    <a:pt x="46" y="634"/>
                  </a:lnTo>
                  <a:lnTo>
                    <a:pt x="44" y="626"/>
                  </a:lnTo>
                  <a:lnTo>
                    <a:pt x="42" y="620"/>
                  </a:lnTo>
                  <a:lnTo>
                    <a:pt x="42" y="618"/>
                  </a:lnTo>
                  <a:lnTo>
                    <a:pt x="42" y="616"/>
                  </a:lnTo>
                  <a:lnTo>
                    <a:pt x="42" y="614"/>
                  </a:lnTo>
                  <a:lnTo>
                    <a:pt x="46" y="606"/>
                  </a:lnTo>
                  <a:lnTo>
                    <a:pt x="48" y="604"/>
                  </a:lnTo>
                  <a:lnTo>
                    <a:pt x="50" y="602"/>
                  </a:lnTo>
                  <a:lnTo>
                    <a:pt x="54" y="598"/>
                  </a:lnTo>
                  <a:lnTo>
                    <a:pt x="56" y="594"/>
                  </a:lnTo>
                  <a:lnTo>
                    <a:pt x="56" y="588"/>
                  </a:lnTo>
                  <a:lnTo>
                    <a:pt x="56" y="586"/>
                  </a:lnTo>
                  <a:lnTo>
                    <a:pt x="56" y="584"/>
                  </a:lnTo>
                  <a:lnTo>
                    <a:pt x="56" y="582"/>
                  </a:lnTo>
                  <a:lnTo>
                    <a:pt x="58" y="576"/>
                  </a:lnTo>
                  <a:lnTo>
                    <a:pt x="58" y="568"/>
                  </a:lnTo>
                  <a:lnTo>
                    <a:pt x="60" y="566"/>
                  </a:lnTo>
                  <a:lnTo>
                    <a:pt x="64" y="564"/>
                  </a:lnTo>
                  <a:lnTo>
                    <a:pt x="66" y="562"/>
                  </a:lnTo>
                  <a:lnTo>
                    <a:pt x="74" y="560"/>
                  </a:lnTo>
                  <a:lnTo>
                    <a:pt x="80" y="556"/>
                  </a:lnTo>
                  <a:lnTo>
                    <a:pt x="86" y="552"/>
                  </a:lnTo>
                  <a:lnTo>
                    <a:pt x="86" y="550"/>
                  </a:lnTo>
                  <a:lnTo>
                    <a:pt x="86" y="548"/>
                  </a:lnTo>
                  <a:lnTo>
                    <a:pt x="86" y="546"/>
                  </a:lnTo>
                  <a:lnTo>
                    <a:pt x="90" y="546"/>
                  </a:lnTo>
                  <a:lnTo>
                    <a:pt x="92" y="546"/>
                  </a:lnTo>
                  <a:lnTo>
                    <a:pt x="94" y="546"/>
                  </a:lnTo>
                  <a:lnTo>
                    <a:pt x="94" y="544"/>
                  </a:lnTo>
                  <a:lnTo>
                    <a:pt x="100" y="542"/>
                  </a:lnTo>
                  <a:lnTo>
                    <a:pt x="106" y="538"/>
                  </a:lnTo>
                  <a:lnTo>
                    <a:pt x="112" y="532"/>
                  </a:lnTo>
                  <a:lnTo>
                    <a:pt x="114" y="532"/>
                  </a:lnTo>
                  <a:lnTo>
                    <a:pt x="120" y="530"/>
                  </a:lnTo>
                  <a:lnTo>
                    <a:pt x="122" y="532"/>
                  </a:lnTo>
                  <a:lnTo>
                    <a:pt x="126" y="532"/>
                  </a:lnTo>
                  <a:lnTo>
                    <a:pt x="140" y="528"/>
                  </a:lnTo>
                  <a:lnTo>
                    <a:pt x="146" y="524"/>
                  </a:lnTo>
                  <a:lnTo>
                    <a:pt x="152" y="524"/>
                  </a:lnTo>
                  <a:lnTo>
                    <a:pt x="158" y="524"/>
                  </a:lnTo>
                  <a:lnTo>
                    <a:pt x="164" y="524"/>
                  </a:lnTo>
                  <a:lnTo>
                    <a:pt x="168" y="520"/>
                  </a:lnTo>
                  <a:lnTo>
                    <a:pt x="168" y="518"/>
                  </a:lnTo>
                  <a:lnTo>
                    <a:pt x="170" y="514"/>
                  </a:lnTo>
                  <a:lnTo>
                    <a:pt x="172" y="514"/>
                  </a:lnTo>
                  <a:lnTo>
                    <a:pt x="174" y="512"/>
                  </a:lnTo>
                  <a:lnTo>
                    <a:pt x="182" y="514"/>
                  </a:lnTo>
                  <a:lnTo>
                    <a:pt x="184" y="516"/>
                  </a:lnTo>
                  <a:lnTo>
                    <a:pt x="188" y="514"/>
                  </a:lnTo>
                  <a:lnTo>
                    <a:pt x="190" y="512"/>
                  </a:lnTo>
                  <a:lnTo>
                    <a:pt x="192" y="512"/>
                  </a:lnTo>
                  <a:lnTo>
                    <a:pt x="198" y="512"/>
                  </a:lnTo>
                  <a:lnTo>
                    <a:pt x="198" y="514"/>
                  </a:lnTo>
                  <a:lnTo>
                    <a:pt x="200" y="516"/>
                  </a:lnTo>
                  <a:lnTo>
                    <a:pt x="198" y="518"/>
                  </a:lnTo>
                  <a:lnTo>
                    <a:pt x="202" y="520"/>
                  </a:lnTo>
                  <a:lnTo>
                    <a:pt x="204" y="522"/>
                  </a:lnTo>
                  <a:lnTo>
                    <a:pt x="214" y="524"/>
                  </a:lnTo>
                  <a:lnTo>
                    <a:pt x="216" y="522"/>
                  </a:lnTo>
                  <a:lnTo>
                    <a:pt x="218" y="520"/>
                  </a:lnTo>
                  <a:lnTo>
                    <a:pt x="218" y="518"/>
                  </a:lnTo>
                  <a:lnTo>
                    <a:pt x="218" y="516"/>
                  </a:lnTo>
                  <a:lnTo>
                    <a:pt x="222" y="500"/>
                  </a:lnTo>
                  <a:lnTo>
                    <a:pt x="226" y="472"/>
                  </a:lnTo>
                  <a:lnTo>
                    <a:pt x="234" y="426"/>
                  </a:lnTo>
                  <a:lnTo>
                    <a:pt x="236" y="422"/>
                  </a:lnTo>
                  <a:lnTo>
                    <a:pt x="236" y="416"/>
                  </a:lnTo>
                  <a:lnTo>
                    <a:pt x="238" y="414"/>
                  </a:lnTo>
                  <a:lnTo>
                    <a:pt x="242" y="392"/>
                  </a:lnTo>
                  <a:lnTo>
                    <a:pt x="246" y="370"/>
                  </a:lnTo>
                  <a:lnTo>
                    <a:pt x="248" y="362"/>
                  </a:lnTo>
                  <a:lnTo>
                    <a:pt x="248" y="360"/>
                  </a:lnTo>
                  <a:lnTo>
                    <a:pt x="248" y="356"/>
                  </a:lnTo>
                  <a:lnTo>
                    <a:pt x="246" y="350"/>
                  </a:lnTo>
                  <a:lnTo>
                    <a:pt x="246" y="344"/>
                  </a:lnTo>
                  <a:lnTo>
                    <a:pt x="246" y="342"/>
                  </a:lnTo>
                  <a:lnTo>
                    <a:pt x="244" y="340"/>
                  </a:lnTo>
                  <a:lnTo>
                    <a:pt x="242" y="338"/>
                  </a:lnTo>
                  <a:lnTo>
                    <a:pt x="236" y="328"/>
                  </a:lnTo>
                  <a:lnTo>
                    <a:pt x="236" y="326"/>
                  </a:lnTo>
                  <a:lnTo>
                    <a:pt x="238" y="326"/>
                  </a:lnTo>
                  <a:lnTo>
                    <a:pt x="238" y="324"/>
                  </a:lnTo>
                  <a:lnTo>
                    <a:pt x="238" y="322"/>
                  </a:lnTo>
                  <a:lnTo>
                    <a:pt x="236" y="316"/>
                  </a:lnTo>
                  <a:lnTo>
                    <a:pt x="236" y="314"/>
                  </a:lnTo>
                  <a:lnTo>
                    <a:pt x="232" y="314"/>
                  </a:lnTo>
                  <a:lnTo>
                    <a:pt x="230" y="312"/>
                  </a:lnTo>
                  <a:lnTo>
                    <a:pt x="220" y="304"/>
                  </a:lnTo>
                  <a:lnTo>
                    <a:pt x="214" y="300"/>
                  </a:lnTo>
                  <a:lnTo>
                    <a:pt x="212" y="296"/>
                  </a:lnTo>
                  <a:lnTo>
                    <a:pt x="212" y="292"/>
                  </a:lnTo>
                  <a:lnTo>
                    <a:pt x="212" y="288"/>
                  </a:lnTo>
                  <a:lnTo>
                    <a:pt x="212" y="280"/>
                  </a:lnTo>
                  <a:lnTo>
                    <a:pt x="212" y="272"/>
                  </a:lnTo>
                  <a:lnTo>
                    <a:pt x="212" y="268"/>
                  </a:lnTo>
                  <a:lnTo>
                    <a:pt x="212" y="260"/>
                  </a:lnTo>
                  <a:lnTo>
                    <a:pt x="212" y="256"/>
                  </a:lnTo>
                  <a:lnTo>
                    <a:pt x="216" y="256"/>
                  </a:lnTo>
                  <a:lnTo>
                    <a:pt x="220" y="256"/>
                  </a:lnTo>
                  <a:lnTo>
                    <a:pt x="226" y="256"/>
                  </a:lnTo>
                  <a:lnTo>
                    <a:pt x="228" y="254"/>
                  </a:lnTo>
                  <a:lnTo>
                    <a:pt x="232" y="250"/>
                  </a:lnTo>
                  <a:lnTo>
                    <a:pt x="246" y="248"/>
                  </a:lnTo>
                  <a:lnTo>
                    <a:pt x="252" y="252"/>
                  </a:lnTo>
                  <a:lnTo>
                    <a:pt x="254" y="254"/>
                  </a:lnTo>
                  <a:lnTo>
                    <a:pt x="258" y="254"/>
                  </a:lnTo>
                  <a:lnTo>
                    <a:pt x="264" y="252"/>
                  </a:lnTo>
                  <a:lnTo>
                    <a:pt x="262" y="248"/>
                  </a:lnTo>
                  <a:lnTo>
                    <a:pt x="262" y="242"/>
                  </a:lnTo>
                  <a:lnTo>
                    <a:pt x="258" y="234"/>
                  </a:lnTo>
                  <a:lnTo>
                    <a:pt x="256" y="232"/>
                  </a:lnTo>
                  <a:lnTo>
                    <a:pt x="250" y="230"/>
                  </a:lnTo>
                  <a:lnTo>
                    <a:pt x="248" y="230"/>
                  </a:lnTo>
                  <a:lnTo>
                    <a:pt x="246" y="232"/>
                  </a:lnTo>
                  <a:lnTo>
                    <a:pt x="236" y="230"/>
                  </a:lnTo>
                  <a:lnTo>
                    <a:pt x="230" y="230"/>
                  </a:lnTo>
                  <a:lnTo>
                    <a:pt x="224" y="230"/>
                  </a:lnTo>
                  <a:lnTo>
                    <a:pt x="224" y="196"/>
                  </a:lnTo>
                  <a:lnTo>
                    <a:pt x="224" y="194"/>
                  </a:lnTo>
                  <a:lnTo>
                    <a:pt x="226" y="196"/>
                  </a:lnTo>
                  <a:lnTo>
                    <a:pt x="232" y="194"/>
                  </a:lnTo>
                  <a:lnTo>
                    <a:pt x="240" y="192"/>
                  </a:lnTo>
                  <a:lnTo>
                    <a:pt x="246" y="194"/>
                  </a:lnTo>
                  <a:lnTo>
                    <a:pt x="248" y="194"/>
                  </a:lnTo>
                  <a:lnTo>
                    <a:pt x="250" y="194"/>
                  </a:lnTo>
                  <a:lnTo>
                    <a:pt x="256" y="194"/>
                  </a:lnTo>
                  <a:lnTo>
                    <a:pt x="264" y="194"/>
                  </a:lnTo>
                  <a:lnTo>
                    <a:pt x="280" y="194"/>
                  </a:lnTo>
                  <a:lnTo>
                    <a:pt x="316" y="194"/>
                  </a:lnTo>
                  <a:lnTo>
                    <a:pt x="314" y="192"/>
                  </a:lnTo>
                  <a:lnTo>
                    <a:pt x="312" y="192"/>
                  </a:lnTo>
                  <a:lnTo>
                    <a:pt x="310" y="188"/>
                  </a:lnTo>
                  <a:lnTo>
                    <a:pt x="310" y="184"/>
                  </a:lnTo>
                  <a:lnTo>
                    <a:pt x="312" y="184"/>
                  </a:lnTo>
                  <a:lnTo>
                    <a:pt x="314" y="180"/>
                  </a:lnTo>
                  <a:lnTo>
                    <a:pt x="318" y="182"/>
                  </a:lnTo>
                  <a:lnTo>
                    <a:pt x="318" y="184"/>
                  </a:lnTo>
                  <a:lnTo>
                    <a:pt x="320" y="186"/>
                  </a:lnTo>
                  <a:lnTo>
                    <a:pt x="320" y="188"/>
                  </a:lnTo>
                  <a:lnTo>
                    <a:pt x="322" y="190"/>
                  </a:lnTo>
                  <a:lnTo>
                    <a:pt x="322" y="192"/>
                  </a:lnTo>
                  <a:lnTo>
                    <a:pt x="324" y="194"/>
                  </a:lnTo>
                  <a:lnTo>
                    <a:pt x="326" y="194"/>
                  </a:lnTo>
                  <a:lnTo>
                    <a:pt x="328" y="194"/>
                  </a:lnTo>
                  <a:lnTo>
                    <a:pt x="330" y="194"/>
                  </a:lnTo>
                  <a:lnTo>
                    <a:pt x="334" y="192"/>
                  </a:lnTo>
                  <a:lnTo>
                    <a:pt x="336" y="190"/>
                  </a:lnTo>
                  <a:lnTo>
                    <a:pt x="340" y="184"/>
                  </a:lnTo>
                  <a:lnTo>
                    <a:pt x="340" y="182"/>
                  </a:lnTo>
                  <a:lnTo>
                    <a:pt x="342" y="180"/>
                  </a:lnTo>
                  <a:lnTo>
                    <a:pt x="346" y="176"/>
                  </a:lnTo>
                  <a:lnTo>
                    <a:pt x="348" y="176"/>
                  </a:lnTo>
                  <a:lnTo>
                    <a:pt x="350" y="174"/>
                  </a:lnTo>
                  <a:lnTo>
                    <a:pt x="356" y="172"/>
                  </a:lnTo>
                  <a:lnTo>
                    <a:pt x="358" y="174"/>
                  </a:lnTo>
                  <a:lnTo>
                    <a:pt x="360" y="174"/>
                  </a:lnTo>
                  <a:lnTo>
                    <a:pt x="360" y="176"/>
                  </a:lnTo>
                  <a:lnTo>
                    <a:pt x="360" y="178"/>
                  </a:lnTo>
                  <a:lnTo>
                    <a:pt x="364" y="182"/>
                  </a:lnTo>
                  <a:lnTo>
                    <a:pt x="366" y="186"/>
                  </a:lnTo>
                  <a:lnTo>
                    <a:pt x="370" y="190"/>
                  </a:lnTo>
                  <a:lnTo>
                    <a:pt x="372" y="194"/>
                  </a:lnTo>
                  <a:lnTo>
                    <a:pt x="374" y="200"/>
                  </a:lnTo>
                  <a:lnTo>
                    <a:pt x="374" y="206"/>
                  </a:lnTo>
                  <a:lnTo>
                    <a:pt x="374" y="210"/>
                  </a:lnTo>
                  <a:lnTo>
                    <a:pt x="374" y="212"/>
                  </a:lnTo>
                  <a:lnTo>
                    <a:pt x="374" y="218"/>
                  </a:lnTo>
                  <a:lnTo>
                    <a:pt x="374" y="220"/>
                  </a:lnTo>
                  <a:lnTo>
                    <a:pt x="374" y="224"/>
                  </a:lnTo>
                  <a:lnTo>
                    <a:pt x="376" y="224"/>
                  </a:lnTo>
                  <a:lnTo>
                    <a:pt x="384" y="222"/>
                  </a:lnTo>
                  <a:lnTo>
                    <a:pt x="390" y="226"/>
                  </a:lnTo>
                  <a:lnTo>
                    <a:pt x="414" y="246"/>
                  </a:lnTo>
                  <a:lnTo>
                    <a:pt x="414" y="248"/>
                  </a:lnTo>
                  <a:lnTo>
                    <a:pt x="416" y="248"/>
                  </a:lnTo>
                  <a:lnTo>
                    <a:pt x="426" y="248"/>
                  </a:lnTo>
                  <a:lnTo>
                    <a:pt x="432" y="244"/>
                  </a:lnTo>
                  <a:lnTo>
                    <a:pt x="434" y="244"/>
                  </a:lnTo>
                  <a:lnTo>
                    <a:pt x="436" y="242"/>
                  </a:lnTo>
                  <a:lnTo>
                    <a:pt x="436" y="240"/>
                  </a:lnTo>
                  <a:lnTo>
                    <a:pt x="438" y="238"/>
                  </a:lnTo>
                  <a:lnTo>
                    <a:pt x="446" y="234"/>
                  </a:lnTo>
                  <a:lnTo>
                    <a:pt x="450" y="234"/>
                  </a:lnTo>
                  <a:lnTo>
                    <a:pt x="454" y="234"/>
                  </a:lnTo>
                  <a:lnTo>
                    <a:pt x="456" y="236"/>
                  </a:lnTo>
                  <a:lnTo>
                    <a:pt x="458" y="238"/>
                  </a:lnTo>
                  <a:lnTo>
                    <a:pt x="458" y="240"/>
                  </a:lnTo>
                  <a:lnTo>
                    <a:pt x="458" y="242"/>
                  </a:lnTo>
                  <a:lnTo>
                    <a:pt x="458" y="244"/>
                  </a:lnTo>
                  <a:lnTo>
                    <a:pt x="456" y="246"/>
                  </a:lnTo>
                  <a:lnTo>
                    <a:pt x="454" y="248"/>
                  </a:lnTo>
                  <a:lnTo>
                    <a:pt x="454" y="250"/>
                  </a:lnTo>
                  <a:lnTo>
                    <a:pt x="456" y="252"/>
                  </a:lnTo>
                  <a:lnTo>
                    <a:pt x="458" y="252"/>
                  </a:lnTo>
                  <a:lnTo>
                    <a:pt x="460" y="252"/>
                  </a:lnTo>
                  <a:lnTo>
                    <a:pt x="462" y="250"/>
                  </a:lnTo>
                  <a:lnTo>
                    <a:pt x="464" y="248"/>
                  </a:lnTo>
                  <a:lnTo>
                    <a:pt x="464" y="246"/>
                  </a:lnTo>
                  <a:lnTo>
                    <a:pt x="466" y="244"/>
                  </a:lnTo>
                  <a:lnTo>
                    <a:pt x="466" y="242"/>
                  </a:lnTo>
                  <a:lnTo>
                    <a:pt x="468" y="238"/>
                  </a:lnTo>
                  <a:lnTo>
                    <a:pt x="470" y="238"/>
                  </a:lnTo>
                  <a:lnTo>
                    <a:pt x="472" y="238"/>
                  </a:lnTo>
                  <a:lnTo>
                    <a:pt x="474" y="238"/>
                  </a:lnTo>
                  <a:lnTo>
                    <a:pt x="476" y="238"/>
                  </a:lnTo>
                  <a:lnTo>
                    <a:pt x="476" y="236"/>
                  </a:lnTo>
                  <a:lnTo>
                    <a:pt x="478" y="236"/>
                  </a:lnTo>
                  <a:lnTo>
                    <a:pt x="478" y="234"/>
                  </a:lnTo>
                  <a:lnTo>
                    <a:pt x="478" y="232"/>
                  </a:lnTo>
                  <a:lnTo>
                    <a:pt x="478" y="230"/>
                  </a:lnTo>
                  <a:lnTo>
                    <a:pt x="478" y="228"/>
                  </a:lnTo>
                  <a:lnTo>
                    <a:pt x="480" y="226"/>
                  </a:lnTo>
                  <a:lnTo>
                    <a:pt x="486" y="224"/>
                  </a:lnTo>
                  <a:lnTo>
                    <a:pt x="488" y="222"/>
                  </a:lnTo>
                  <a:lnTo>
                    <a:pt x="496" y="218"/>
                  </a:lnTo>
                  <a:lnTo>
                    <a:pt x="498" y="220"/>
                  </a:lnTo>
                  <a:lnTo>
                    <a:pt x="500" y="220"/>
                  </a:lnTo>
                  <a:lnTo>
                    <a:pt x="502" y="220"/>
                  </a:lnTo>
                  <a:lnTo>
                    <a:pt x="508" y="216"/>
                  </a:lnTo>
                  <a:lnTo>
                    <a:pt x="508" y="214"/>
                  </a:lnTo>
                  <a:lnTo>
                    <a:pt x="510" y="212"/>
                  </a:lnTo>
                  <a:lnTo>
                    <a:pt x="512" y="210"/>
                  </a:lnTo>
                  <a:lnTo>
                    <a:pt x="520" y="206"/>
                  </a:lnTo>
                  <a:lnTo>
                    <a:pt x="526" y="208"/>
                  </a:lnTo>
                  <a:lnTo>
                    <a:pt x="534" y="202"/>
                  </a:lnTo>
                  <a:lnTo>
                    <a:pt x="536" y="198"/>
                  </a:lnTo>
                  <a:lnTo>
                    <a:pt x="538" y="196"/>
                  </a:lnTo>
                  <a:lnTo>
                    <a:pt x="538" y="190"/>
                  </a:lnTo>
                  <a:lnTo>
                    <a:pt x="538" y="188"/>
                  </a:lnTo>
                  <a:lnTo>
                    <a:pt x="538" y="186"/>
                  </a:lnTo>
                  <a:lnTo>
                    <a:pt x="538" y="184"/>
                  </a:lnTo>
                  <a:lnTo>
                    <a:pt x="540" y="182"/>
                  </a:lnTo>
                  <a:lnTo>
                    <a:pt x="542" y="180"/>
                  </a:lnTo>
                  <a:lnTo>
                    <a:pt x="544" y="180"/>
                  </a:lnTo>
                  <a:lnTo>
                    <a:pt x="550" y="180"/>
                  </a:lnTo>
                  <a:lnTo>
                    <a:pt x="554" y="178"/>
                  </a:lnTo>
                  <a:lnTo>
                    <a:pt x="556" y="178"/>
                  </a:lnTo>
                  <a:lnTo>
                    <a:pt x="560" y="174"/>
                  </a:lnTo>
                  <a:lnTo>
                    <a:pt x="564" y="172"/>
                  </a:lnTo>
                  <a:lnTo>
                    <a:pt x="568" y="172"/>
                  </a:lnTo>
                  <a:lnTo>
                    <a:pt x="572" y="172"/>
                  </a:lnTo>
                  <a:lnTo>
                    <a:pt x="574" y="166"/>
                  </a:lnTo>
                  <a:lnTo>
                    <a:pt x="576" y="156"/>
                  </a:lnTo>
                  <a:lnTo>
                    <a:pt x="574" y="156"/>
                  </a:lnTo>
                  <a:lnTo>
                    <a:pt x="562" y="156"/>
                  </a:lnTo>
                  <a:lnTo>
                    <a:pt x="552" y="156"/>
                  </a:lnTo>
                  <a:lnTo>
                    <a:pt x="550" y="156"/>
                  </a:lnTo>
                  <a:lnTo>
                    <a:pt x="538" y="154"/>
                  </a:lnTo>
                  <a:lnTo>
                    <a:pt x="538" y="152"/>
                  </a:lnTo>
                  <a:lnTo>
                    <a:pt x="538" y="150"/>
                  </a:lnTo>
                  <a:lnTo>
                    <a:pt x="540" y="148"/>
                  </a:lnTo>
                  <a:lnTo>
                    <a:pt x="540" y="146"/>
                  </a:lnTo>
                  <a:lnTo>
                    <a:pt x="540" y="140"/>
                  </a:lnTo>
                  <a:lnTo>
                    <a:pt x="538" y="134"/>
                  </a:lnTo>
                  <a:lnTo>
                    <a:pt x="536" y="128"/>
                  </a:lnTo>
                  <a:lnTo>
                    <a:pt x="532" y="122"/>
                  </a:lnTo>
                  <a:lnTo>
                    <a:pt x="528" y="114"/>
                  </a:lnTo>
                  <a:lnTo>
                    <a:pt x="528" y="106"/>
                  </a:lnTo>
                  <a:lnTo>
                    <a:pt x="526" y="102"/>
                  </a:lnTo>
                  <a:lnTo>
                    <a:pt x="528" y="100"/>
                  </a:lnTo>
                  <a:lnTo>
                    <a:pt x="530" y="98"/>
                  </a:lnTo>
                  <a:lnTo>
                    <a:pt x="530" y="96"/>
                  </a:lnTo>
                  <a:lnTo>
                    <a:pt x="530" y="92"/>
                  </a:lnTo>
                  <a:lnTo>
                    <a:pt x="522" y="86"/>
                  </a:lnTo>
                  <a:lnTo>
                    <a:pt x="520" y="84"/>
                  </a:lnTo>
                  <a:lnTo>
                    <a:pt x="518" y="82"/>
                  </a:lnTo>
                  <a:lnTo>
                    <a:pt x="516" y="82"/>
                  </a:lnTo>
                  <a:lnTo>
                    <a:pt x="512" y="78"/>
                  </a:lnTo>
                  <a:lnTo>
                    <a:pt x="506" y="72"/>
                  </a:lnTo>
                  <a:lnTo>
                    <a:pt x="504" y="72"/>
                  </a:lnTo>
                  <a:lnTo>
                    <a:pt x="504" y="70"/>
                  </a:lnTo>
                  <a:lnTo>
                    <a:pt x="502" y="66"/>
                  </a:lnTo>
                  <a:lnTo>
                    <a:pt x="502" y="64"/>
                  </a:lnTo>
                  <a:lnTo>
                    <a:pt x="500" y="62"/>
                  </a:lnTo>
                  <a:lnTo>
                    <a:pt x="498" y="60"/>
                  </a:lnTo>
                  <a:lnTo>
                    <a:pt x="496" y="60"/>
                  </a:lnTo>
                  <a:lnTo>
                    <a:pt x="496" y="56"/>
                  </a:lnTo>
                  <a:lnTo>
                    <a:pt x="498" y="56"/>
                  </a:lnTo>
                  <a:lnTo>
                    <a:pt x="500" y="56"/>
                  </a:lnTo>
                  <a:lnTo>
                    <a:pt x="502" y="56"/>
                  </a:lnTo>
                  <a:lnTo>
                    <a:pt x="504" y="58"/>
                  </a:lnTo>
                  <a:lnTo>
                    <a:pt x="506" y="64"/>
                  </a:lnTo>
                  <a:lnTo>
                    <a:pt x="508" y="64"/>
                  </a:lnTo>
                  <a:lnTo>
                    <a:pt x="510" y="64"/>
                  </a:lnTo>
                  <a:lnTo>
                    <a:pt x="514" y="64"/>
                  </a:lnTo>
                  <a:lnTo>
                    <a:pt x="516" y="64"/>
                  </a:lnTo>
                  <a:lnTo>
                    <a:pt x="518" y="62"/>
                  </a:lnTo>
                  <a:lnTo>
                    <a:pt x="520" y="62"/>
                  </a:lnTo>
                  <a:lnTo>
                    <a:pt x="522" y="62"/>
                  </a:lnTo>
                  <a:lnTo>
                    <a:pt x="526" y="64"/>
                  </a:lnTo>
                  <a:lnTo>
                    <a:pt x="528" y="64"/>
                  </a:lnTo>
                  <a:lnTo>
                    <a:pt x="532" y="64"/>
                  </a:lnTo>
                  <a:lnTo>
                    <a:pt x="534" y="66"/>
                  </a:lnTo>
                  <a:lnTo>
                    <a:pt x="534" y="68"/>
                  </a:lnTo>
                  <a:lnTo>
                    <a:pt x="536" y="74"/>
                  </a:lnTo>
                  <a:lnTo>
                    <a:pt x="536" y="76"/>
                  </a:lnTo>
                  <a:lnTo>
                    <a:pt x="538" y="76"/>
                  </a:lnTo>
                  <a:lnTo>
                    <a:pt x="540" y="78"/>
                  </a:lnTo>
                  <a:lnTo>
                    <a:pt x="542" y="76"/>
                  </a:lnTo>
                  <a:lnTo>
                    <a:pt x="544" y="74"/>
                  </a:lnTo>
                  <a:lnTo>
                    <a:pt x="548" y="72"/>
                  </a:lnTo>
                  <a:lnTo>
                    <a:pt x="558" y="74"/>
                  </a:lnTo>
                  <a:lnTo>
                    <a:pt x="560" y="74"/>
                  </a:lnTo>
                  <a:lnTo>
                    <a:pt x="562" y="74"/>
                  </a:lnTo>
                  <a:lnTo>
                    <a:pt x="562" y="76"/>
                  </a:lnTo>
                  <a:lnTo>
                    <a:pt x="564" y="78"/>
                  </a:lnTo>
                  <a:lnTo>
                    <a:pt x="566" y="78"/>
                  </a:lnTo>
                  <a:lnTo>
                    <a:pt x="568" y="78"/>
                  </a:lnTo>
                  <a:lnTo>
                    <a:pt x="570" y="76"/>
                  </a:lnTo>
                  <a:lnTo>
                    <a:pt x="570" y="74"/>
                  </a:lnTo>
                  <a:lnTo>
                    <a:pt x="572" y="72"/>
                  </a:lnTo>
                  <a:lnTo>
                    <a:pt x="574" y="72"/>
                  </a:lnTo>
                  <a:lnTo>
                    <a:pt x="576" y="72"/>
                  </a:lnTo>
                  <a:lnTo>
                    <a:pt x="578" y="74"/>
                  </a:lnTo>
                  <a:lnTo>
                    <a:pt x="580" y="76"/>
                  </a:lnTo>
                  <a:lnTo>
                    <a:pt x="584" y="82"/>
                  </a:lnTo>
                  <a:lnTo>
                    <a:pt x="594" y="92"/>
                  </a:lnTo>
                  <a:lnTo>
                    <a:pt x="598" y="94"/>
                  </a:lnTo>
                  <a:lnTo>
                    <a:pt x="600" y="94"/>
                  </a:lnTo>
                  <a:lnTo>
                    <a:pt x="606" y="92"/>
                  </a:lnTo>
                  <a:lnTo>
                    <a:pt x="608" y="90"/>
                  </a:lnTo>
                  <a:lnTo>
                    <a:pt x="608" y="88"/>
                  </a:lnTo>
                  <a:lnTo>
                    <a:pt x="608" y="86"/>
                  </a:lnTo>
                  <a:lnTo>
                    <a:pt x="608" y="84"/>
                  </a:lnTo>
                  <a:lnTo>
                    <a:pt x="608" y="82"/>
                  </a:lnTo>
                  <a:lnTo>
                    <a:pt x="606" y="80"/>
                  </a:lnTo>
                  <a:lnTo>
                    <a:pt x="606" y="76"/>
                  </a:lnTo>
                  <a:lnTo>
                    <a:pt x="606" y="70"/>
                  </a:lnTo>
                  <a:lnTo>
                    <a:pt x="608" y="68"/>
                  </a:lnTo>
                  <a:lnTo>
                    <a:pt x="612" y="68"/>
                  </a:lnTo>
                  <a:lnTo>
                    <a:pt x="614" y="68"/>
                  </a:lnTo>
                  <a:lnTo>
                    <a:pt x="618" y="64"/>
                  </a:lnTo>
                  <a:lnTo>
                    <a:pt x="624" y="60"/>
                  </a:lnTo>
                  <a:lnTo>
                    <a:pt x="626" y="60"/>
                  </a:lnTo>
                  <a:lnTo>
                    <a:pt x="630" y="62"/>
                  </a:lnTo>
                  <a:lnTo>
                    <a:pt x="632" y="64"/>
                  </a:lnTo>
                  <a:lnTo>
                    <a:pt x="636" y="64"/>
                  </a:lnTo>
                  <a:lnTo>
                    <a:pt x="638" y="64"/>
                  </a:lnTo>
                  <a:lnTo>
                    <a:pt x="640" y="64"/>
                  </a:lnTo>
                  <a:lnTo>
                    <a:pt x="642" y="64"/>
                  </a:lnTo>
                  <a:lnTo>
                    <a:pt x="644" y="64"/>
                  </a:lnTo>
                  <a:lnTo>
                    <a:pt x="644" y="62"/>
                  </a:lnTo>
                  <a:lnTo>
                    <a:pt x="648" y="62"/>
                  </a:lnTo>
                  <a:lnTo>
                    <a:pt x="650" y="62"/>
                  </a:lnTo>
                  <a:lnTo>
                    <a:pt x="652" y="62"/>
                  </a:lnTo>
                  <a:lnTo>
                    <a:pt x="656" y="62"/>
                  </a:lnTo>
                  <a:lnTo>
                    <a:pt x="658" y="60"/>
                  </a:lnTo>
                  <a:lnTo>
                    <a:pt x="658" y="58"/>
                  </a:lnTo>
                  <a:lnTo>
                    <a:pt x="660" y="56"/>
                  </a:lnTo>
                  <a:lnTo>
                    <a:pt x="664" y="56"/>
                  </a:lnTo>
                  <a:lnTo>
                    <a:pt x="666" y="56"/>
                  </a:lnTo>
                  <a:lnTo>
                    <a:pt x="668" y="56"/>
                  </a:lnTo>
                  <a:lnTo>
                    <a:pt x="672" y="56"/>
                  </a:lnTo>
                  <a:lnTo>
                    <a:pt x="674" y="54"/>
                  </a:lnTo>
                  <a:lnTo>
                    <a:pt x="674" y="52"/>
                  </a:lnTo>
                  <a:lnTo>
                    <a:pt x="674" y="50"/>
                  </a:lnTo>
                  <a:lnTo>
                    <a:pt x="674" y="48"/>
                  </a:lnTo>
                  <a:lnTo>
                    <a:pt x="684" y="42"/>
                  </a:lnTo>
                  <a:lnTo>
                    <a:pt x="692" y="44"/>
                  </a:lnTo>
                  <a:lnTo>
                    <a:pt x="698" y="42"/>
                  </a:lnTo>
                  <a:lnTo>
                    <a:pt x="702" y="42"/>
                  </a:lnTo>
                  <a:lnTo>
                    <a:pt x="704" y="40"/>
                  </a:lnTo>
                  <a:lnTo>
                    <a:pt x="706" y="38"/>
                  </a:lnTo>
                  <a:lnTo>
                    <a:pt x="706" y="36"/>
                  </a:lnTo>
                  <a:lnTo>
                    <a:pt x="706" y="30"/>
                  </a:lnTo>
                  <a:lnTo>
                    <a:pt x="708" y="30"/>
                  </a:lnTo>
                  <a:lnTo>
                    <a:pt x="710" y="30"/>
                  </a:lnTo>
                  <a:lnTo>
                    <a:pt x="716" y="28"/>
                  </a:lnTo>
                  <a:lnTo>
                    <a:pt x="718" y="26"/>
                  </a:lnTo>
                  <a:lnTo>
                    <a:pt x="720" y="24"/>
                  </a:lnTo>
                  <a:lnTo>
                    <a:pt x="724" y="20"/>
                  </a:lnTo>
                  <a:lnTo>
                    <a:pt x="724" y="18"/>
                  </a:lnTo>
                  <a:lnTo>
                    <a:pt x="724" y="16"/>
                  </a:lnTo>
                  <a:lnTo>
                    <a:pt x="720" y="8"/>
                  </a:lnTo>
                  <a:lnTo>
                    <a:pt x="720" y="6"/>
                  </a:lnTo>
                  <a:lnTo>
                    <a:pt x="718" y="4"/>
                  </a:lnTo>
                  <a:lnTo>
                    <a:pt x="716" y="4"/>
                  </a:lnTo>
                  <a:lnTo>
                    <a:pt x="718" y="4"/>
                  </a:lnTo>
                  <a:lnTo>
                    <a:pt x="724" y="4"/>
                  </a:lnTo>
                  <a:lnTo>
                    <a:pt x="724" y="6"/>
                  </a:lnTo>
                  <a:lnTo>
                    <a:pt x="738" y="4"/>
                  </a:lnTo>
                  <a:lnTo>
                    <a:pt x="740" y="2"/>
                  </a:lnTo>
                  <a:lnTo>
                    <a:pt x="742" y="2"/>
                  </a:lnTo>
                  <a:lnTo>
                    <a:pt x="744" y="0"/>
                  </a:lnTo>
                  <a:lnTo>
                    <a:pt x="748" y="2"/>
                  </a:lnTo>
                  <a:lnTo>
                    <a:pt x="750" y="4"/>
                  </a:lnTo>
                  <a:lnTo>
                    <a:pt x="750" y="6"/>
                  </a:lnTo>
                  <a:lnTo>
                    <a:pt x="754" y="10"/>
                  </a:lnTo>
                  <a:lnTo>
                    <a:pt x="756" y="14"/>
                  </a:lnTo>
                  <a:lnTo>
                    <a:pt x="756" y="24"/>
                  </a:lnTo>
                  <a:lnTo>
                    <a:pt x="754" y="30"/>
                  </a:lnTo>
                  <a:lnTo>
                    <a:pt x="752" y="36"/>
                  </a:lnTo>
                  <a:lnTo>
                    <a:pt x="750" y="36"/>
                  </a:lnTo>
                  <a:lnTo>
                    <a:pt x="748" y="38"/>
                  </a:lnTo>
                  <a:lnTo>
                    <a:pt x="746" y="38"/>
                  </a:lnTo>
                  <a:lnTo>
                    <a:pt x="748" y="42"/>
                  </a:lnTo>
                  <a:lnTo>
                    <a:pt x="754" y="44"/>
                  </a:lnTo>
                  <a:lnTo>
                    <a:pt x="758" y="42"/>
                  </a:lnTo>
                  <a:lnTo>
                    <a:pt x="766" y="46"/>
                  </a:lnTo>
                  <a:lnTo>
                    <a:pt x="770" y="46"/>
                  </a:lnTo>
                  <a:lnTo>
                    <a:pt x="774" y="48"/>
                  </a:lnTo>
                  <a:lnTo>
                    <a:pt x="770" y="54"/>
                  </a:lnTo>
                  <a:lnTo>
                    <a:pt x="770" y="58"/>
                  </a:lnTo>
                  <a:lnTo>
                    <a:pt x="770" y="60"/>
                  </a:lnTo>
                  <a:lnTo>
                    <a:pt x="772" y="60"/>
                  </a:lnTo>
                  <a:lnTo>
                    <a:pt x="778" y="70"/>
                  </a:lnTo>
                  <a:lnTo>
                    <a:pt x="778" y="76"/>
                  </a:lnTo>
                  <a:lnTo>
                    <a:pt x="774" y="84"/>
                  </a:lnTo>
                  <a:lnTo>
                    <a:pt x="768" y="90"/>
                  </a:lnTo>
                  <a:lnTo>
                    <a:pt x="764" y="96"/>
                  </a:lnTo>
                  <a:lnTo>
                    <a:pt x="766" y="98"/>
                  </a:lnTo>
                  <a:lnTo>
                    <a:pt x="766" y="104"/>
                  </a:lnTo>
                  <a:lnTo>
                    <a:pt x="764" y="106"/>
                  </a:lnTo>
                  <a:lnTo>
                    <a:pt x="764" y="108"/>
                  </a:lnTo>
                  <a:lnTo>
                    <a:pt x="762" y="110"/>
                  </a:lnTo>
                  <a:lnTo>
                    <a:pt x="760" y="114"/>
                  </a:lnTo>
                  <a:lnTo>
                    <a:pt x="760" y="120"/>
                  </a:lnTo>
                  <a:lnTo>
                    <a:pt x="758" y="122"/>
                  </a:lnTo>
                  <a:lnTo>
                    <a:pt x="758" y="130"/>
                  </a:lnTo>
                  <a:lnTo>
                    <a:pt x="758" y="132"/>
                  </a:lnTo>
                  <a:lnTo>
                    <a:pt x="758" y="140"/>
                  </a:lnTo>
                  <a:lnTo>
                    <a:pt x="760" y="146"/>
                  </a:lnTo>
                  <a:lnTo>
                    <a:pt x="760" y="148"/>
                  </a:lnTo>
                  <a:lnTo>
                    <a:pt x="762" y="154"/>
                  </a:lnTo>
                  <a:lnTo>
                    <a:pt x="762" y="156"/>
                  </a:lnTo>
                  <a:lnTo>
                    <a:pt x="762" y="158"/>
                  </a:lnTo>
                  <a:lnTo>
                    <a:pt x="764" y="160"/>
                  </a:lnTo>
                  <a:lnTo>
                    <a:pt x="768" y="162"/>
                  </a:lnTo>
                  <a:lnTo>
                    <a:pt x="770" y="164"/>
                  </a:lnTo>
                  <a:lnTo>
                    <a:pt x="772" y="166"/>
                  </a:lnTo>
                  <a:lnTo>
                    <a:pt x="770" y="174"/>
                  </a:lnTo>
                  <a:lnTo>
                    <a:pt x="770" y="184"/>
                  </a:lnTo>
                  <a:lnTo>
                    <a:pt x="770" y="186"/>
                  </a:lnTo>
                  <a:lnTo>
                    <a:pt x="772" y="186"/>
                  </a:lnTo>
                  <a:lnTo>
                    <a:pt x="776" y="188"/>
                  </a:lnTo>
                  <a:lnTo>
                    <a:pt x="776" y="190"/>
                  </a:lnTo>
                  <a:lnTo>
                    <a:pt x="774" y="192"/>
                  </a:lnTo>
                  <a:lnTo>
                    <a:pt x="776" y="194"/>
                  </a:lnTo>
                  <a:lnTo>
                    <a:pt x="778" y="194"/>
                  </a:lnTo>
                  <a:lnTo>
                    <a:pt x="782" y="196"/>
                  </a:lnTo>
                  <a:lnTo>
                    <a:pt x="784" y="198"/>
                  </a:lnTo>
                  <a:lnTo>
                    <a:pt x="788" y="202"/>
                  </a:lnTo>
                  <a:lnTo>
                    <a:pt x="798" y="212"/>
                  </a:lnTo>
                  <a:lnTo>
                    <a:pt x="806" y="214"/>
                  </a:lnTo>
                  <a:lnTo>
                    <a:pt x="812" y="216"/>
                  </a:lnTo>
                  <a:lnTo>
                    <a:pt x="814" y="216"/>
                  </a:lnTo>
                  <a:lnTo>
                    <a:pt x="816" y="216"/>
                  </a:lnTo>
                  <a:lnTo>
                    <a:pt x="816" y="218"/>
                  </a:lnTo>
                  <a:lnTo>
                    <a:pt x="816" y="220"/>
                  </a:lnTo>
                  <a:lnTo>
                    <a:pt x="818" y="222"/>
                  </a:lnTo>
                  <a:lnTo>
                    <a:pt x="820" y="224"/>
                  </a:lnTo>
                  <a:lnTo>
                    <a:pt x="824" y="222"/>
                  </a:lnTo>
                  <a:lnTo>
                    <a:pt x="826" y="220"/>
                  </a:lnTo>
                  <a:lnTo>
                    <a:pt x="826" y="218"/>
                  </a:lnTo>
                  <a:lnTo>
                    <a:pt x="828" y="218"/>
                  </a:lnTo>
                  <a:lnTo>
                    <a:pt x="834" y="218"/>
                  </a:lnTo>
                  <a:lnTo>
                    <a:pt x="836" y="218"/>
                  </a:lnTo>
                  <a:lnTo>
                    <a:pt x="838" y="216"/>
                  </a:lnTo>
                  <a:lnTo>
                    <a:pt x="840" y="214"/>
                  </a:lnTo>
                  <a:lnTo>
                    <a:pt x="838" y="208"/>
                  </a:lnTo>
                  <a:lnTo>
                    <a:pt x="844" y="208"/>
                  </a:lnTo>
                  <a:lnTo>
                    <a:pt x="850" y="202"/>
                  </a:lnTo>
                  <a:lnTo>
                    <a:pt x="858" y="206"/>
                  </a:lnTo>
                  <a:lnTo>
                    <a:pt x="864" y="206"/>
                  </a:lnTo>
                  <a:lnTo>
                    <a:pt x="866" y="202"/>
                  </a:lnTo>
                  <a:lnTo>
                    <a:pt x="866" y="200"/>
                  </a:lnTo>
                  <a:lnTo>
                    <a:pt x="872" y="196"/>
                  </a:lnTo>
                  <a:lnTo>
                    <a:pt x="878" y="194"/>
                  </a:lnTo>
                  <a:lnTo>
                    <a:pt x="880" y="194"/>
                  </a:lnTo>
                  <a:lnTo>
                    <a:pt x="882" y="194"/>
                  </a:lnTo>
                  <a:lnTo>
                    <a:pt x="884" y="194"/>
                  </a:lnTo>
                  <a:lnTo>
                    <a:pt x="890" y="194"/>
                  </a:lnTo>
                  <a:lnTo>
                    <a:pt x="894" y="190"/>
                  </a:lnTo>
                  <a:lnTo>
                    <a:pt x="896" y="186"/>
                  </a:lnTo>
                  <a:lnTo>
                    <a:pt x="896" y="184"/>
                  </a:lnTo>
                  <a:lnTo>
                    <a:pt x="902" y="180"/>
                  </a:lnTo>
                  <a:lnTo>
                    <a:pt x="904" y="180"/>
                  </a:lnTo>
                  <a:lnTo>
                    <a:pt x="906" y="180"/>
                  </a:lnTo>
                  <a:lnTo>
                    <a:pt x="908" y="180"/>
                  </a:lnTo>
                  <a:lnTo>
                    <a:pt x="910" y="178"/>
                  </a:lnTo>
                  <a:lnTo>
                    <a:pt x="914" y="176"/>
                  </a:lnTo>
                  <a:lnTo>
                    <a:pt x="914" y="178"/>
                  </a:lnTo>
                  <a:lnTo>
                    <a:pt x="916" y="178"/>
                  </a:lnTo>
                  <a:lnTo>
                    <a:pt x="916" y="180"/>
                  </a:lnTo>
                  <a:lnTo>
                    <a:pt x="918" y="182"/>
                  </a:lnTo>
                  <a:lnTo>
                    <a:pt x="926" y="184"/>
                  </a:lnTo>
                  <a:lnTo>
                    <a:pt x="932" y="186"/>
                  </a:lnTo>
                  <a:lnTo>
                    <a:pt x="932" y="184"/>
                  </a:lnTo>
                  <a:lnTo>
                    <a:pt x="934" y="182"/>
                  </a:lnTo>
                  <a:lnTo>
                    <a:pt x="940" y="182"/>
                  </a:lnTo>
                  <a:lnTo>
                    <a:pt x="942" y="182"/>
                  </a:lnTo>
                  <a:lnTo>
                    <a:pt x="944" y="182"/>
                  </a:lnTo>
                  <a:lnTo>
                    <a:pt x="948" y="182"/>
                  </a:lnTo>
                  <a:lnTo>
                    <a:pt x="950" y="182"/>
                  </a:lnTo>
                  <a:lnTo>
                    <a:pt x="956" y="182"/>
                  </a:lnTo>
                  <a:lnTo>
                    <a:pt x="962" y="184"/>
                  </a:lnTo>
                  <a:lnTo>
                    <a:pt x="966" y="186"/>
                  </a:lnTo>
                  <a:lnTo>
                    <a:pt x="970" y="186"/>
                  </a:lnTo>
                  <a:lnTo>
                    <a:pt x="972" y="188"/>
                  </a:lnTo>
                  <a:lnTo>
                    <a:pt x="974" y="188"/>
                  </a:lnTo>
                  <a:lnTo>
                    <a:pt x="976" y="186"/>
                  </a:lnTo>
                  <a:lnTo>
                    <a:pt x="978" y="184"/>
                  </a:lnTo>
                  <a:lnTo>
                    <a:pt x="978" y="176"/>
                  </a:lnTo>
                  <a:lnTo>
                    <a:pt x="970" y="166"/>
                  </a:lnTo>
                  <a:lnTo>
                    <a:pt x="966" y="164"/>
                  </a:lnTo>
                  <a:lnTo>
                    <a:pt x="968" y="158"/>
                  </a:lnTo>
                  <a:lnTo>
                    <a:pt x="972" y="154"/>
                  </a:lnTo>
                  <a:lnTo>
                    <a:pt x="974" y="150"/>
                  </a:lnTo>
                  <a:lnTo>
                    <a:pt x="974" y="148"/>
                  </a:lnTo>
                  <a:lnTo>
                    <a:pt x="976" y="150"/>
                  </a:lnTo>
                  <a:lnTo>
                    <a:pt x="978" y="150"/>
                  </a:lnTo>
                  <a:lnTo>
                    <a:pt x="980" y="152"/>
                  </a:lnTo>
                  <a:lnTo>
                    <a:pt x="988" y="156"/>
                  </a:lnTo>
                  <a:lnTo>
                    <a:pt x="1000" y="154"/>
                  </a:lnTo>
                  <a:lnTo>
                    <a:pt x="1020" y="150"/>
                  </a:lnTo>
                  <a:lnTo>
                    <a:pt x="1022" y="148"/>
                  </a:lnTo>
                  <a:lnTo>
                    <a:pt x="1028" y="148"/>
                  </a:lnTo>
                  <a:lnTo>
                    <a:pt x="1034" y="154"/>
                  </a:lnTo>
                  <a:lnTo>
                    <a:pt x="1036" y="154"/>
                  </a:lnTo>
                  <a:lnTo>
                    <a:pt x="1038" y="154"/>
                  </a:lnTo>
                  <a:lnTo>
                    <a:pt x="1040" y="152"/>
                  </a:lnTo>
                  <a:lnTo>
                    <a:pt x="1044" y="154"/>
                  </a:lnTo>
                  <a:lnTo>
                    <a:pt x="1044" y="156"/>
                  </a:lnTo>
                  <a:lnTo>
                    <a:pt x="1042" y="156"/>
                  </a:lnTo>
                  <a:lnTo>
                    <a:pt x="1044" y="160"/>
                  </a:lnTo>
                  <a:lnTo>
                    <a:pt x="1046" y="160"/>
                  </a:lnTo>
                  <a:lnTo>
                    <a:pt x="1048" y="160"/>
                  </a:lnTo>
                  <a:lnTo>
                    <a:pt x="1050" y="160"/>
                  </a:lnTo>
                  <a:lnTo>
                    <a:pt x="1052" y="160"/>
                  </a:lnTo>
                  <a:lnTo>
                    <a:pt x="1052" y="162"/>
                  </a:lnTo>
                  <a:lnTo>
                    <a:pt x="1054" y="164"/>
                  </a:lnTo>
                  <a:lnTo>
                    <a:pt x="1056" y="166"/>
                  </a:lnTo>
                  <a:lnTo>
                    <a:pt x="1064" y="170"/>
                  </a:lnTo>
                  <a:lnTo>
                    <a:pt x="1074" y="172"/>
                  </a:lnTo>
                  <a:lnTo>
                    <a:pt x="1084" y="166"/>
                  </a:lnTo>
                  <a:lnTo>
                    <a:pt x="1086" y="164"/>
                  </a:lnTo>
                  <a:lnTo>
                    <a:pt x="1086" y="162"/>
                  </a:lnTo>
                  <a:lnTo>
                    <a:pt x="1092" y="158"/>
                  </a:lnTo>
                  <a:lnTo>
                    <a:pt x="1094" y="156"/>
                  </a:lnTo>
                  <a:lnTo>
                    <a:pt x="1096" y="158"/>
                  </a:lnTo>
                  <a:lnTo>
                    <a:pt x="1096" y="160"/>
                  </a:lnTo>
                  <a:lnTo>
                    <a:pt x="1106" y="164"/>
                  </a:lnTo>
                  <a:lnTo>
                    <a:pt x="1110" y="164"/>
                  </a:lnTo>
                  <a:lnTo>
                    <a:pt x="1116" y="160"/>
                  </a:lnTo>
                  <a:lnTo>
                    <a:pt x="1116" y="158"/>
                  </a:lnTo>
                  <a:lnTo>
                    <a:pt x="1118" y="158"/>
                  </a:lnTo>
                  <a:lnTo>
                    <a:pt x="1120" y="160"/>
                  </a:lnTo>
                  <a:lnTo>
                    <a:pt x="1124" y="162"/>
                  </a:lnTo>
                  <a:lnTo>
                    <a:pt x="1122" y="166"/>
                  </a:lnTo>
                  <a:lnTo>
                    <a:pt x="1124" y="166"/>
                  </a:lnTo>
                  <a:lnTo>
                    <a:pt x="1128" y="166"/>
                  </a:lnTo>
                  <a:lnTo>
                    <a:pt x="1130" y="166"/>
                  </a:lnTo>
                  <a:lnTo>
                    <a:pt x="1132" y="166"/>
                  </a:lnTo>
                  <a:lnTo>
                    <a:pt x="1132" y="168"/>
                  </a:lnTo>
                  <a:lnTo>
                    <a:pt x="1136" y="168"/>
                  </a:lnTo>
                  <a:lnTo>
                    <a:pt x="1138" y="168"/>
                  </a:lnTo>
                  <a:lnTo>
                    <a:pt x="1140" y="166"/>
                  </a:lnTo>
                  <a:lnTo>
                    <a:pt x="1142" y="166"/>
                  </a:lnTo>
                  <a:lnTo>
                    <a:pt x="1148" y="160"/>
                  </a:lnTo>
                  <a:lnTo>
                    <a:pt x="1152" y="156"/>
                  </a:lnTo>
                  <a:lnTo>
                    <a:pt x="1158" y="152"/>
                  </a:lnTo>
                  <a:lnTo>
                    <a:pt x="1158" y="148"/>
                  </a:lnTo>
                  <a:lnTo>
                    <a:pt x="1160" y="146"/>
                  </a:lnTo>
                  <a:lnTo>
                    <a:pt x="1160" y="144"/>
                  </a:lnTo>
                  <a:lnTo>
                    <a:pt x="1160" y="142"/>
                  </a:lnTo>
                  <a:lnTo>
                    <a:pt x="1162" y="138"/>
                  </a:lnTo>
                  <a:lnTo>
                    <a:pt x="1164" y="132"/>
                  </a:lnTo>
                  <a:lnTo>
                    <a:pt x="1166" y="126"/>
                  </a:lnTo>
                  <a:lnTo>
                    <a:pt x="1168" y="124"/>
                  </a:lnTo>
                  <a:lnTo>
                    <a:pt x="1170" y="120"/>
                  </a:lnTo>
                  <a:lnTo>
                    <a:pt x="1170" y="118"/>
                  </a:lnTo>
                  <a:lnTo>
                    <a:pt x="1170" y="116"/>
                  </a:lnTo>
                  <a:lnTo>
                    <a:pt x="1170" y="114"/>
                  </a:lnTo>
                  <a:lnTo>
                    <a:pt x="1174" y="108"/>
                  </a:lnTo>
                  <a:lnTo>
                    <a:pt x="1176" y="108"/>
                  </a:lnTo>
                  <a:lnTo>
                    <a:pt x="1180" y="102"/>
                  </a:lnTo>
                  <a:lnTo>
                    <a:pt x="1184" y="98"/>
                  </a:lnTo>
                  <a:lnTo>
                    <a:pt x="1188" y="88"/>
                  </a:lnTo>
                  <a:lnTo>
                    <a:pt x="1188" y="86"/>
                  </a:lnTo>
                  <a:lnTo>
                    <a:pt x="1190" y="82"/>
                  </a:lnTo>
                  <a:lnTo>
                    <a:pt x="1192" y="80"/>
                  </a:lnTo>
                  <a:lnTo>
                    <a:pt x="1194" y="78"/>
                  </a:lnTo>
                  <a:lnTo>
                    <a:pt x="1198" y="74"/>
                  </a:lnTo>
                  <a:lnTo>
                    <a:pt x="1200" y="72"/>
                  </a:lnTo>
                  <a:lnTo>
                    <a:pt x="1200" y="68"/>
                  </a:lnTo>
                  <a:lnTo>
                    <a:pt x="1202" y="66"/>
                  </a:lnTo>
                  <a:lnTo>
                    <a:pt x="1204" y="64"/>
                  </a:lnTo>
                  <a:lnTo>
                    <a:pt x="1206" y="64"/>
                  </a:lnTo>
                  <a:lnTo>
                    <a:pt x="1208" y="64"/>
                  </a:lnTo>
                  <a:lnTo>
                    <a:pt x="1208" y="62"/>
                  </a:lnTo>
                  <a:lnTo>
                    <a:pt x="1210" y="60"/>
                  </a:lnTo>
                  <a:lnTo>
                    <a:pt x="1212" y="58"/>
                  </a:lnTo>
                  <a:lnTo>
                    <a:pt x="1214" y="64"/>
                  </a:lnTo>
                  <a:lnTo>
                    <a:pt x="1218" y="68"/>
                  </a:lnTo>
                  <a:lnTo>
                    <a:pt x="1218" y="64"/>
                  </a:lnTo>
                  <a:lnTo>
                    <a:pt x="1216" y="64"/>
                  </a:lnTo>
                  <a:lnTo>
                    <a:pt x="1214" y="60"/>
                  </a:lnTo>
                  <a:lnTo>
                    <a:pt x="1212" y="52"/>
                  </a:lnTo>
                  <a:lnTo>
                    <a:pt x="1212" y="50"/>
                  </a:lnTo>
                  <a:lnTo>
                    <a:pt x="1212" y="48"/>
                  </a:lnTo>
                  <a:lnTo>
                    <a:pt x="1212" y="46"/>
                  </a:lnTo>
                  <a:lnTo>
                    <a:pt x="1224" y="54"/>
                  </a:lnTo>
                  <a:lnTo>
                    <a:pt x="1228" y="58"/>
                  </a:lnTo>
                  <a:lnTo>
                    <a:pt x="1232" y="62"/>
                  </a:lnTo>
                  <a:lnTo>
                    <a:pt x="1232" y="64"/>
                  </a:lnTo>
                  <a:lnTo>
                    <a:pt x="1234" y="66"/>
                  </a:lnTo>
                  <a:lnTo>
                    <a:pt x="1234" y="72"/>
                  </a:lnTo>
                  <a:lnTo>
                    <a:pt x="1236" y="74"/>
                  </a:lnTo>
                  <a:lnTo>
                    <a:pt x="1236" y="72"/>
                  </a:lnTo>
                  <a:lnTo>
                    <a:pt x="1238" y="70"/>
                  </a:lnTo>
                  <a:lnTo>
                    <a:pt x="1238" y="72"/>
                  </a:lnTo>
                  <a:lnTo>
                    <a:pt x="1238" y="82"/>
                  </a:lnTo>
                  <a:lnTo>
                    <a:pt x="1238" y="86"/>
                  </a:lnTo>
                  <a:lnTo>
                    <a:pt x="1238" y="90"/>
                  </a:lnTo>
                  <a:lnTo>
                    <a:pt x="1240" y="102"/>
                  </a:lnTo>
                  <a:lnTo>
                    <a:pt x="1240" y="106"/>
                  </a:lnTo>
                  <a:lnTo>
                    <a:pt x="1240" y="108"/>
                  </a:lnTo>
                  <a:lnTo>
                    <a:pt x="1242" y="114"/>
                  </a:lnTo>
                  <a:lnTo>
                    <a:pt x="1242" y="116"/>
                  </a:lnTo>
                  <a:lnTo>
                    <a:pt x="1244" y="120"/>
                  </a:lnTo>
                  <a:lnTo>
                    <a:pt x="1248" y="128"/>
                  </a:lnTo>
                  <a:lnTo>
                    <a:pt x="1252" y="136"/>
                  </a:lnTo>
                  <a:lnTo>
                    <a:pt x="1252" y="140"/>
                  </a:lnTo>
                  <a:lnTo>
                    <a:pt x="1254" y="142"/>
                  </a:lnTo>
                  <a:lnTo>
                    <a:pt x="1256" y="150"/>
                  </a:lnTo>
                  <a:lnTo>
                    <a:pt x="1260" y="168"/>
                  </a:lnTo>
                  <a:lnTo>
                    <a:pt x="1266" y="174"/>
                  </a:lnTo>
                  <a:lnTo>
                    <a:pt x="1270" y="184"/>
                  </a:lnTo>
                  <a:lnTo>
                    <a:pt x="1272" y="184"/>
                  </a:lnTo>
                  <a:lnTo>
                    <a:pt x="1272" y="186"/>
                  </a:lnTo>
                  <a:lnTo>
                    <a:pt x="1274" y="186"/>
                  </a:lnTo>
                  <a:lnTo>
                    <a:pt x="1276" y="188"/>
                  </a:lnTo>
                  <a:lnTo>
                    <a:pt x="1280" y="186"/>
                  </a:lnTo>
                  <a:lnTo>
                    <a:pt x="1288" y="186"/>
                  </a:lnTo>
                  <a:lnTo>
                    <a:pt x="1294" y="190"/>
                  </a:lnTo>
                  <a:lnTo>
                    <a:pt x="1296" y="190"/>
                  </a:lnTo>
                  <a:lnTo>
                    <a:pt x="1302" y="194"/>
                  </a:lnTo>
                  <a:lnTo>
                    <a:pt x="1304" y="200"/>
                  </a:lnTo>
                  <a:lnTo>
                    <a:pt x="1304" y="202"/>
                  </a:lnTo>
                  <a:lnTo>
                    <a:pt x="1304" y="204"/>
                  </a:lnTo>
                  <a:lnTo>
                    <a:pt x="1304" y="208"/>
                  </a:lnTo>
                  <a:lnTo>
                    <a:pt x="1304" y="214"/>
                  </a:lnTo>
                  <a:lnTo>
                    <a:pt x="1300" y="218"/>
                  </a:lnTo>
                  <a:lnTo>
                    <a:pt x="1296" y="218"/>
                  </a:lnTo>
                  <a:lnTo>
                    <a:pt x="1294" y="220"/>
                  </a:lnTo>
                  <a:lnTo>
                    <a:pt x="1292" y="220"/>
                  </a:lnTo>
                  <a:lnTo>
                    <a:pt x="1294" y="220"/>
                  </a:lnTo>
                  <a:lnTo>
                    <a:pt x="1298" y="220"/>
                  </a:lnTo>
                  <a:lnTo>
                    <a:pt x="1300" y="220"/>
                  </a:lnTo>
                  <a:lnTo>
                    <a:pt x="1302" y="218"/>
                  </a:lnTo>
                  <a:lnTo>
                    <a:pt x="1302" y="220"/>
                  </a:lnTo>
                  <a:lnTo>
                    <a:pt x="1304" y="222"/>
                  </a:lnTo>
                  <a:lnTo>
                    <a:pt x="1302" y="224"/>
                  </a:lnTo>
                  <a:lnTo>
                    <a:pt x="1302" y="226"/>
                  </a:lnTo>
                  <a:lnTo>
                    <a:pt x="1298" y="228"/>
                  </a:lnTo>
                  <a:lnTo>
                    <a:pt x="1286" y="238"/>
                  </a:lnTo>
                  <a:lnTo>
                    <a:pt x="1280" y="246"/>
                  </a:lnTo>
                  <a:lnTo>
                    <a:pt x="1278" y="248"/>
                  </a:lnTo>
                  <a:lnTo>
                    <a:pt x="1276" y="250"/>
                  </a:lnTo>
                  <a:lnTo>
                    <a:pt x="1274" y="250"/>
                  </a:lnTo>
                  <a:lnTo>
                    <a:pt x="1272" y="254"/>
                  </a:lnTo>
                  <a:lnTo>
                    <a:pt x="1272" y="256"/>
                  </a:lnTo>
                  <a:lnTo>
                    <a:pt x="1270" y="258"/>
                  </a:lnTo>
                  <a:lnTo>
                    <a:pt x="1268" y="264"/>
                  </a:lnTo>
                  <a:lnTo>
                    <a:pt x="1266" y="266"/>
                  </a:lnTo>
                  <a:lnTo>
                    <a:pt x="1264" y="268"/>
                  </a:lnTo>
                  <a:lnTo>
                    <a:pt x="1258" y="278"/>
                  </a:lnTo>
                  <a:lnTo>
                    <a:pt x="1256" y="278"/>
                  </a:lnTo>
                  <a:lnTo>
                    <a:pt x="1254" y="278"/>
                  </a:lnTo>
                  <a:lnTo>
                    <a:pt x="1252" y="278"/>
                  </a:lnTo>
                  <a:lnTo>
                    <a:pt x="1248" y="280"/>
                  </a:lnTo>
                  <a:lnTo>
                    <a:pt x="1246" y="280"/>
                  </a:lnTo>
                  <a:lnTo>
                    <a:pt x="1244" y="282"/>
                  </a:lnTo>
                  <a:lnTo>
                    <a:pt x="1244" y="284"/>
                  </a:lnTo>
                  <a:lnTo>
                    <a:pt x="1242" y="286"/>
                  </a:lnTo>
                  <a:lnTo>
                    <a:pt x="1240" y="288"/>
                  </a:lnTo>
                  <a:lnTo>
                    <a:pt x="1240" y="290"/>
                  </a:lnTo>
                  <a:lnTo>
                    <a:pt x="1238" y="292"/>
                  </a:lnTo>
                  <a:lnTo>
                    <a:pt x="1236" y="292"/>
                  </a:lnTo>
                  <a:lnTo>
                    <a:pt x="1236" y="294"/>
                  </a:lnTo>
                  <a:lnTo>
                    <a:pt x="1234" y="294"/>
                  </a:lnTo>
                  <a:lnTo>
                    <a:pt x="1232" y="294"/>
                  </a:lnTo>
                  <a:lnTo>
                    <a:pt x="1230" y="296"/>
                  </a:lnTo>
                  <a:lnTo>
                    <a:pt x="1228" y="298"/>
                  </a:lnTo>
                  <a:lnTo>
                    <a:pt x="1226" y="300"/>
                  </a:lnTo>
                  <a:lnTo>
                    <a:pt x="1224" y="304"/>
                  </a:lnTo>
                  <a:lnTo>
                    <a:pt x="1224" y="306"/>
                  </a:lnTo>
                  <a:lnTo>
                    <a:pt x="1224" y="308"/>
                  </a:lnTo>
                  <a:lnTo>
                    <a:pt x="1222" y="310"/>
                  </a:lnTo>
                  <a:lnTo>
                    <a:pt x="1220" y="316"/>
                  </a:lnTo>
                  <a:lnTo>
                    <a:pt x="1218" y="316"/>
                  </a:lnTo>
                  <a:lnTo>
                    <a:pt x="1216" y="318"/>
                  </a:lnTo>
                  <a:lnTo>
                    <a:pt x="1212" y="322"/>
                  </a:lnTo>
                  <a:lnTo>
                    <a:pt x="1206" y="330"/>
                  </a:lnTo>
                  <a:lnTo>
                    <a:pt x="1204" y="332"/>
                  </a:lnTo>
                  <a:lnTo>
                    <a:pt x="1204" y="336"/>
                  </a:lnTo>
                  <a:lnTo>
                    <a:pt x="1204" y="338"/>
                  </a:lnTo>
                  <a:lnTo>
                    <a:pt x="1204" y="340"/>
                  </a:lnTo>
                  <a:lnTo>
                    <a:pt x="1204" y="342"/>
                  </a:lnTo>
                  <a:lnTo>
                    <a:pt x="1206" y="344"/>
                  </a:lnTo>
                  <a:lnTo>
                    <a:pt x="1198" y="352"/>
                  </a:lnTo>
                  <a:lnTo>
                    <a:pt x="1196" y="352"/>
                  </a:lnTo>
                  <a:lnTo>
                    <a:pt x="1194" y="352"/>
                  </a:lnTo>
                  <a:lnTo>
                    <a:pt x="1194" y="354"/>
                  </a:lnTo>
                  <a:lnTo>
                    <a:pt x="1194" y="358"/>
                  </a:lnTo>
                  <a:lnTo>
                    <a:pt x="1194" y="360"/>
                  </a:lnTo>
                  <a:lnTo>
                    <a:pt x="1194" y="362"/>
                  </a:lnTo>
                  <a:lnTo>
                    <a:pt x="1188" y="366"/>
                  </a:lnTo>
                  <a:lnTo>
                    <a:pt x="1186" y="366"/>
                  </a:lnTo>
                  <a:lnTo>
                    <a:pt x="1184" y="366"/>
                  </a:lnTo>
                  <a:lnTo>
                    <a:pt x="1182" y="366"/>
                  </a:lnTo>
                  <a:lnTo>
                    <a:pt x="1182" y="364"/>
                  </a:lnTo>
                  <a:lnTo>
                    <a:pt x="1180" y="362"/>
                  </a:lnTo>
                  <a:lnTo>
                    <a:pt x="1178" y="362"/>
                  </a:lnTo>
                  <a:lnTo>
                    <a:pt x="1166" y="368"/>
                  </a:lnTo>
                  <a:lnTo>
                    <a:pt x="1164" y="370"/>
                  </a:lnTo>
                  <a:lnTo>
                    <a:pt x="1158" y="372"/>
                  </a:lnTo>
                  <a:lnTo>
                    <a:pt x="1156" y="372"/>
                  </a:lnTo>
                  <a:lnTo>
                    <a:pt x="1156" y="374"/>
                  </a:lnTo>
                  <a:lnTo>
                    <a:pt x="1150" y="374"/>
                  </a:lnTo>
                  <a:lnTo>
                    <a:pt x="1152" y="376"/>
                  </a:lnTo>
                  <a:lnTo>
                    <a:pt x="1162" y="376"/>
                  </a:lnTo>
                  <a:lnTo>
                    <a:pt x="1174" y="374"/>
                  </a:lnTo>
                  <a:lnTo>
                    <a:pt x="1176" y="376"/>
                  </a:lnTo>
                  <a:lnTo>
                    <a:pt x="1178" y="378"/>
                  </a:lnTo>
                  <a:lnTo>
                    <a:pt x="1176" y="380"/>
                  </a:lnTo>
                  <a:lnTo>
                    <a:pt x="1176" y="382"/>
                  </a:lnTo>
                  <a:lnTo>
                    <a:pt x="1178" y="382"/>
                  </a:lnTo>
                  <a:lnTo>
                    <a:pt x="1180" y="380"/>
                  </a:lnTo>
                  <a:lnTo>
                    <a:pt x="1180" y="378"/>
                  </a:lnTo>
                  <a:lnTo>
                    <a:pt x="1182" y="378"/>
                  </a:lnTo>
                  <a:lnTo>
                    <a:pt x="1184" y="378"/>
                  </a:lnTo>
                  <a:lnTo>
                    <a:pt x="1186" y="378"/>
                  </a:lnTo>
                  <a:lnTo>
                    <a:pt x="1188" y="378"/>
                  </a:lnTo>
                  <a:lnTo>
                    <a:pt x="1192" y="376"/>
                  </a:lnTo>
                  <a:lnTo>
                    <a:pt x="1196" y="374"/>
                  </a:lnTo>
                  <a:lnTo>
                    <a:pt x="1198" y="372"/>
                  </a:lnTo>
                  <a:lnTo>
                    <a:pt x="1200" y="372"/>
                  </a:lnTo>
                  <a:lnTo>
                    <a:pt x="1208" y="366"/>
                  </a:lnTo>
                  <a:lnTo>
                    <a:pt x="1210" y="364"/>
                  </a:lnTo>
                  <a:lnTo>
                    <a:pt x="1214" y="364"/>
                  </a:lnTo>
                  <a:lnTo>
                    <a:pt x="1218" y="362"/>
                  </a:lnTo>
                  <a:lnTo>
                    <a:pt x="1220" y="362"/>
                  </a:lnTo>
                  <a:lnTo>
                    <a:pt x="1230" y="356"/>
                  </a:lnTo>
                  <a:lnTo>
                    <a:pt x="1232" y="352"/>
                  </a:lnTo>
                  <a:lnTo>
                    <a:pt x="1234" y="350"/>
                  </a:lnTo>
                  <a:lnTo>
                    <a:pt x="1238" y="348"/>
                  </a:lnTo>
                  <a:lnTo>
                    <a:pt x="1240" y="346"/>
                  </a:lnTo>
                  <a:lnTo>
                    <a:pt x="1242" y="346"/>
                  </a:lnTo>
                  <a:lnTo>
                    <a:pt x="1244" y="342"/>
                  </a:lnTo>
                  <a:lnTo>
                    <a:pt x="1244" y="340"/>
                  </a:lnTo>
                  <a:lnTo>
                    <a:pt x="1248" y="338"/>
                  </a:lnTo>
                  <a:lnTo>
                    <a:pt x="1252" y="340"/>
                  </a:lnTo>
                  <a:lnTo>
                    <a:pt x="1254" y="340"/>
                  </a:lnTo>
                  <a:lnTo>
                    <a:pt x="1254" y="354"/>
                  </a:lnTo>
                  <a:lnTo>
                    <a:pt x="1254" y="356"/>
                  </a:lnTo>
                  <a:lnTo>
                    <a:pt x="1254" y="358"/>
                  </a:lnTo>
                  <a:lnTo>
                    <a:pt x="1254" y="360"/>
                  </a:lnTo>
                  <a:lnTo>
                    <a:pt x="1252" y="362"/>
                  </a:lnTo>
                  <a:lnTo>
                    <a:pt x="1254" y="368"/>
                  </a:lnTo>
                  <a:lnTo>
                    <a:pt x="1258" y="374"/>
                  </a:lnTo>
                  <a:lnTo>
                    <a:pt x="1258" y="376"/>
                  </a:lnTo>
                  <a:lnTo>
                    <a:pt x="1260" y="378"/>
                  </a:lnTo>
                  <a:lnTo>
                    <a:pt x="1262" y="384"/>
                  </a:lnTo>
                  <a:lnTo>
                    <a:pt x="1262" y="386"/>
                  </a:lnTo>
                  <a:lnTo>
                    <a:pt x="1256" y="394"/>
                  </a:lnTo>
                  <a:lnTo>
                    <a:pt x="1254" y="394"/>
                  </a:lnTo>
                  <a:lnTo>
                    <a:pt x="1250" y="392"/>
                  </a:lnTo>
                  <a:lnTo>
                    <a:pt x="1244" y="390"/>
                  </a:lnTo>
                  <a:lnTo>
                    <a:pt x="1240" y="388"/>
                  </a:lnTo>
                  <a:lnTo>
                    <a:pt x="1238" y="388"/>
                  </a:lnTo>
                  <a:lnTo>
                    <a:pt x="1230" y="386"/>
                  </a:lnTo>
                  <a:lnTo>
                    <a:pt x="1228" y="382"/>
                  </a:lnTo>
                  <a:lnTo>
                    <a:pt x="1228" y="380"/>
                  </a:lnTo>
                  <a:lnTo>
                    <a:pt x="1226" y="378"/>
                  </a:lnTo>
                  <a:lnTo>
                    <a:pt x="1220" y="386"/>
                  </a:lnTo>
                  <a:lnTo>
                    <a:pt x="1218" y="394"/>
                  </a:lnTo>
                  <a:lnTo>
                    <a:pt x="1216" y="396"/>
                  </a:lnTo>
                  <a:lnTo>
                    <a:pt x="1216" y="400"/>
                  </a:lnTo>
                  <a:lnTo>
                    <a:pt x="1216" y="402"/>
                  </a:lnTo>
                  <a:lnTo>
                    <a:pt x="1218" y="412"/>
                  </a:lnTo>
                  <a:lnTo>
                    <a:pt x="1220" y="414"/>
                  </a:lnTo>
                  <a:lnTo>
                    <a:pt x="1222" y="416"/>
                  </a:lnTo>
                  <a:lnTo>
                    <a:pt x="1220" y="414"/>
                  </a:lnTo>
                  <a:lnTo>
                    <a:pt x="1220" y="412"/>
                  </a:lnTo>
                  <a:lnTo>
                    <a:pt x="1218" y="402"/>
                  </a:lnTo>
                  <a:lnTo>
                    <a:pt x="1218" y="400"/>
                  </a:lnTo>
                  <a:lnTo>
                    <a:pt x="1222" y="392"/>
                  </a:lnTo>
                  <a:lnTo>
                    <a:pt x="1226" y="386"/>
                  </a:lnTo>
                  <a:lnTo>
                    <a:pt x="1234" y="390"/>
                  </a:lnTo>
                  <a:lnTo>
                    <a:pt x="1236" y="390"/>
                  </a:lnTo>
                  <a:lnTo>
                    <a:pt x="1236" y="392"/>
                  </a:lnTo>
                  <a:lnTo>
                    <a:pt x="1240" y="396"/>
                  </a:lnTo>
                  <a:lnTo>
                    <a:pt x="1244" y="400"/>
                  </a:lnTo>
                  <a:lnTo>
                    <a:pt x="1244" y="404"/>
                  </a:lnTo>
                  <a:lnTo>
                    <a:pt x="1242" y="408"/>
                  </a:lnTo>
                  <a:lnTo>
                    <a:pt x="1242" y="410"/>
                  </a:lnTo>
                  <a:lnTo>
                    <a:pt x="1240" y="410"/>
                  </a:lnTo>
                  <a:lnTo>
                    <a:pt x="1242" y="418"/>
                  </a:lnTo>
                  <a:lnTo>
                    <a:pt x="1242" y="420"/>
                  </a:lnTo>
                  <a:lnTo>
                    <a:pt x="1244" y="422"/>
                  </a:lnTo>
                  <a:lnTo>
                    <a:pt x="1246" y="424"/>
                  </a:lnTo>
                  <a:lnTo>
                    <a:pt x="1248" y="424"/>
                  </a:lnTo>
                  <a:lnTo>
                    <a:pt x="1250" y="426"/>
                  </a:lnTo>
                  <a:lnTo>
                    <a:pt x="1252" y="428"/>
                  </a:lnTo>
                  <a:lnTo>
                    <a:pt x="1250" y="424"/>
                  </a:lnTo>
                  <a:lnTo>
                    <a:pt x="1248" y="424"/>
                  </a:lnTo>
                  <a:lnTo>
                    <a:pt x="1244" y="420"/>
                  </a:lnTo>
                  <a:lnTo>
                    <a:pt x="1242" y="418"/>
                  </a:lnTo>
                  <a:lnTo>
                    <a:pt x="1242" y="416"/>
                  </a:lnTo>
                  <a:lnTo>
                    <a:pt x="1244" y="410"/>
                  </a:lnTo>
                  <a:lnTo>
                    <a:pt x="1244" y="402"/>
                  </a:lnTo>
                  <a:lnTo>
                    <a:pt x="1248" y="398"/>
                  </a:lnTo>
                  <a:lnTo>
                    <a:pt x="1252" y="400"/>
                  </a:lnTo>
                  <a:lnTo>
                    <a:pt x="1256" y="406"/>
                  </a:lnTo>
                  <a:lnTo>
                    <a:pt x="1254" y="408"/>
                  </a:lnTo>
                  <a:lnTo>
                    <a:pt x="1258" y="412"/>
                  </a:lnTo>
                  <a:lnTo>
                    <a:pt x="1260" y="410"/>
                  </a:lnTo>
                  <a:lnTo>
                    <a:pt x="1258" y="408"/>
                  </a:lnTo>
                  <a:lnTo>
                    <a:pt x="1256" y="406"/>
                  </a:lnTo>
                  <a:lnTo>
                    <a:pt x="1254" y="400"/>
                  </a:lnTo>
                  <a:lnTo>
                    <a:pt x="1254" y="398"/>
                  </a:lnTo>
                  <a:lnTo>
                    <a:pt x="1254" y="396"/>
                  </a:lnTo>
                  <a:lnTo>
                    <a:pt x="1260" y="388"/>
                  </a:lnTo>
                  <a:lnTo>
                    <a:pt x="1266" y="388"/>
                  </a:lnTo>
                  <a:lnTo>
                    <a:pt x="1274" y="392"/>
                  </a:lnTo>
                  <a:lnTo>
                    <a:pt x="1274" y="394"/>
                  </a:lnTo>
                  <a:lnTo>
                    <a:pt x="1272" y="396"/>
                  </a:lnTo>
                  <a:lnTo>
                    <a:pt x="1274" y="396"/>
                  </a:lnTo>
                  <a:lnTo>
                    <a:pt x="1276" y="396"/>
                  </a:lnTo>
                  <a:lnTo>
                    <a:pt x="1278" y="396"/>
                  </a:lnTo>
                  <a:lnTo>
                    <a:pt x="1280" y="394"/>
                  </a:lnTo>
                  <a:lnTo>
                    <a:pt x="1282" y="394"/>
                  </a:lnTo>
                  <a:lnTo>
                    <a:pt x="1284" y="392"/>
                  </a:lnTo>
                  <a:lnTo>
                    <a:pt x="1298" y="390"/>
                  </a:lnTo>
                  <a:lnTo>
                    <a:pt x="1300" y="390"/>
                  </a:lnTo>
                  <a:lnTo>
                    <a:pt x="1304" y="392"/>
                  </a:lnTo>
                  <a:lnTo>
                    <a:pt x="1306" y="394"/>
                  </a:lnTo>
                  <a:lnTo>
                    <a:pt x="1318" y="392"/>
                  </a:lnTo>
                  <a:lnTo>
                    <a:pt x="1320" y="392"/>
                  </a:lnTo>
                  <a:lnTo>
                    <a:pt x="1324" y="390"/>
                  </a:lnTo>
                  <a:lnTo>
                    <a:pt x="1324" y="388"/>
                  </a:lnTo>
                  <a:lnTo>
                    <a:pt x="1326" y="386"/>
                  </a:lnTo>
                  <a:lnTo>
                    <a:pt x="1328" y="386"/>
                  </a:lnTo>
                  <a:lnTo>
                    <a:pt x="1334" y="384"/>
                  </a:lnTo>
                  <a:lnTo>
                    <a:pt x="1336" y="384"/>
                  </a:lnTo>
                  <a:lnTo>
                    <a:pt x="1336" y="386"/>
                  </a:lnTo>
                  <a:lnTo>
                    <a:pt x="1336" y="388"/>
                  </a:lnTo>
                  <a:lnTo>
                    <a:pt x="1332" y="396"/>
                  </a:lnTo>
                  <a:lnTo>
                    <a:pt x="1330" y="400"/>
                  </a:lnTo>
                  <a:lnTo>
                    <a:pt x="1330" y="406"/>
                  </a:lnTo>
                  <a:lnTo>
                    <a:pt x="1328" y="410"/>
                  </a:lnTo>
                  <a:lnTo>
                    <a:pt x="1326" y="412"/>
                  </a:lnTo>
                  <a:lnTo>
                    <a:pt x="1324" y="414"/>
                  </a:lnTo>
                  <a:lnTo>
                    <a:pt x="1324" y="416"/>
                  </a:lnTo>
                  <a:lnTo>
                    <a:pt x="1326" y="418"/>
                  </a:lnTo>
                  <a:lnTo>
                    <a:pt x="1326" y="420"/>
                  </a:lnTo>
                  <a:lnTo>
                    <a:pt x="1326" y="422"/>
                  </a:lnTo>
                  <a:lnTo>
                    <a:pt x="1326" y="424"/>
                  </a:lnTo>
                  <a:lnTo>
                    <a:pt x="1326" y="426"/>
                  </a:lnTo>
                  <a:lnTo>
                    <a:pt x="1326" y="432"/>
                  </a:lnTo>
                  <a:lnTo>
                    <a:pt x="1328" y="428"/>
                  </a:lnTo>
                  <a:lnTo>
                    <a:pt x="1328" y="426"/>
                  </a:lnTo>
                  <a:lnTo>
                    <a:pt x="1328" y="424"/>
                  </a:lnTo>
                  <a:lnTo>
                    <a:pt x="1328" y="422"/>
                  </a:lnTo>
                  <a:lnTo>
                    <a:pt x="1330" y="418"/>
                  </a:lnTo>
                  <a:lnTo>
                    <a:pt x="1332" y="414"/>
                  </a:lnTo>
                  <a:lnTo>
                    <a:pt x="1334" y="410"/>
                  </a:lnTo>
                  <a:lnTo>
                    <a:pt x="1334" y="408"/>
                  </a:lnTo>
                  <a:lnTo>
                    <a:pt x="1336" y="404"/>
                  </a:lnTo>
                  <a:lnTo>
                    <a:pt x="1338" y="398"/>
                  </a:lnTo>
                  <a:lnTo>
                    <a:pt x="1342" y="394"/>
                  </a:lnTo>
                  <a:lnTo>
                    <a:pt x="1346" y="392"/>
                  </a:lnTo>
                  <a:lnTo>
                    <a:pt x="1348" y="392"/>
                  </a:lnTo>
                  <a:lnTo>
                    <a:pt x="1350" y="392"/>
                  </a:lnTo>
                  <a:lnTo>
                    <a:pt x="1352" y="392"/>
                  </a:lnTo>
                  <a:lnTo>
                    <a:pt x="1354" y="390"/>
                  </a:lnTo>
                  <a:lnTo>
                    <a:pt x="1356" y="386"/>
                  </a:lnTo>
                  <a:lnTo>
                    <a:pt x="1362" y="380"/>
                  </a:lnTo>
                  <a:lnTo>
                    <a:pt x="1364" y="376"/>
                  </a:lnTo>
                  <a:lnTo>
                    <a:pt x="1368" y="372"/>
                  </a:lnTo>
                  <a:lnTo>
                    <a:pt x="1368" y="370"/>
                  </a:lnTo>
                  <a:lnTo>
                    <a:pt x="1370" y="370"/>
                  </a:lnTo>
                  <a:lnTo>
                    <a:pt x="1370" y="372"/>
                  </a:lnTo>
                  <a:lnTo>
                    <a:pt x="1372" y="372"/>
                  </a:lnTo>
                  <a:lnTo>
                    <a:pt x="1374" y="370"/>
                  </a:lnTo>
                  <a:lnTo>
                    <a:pt x="1376" y="374"/>
                  </a:lnTo>
                  <a:lnTo>
                    <a:pt x="1376" y="376"/>
                  </a:lnTo>
                  <a:lnTo>
                    <a:pt x="1378" y="378"/>
                  </a:lnTo>
                  <a:lnTo>
                    <a:pt x="1384" y="380"/>
                  </a:lnTo>
                  <a:lnTo>
                    <a:pt x="1384" y="378"/>
                  </a:lnTo>
                  <a:lnTo>
                    <a:pt x="1382" y="378"/>
                  </a:lnTo>
                  <a:lnTo>
                    <a:pt x="1382" y="376"/>
                  </a:lnTo>
                  <a:lnTo>
                    <a:pt x="1384" y="372"/>
                  </a:lnTo>
                  <a:lnTo>
                    <a:pt x="1386" y="372"/>
                  </a:lnTo>
                  <a:lnTo>
                    <a:pt x="1396" y="370"/>
                  </a:lnTo>
                  <a:lnTo>
                    <a:pt x="1394" y="368"/>
                  </a:lnTo>
                  <a:lnTo>
                    <a:pt x="1392" y="368"/>
                  </a:lnTo>
                  <a:lnTo>
                    <a:pt x="1390" y="368"/>
                  </a:lnTo>
                  <a:lnTo>
                    <a:pt x="1388" y="368"/>
                  </a:lnTo>
                  <a:lnTo>
                    <a:pt x="1386" y="370"/>
                  </a:lnTo>
                  <a:lnTo>
                    <a:pt x="1384" y="370"/>
                  </a:lnTo>
                  <a:lnTo>
                    <a:pt x="1382" y="370"/>
                  </a:lnTo>
                  <a:lnTo>
                    <a:pt x="1380" y="370"/>
                  </a:lnTo>
                  <a:lnTo>
                    <a:pt x="1380" y="366"/>
                  </a:lnTo>
                  <a:lnTo>
                    <a:pt x="1380" y="360"/>
                  </a:lnTo>
                  <a:lnTo>
                    <a:pt x="1382" y="360"/>
                  </a:lnTo>
                  <a:lnTo>
                    <a:pt x="1384" y="360"/>
                  </a:lnTo>
                  <a:lnTo>
                    <a:pt x="1388" y="362"/>
                  </a:lnTo>
                  <a:lnTo>
                    <a:pt x="1390" y="352"/>
                  </a:lnTo>
                  <a:lnTo>
                    <a:pt x="1392" y="350"/>
                  </a:lnTo>
                  <a:lnTo>
                    <a:pt x="1390" y="346"/>
                  </a:lnTo>
                  <a:lnTo>
                    <a:pt x="1388" y="346"/>
                  </a:lnTo>
                  <a:lnTo>
                    <a:pt x="1388" y="344"/>
                  </a:lnTo>
                  <a:lnTo>
                    <a:pt x="1390" y="342"/>
                  </a:lnTo>
                  <a:lnTo>
                    <a:pt x="1390" y="340"/>
                  </a:lnTo>
                  <a:lnTo>
                    <a:pt x="1394" y="336"/>
                  </a:lnTo>
                  <a:lnTo>
                    <a:pt x="1404" y="328"/>
                  </a:lnTo>
                  <a:lnTo>
                    <a:pt x="1404" y="326"/>
                  </a:lnTo>
                  <a:lnTo>
                    <a:pt x="1406" y="330"/>
                  </a:lnTo>
                  <a:lnTo>
                    <a:pt x="1408" y="332"/>
                  </a:lnTo>
                  <a:lnTo>
                    <a:pt x="1412" y="328"/>
                  </a:lnTo>
                  <a:lnTo>
                    <a:pt x="1414" y="326"/>
                  </a:lnTo>
                  <a:lnTo>
                    <a:pt x="1418" y="324"/>
                  </a:lnTo>
                  <a:lnTo>
                    <a:pt x="1420" y="324"/>
                  </a:lnTo>
                  <a:lnTo>
                    <a:pt x="1422" y="324"/>
                  </a:lnTo>
                  <a:lnTo>
                    <a:pt x="1422" y="328"/>
                  </a:lnTo>
                  <a:lnTo>
                    <a:pt x="1422" y="330"/>
                  </a:lnTo>
                  <a:lnTo>
                    <a:pt x="1424" y="328"/>
                  </a:lnTo>
                  <a:lnTo>
                    <a:pt x="1426" y="328"/>
                  </a:lnTo>
                  <a:lnTo>
                    <a:pt x="1428" y="326"/>
                  </a:lnTo>
                  <a:lnTo>
                    <a:pt x="1428" y="324"/>
                  </a:lnTo>
                  <a:lnTo>
                    <a:pt x="1430" y="324"/>
                  </a:lnTo>
                  <a:lnTo>
                    <a:pt x="1432" y="324"/>
                  </a:lnTo>
                  <a:lnTo>
                    <a:pt x="1434" y="328"/>
                  </a:lnTo>
                  <a:lnTo>
                    <a:pt x="1440" y="334"/>
                  </a:lnTo>
                  <a:lnTo>
                    <a:pt x="1440" y="332"/>
                  </a:lnTo>
                  <a:lnTo>
                    <a:pt x="1440" y="330"/>
                  </a:lnTo>
                  <a:lnTo>
                    <a:pt x="1438" y="328"/>
                  </a:lnTo>
                  <a:lnTo>
                    <a:pt x="1436" y="328"/>
                  </a:lnTo>
                  <a:lnTo>
                    <a:pt x="1436" y="326"/>
                  </a:lnTo>
                  <a:lnTo>
                    <a:pt x="1436" y="322"/>
                  </a:lnTo>
                  <a:lnTo>
                    <a:pt x="1438" y="320"/>
                  </a:lnTo>
                  <a:lnTo>
                    <a:pt x="1444" y="322"/>
                  </a:lnTo>
                  <a:lnTo>
                    <a:pt x="1450" y="324"/>
                  </a:lnTo>
                  <a:lnTo>
                    <a:pt x="1452" y="328"/>
                  </a:lnTo>
                  <a:lnTo>
                    <a:pt x="1458" y="330"/>
                  </a:lnTo>
                  <a:lnTo>
                    <a:pt x="1462" y="328"/>
                  </a:lnTo>
                  <a:lnTo>
                    <a:pt x="1464" y="336"/>
                  </a:lnTo>
                  <a:lnTo>
                    <a:pt x="1462" y="336"/>
                  </a:lnTo>
                  <a:lnTo>
                    <a:pt x="1462" y="338"/>
                  </a:lnTo>
                  <a:lnTo>
                    <a:pt x="1466" y="336"/>
                  </a:lnTo>
                  <a:lnTo>
                    <a:pt x="1468" y="332"/>
                  </a:lnTo>
                  <a:lnTo>
                    <a:pt x="1470" y="328"/>
                  </a:lnTo>
                  <a:lnTo>
                    <a:pt x="1472" y="328"/>
                  </a:lnTo>
                  <a:lnTo>
                    <a:pt x="1472" y="330"/>
                  </a:lnTo>
                  <a:lnTo>
                    <a:pt x="1470" y="334"/>
                  </a:lnTo>
                  <a:lnTo>
                    <a:pt x="1472" y="336"/>
                  </a:lnTo>
                  <a:lnTo>
                    <a:pt x="1474" y="334"/>
                  </a:lnTo>
                  <a:lnTo>
                    <a:pt x="1480" y="334"/>
                  </a:lnTo>
                  <a:lnTo>
                    <a:pt x="1482" y="336"/>
                  </a:lnTo>
                  <a:lnTo>
                    <a:pt x="1484" y="342"/>
                  </a:lnTo>
                  <a:lnTo>
                    <a:pt x="1482" y="346"/>
                  </a:lnTo>
                  <a:lnTo>
                    <a:pt x="1484" y="344"/>
                  </a:lnTo>
                  <a:lnTo>
                    <a:pt x="1486" y="346"/>
                  </a:lnTo>
                  <a:lnTo>
                    <a:pt x="1490" y="346"/>
                  </a:lnTo>
                  <a:lnTo>
                    <a:pt x="1492" y="346"/>
                  </a:lnTo>
                  <a:lnTo>
                    <a:pt x="1500" y="344"/>
                  </a:lnTo>
                  <a:lnTo>
                    <a:pt x="1504" y="342"/>
                  </a:lnTo>
                  <a:lnTo>
                    <a:pt x="1502" y="348"/>
                  </a:lnTo>
                  <a:lnTo>
                    <a:pt x="1500" y="352"/>
                  </a:lnTo>
                  <a:lnTo>
                    <a:pt x="1500" y="354"/>
                  </a:lnTo>
                  <a:lnTo>
                    <a:pt x="1506" y="352"/>
                  </a:lnTo>
                  <a:lnTo>
                    <a:pt x="1508" y="350"/>
                  </a:lnTo>
                  <a:lnTo>
                    <a:pt x="1510" y="354"/>
                  </a:lnTo>
                  <a:lnTo>
                    <a:pt x="1510" y="356"/>
                  </a:lnTo>
                  <a:lnTo>
                    <a:pt x="1512" y="356"/>
                  </a:lnTo>
                  <a:lnTo>
                    <a:pt x="1514" y="356"/>
                  </a:lnTo>
                  <a:lnTo>
                    <a:pt x="1512" y="354"/>
                  </a:lnTo>
                  <a:lnTo>
                    <a:pt x="1514" y="350"/>
                  </a:lnTo>
                  <a:lnTo>
                    <a:pt x="1516" y="348"/>
                  </a:lnTo>
                  <a:lnTo>
                    <a:pt x="1520" y="352"/>
                  </a:lnTo>
                  <a:lnTo>
                    <a:pt x="1522" y="354"/>
                  </a:lnTo>
                  <a:lnTo>
                    <a:pt x="1522" y="358"/>
                  </a:lnTo>
                  <a:lnTo>
                    <a:pt x="1522" y="360"/>
                  </a:lnTo>
                  <a:lnTo>
                    <a:pt x="1526" y="360"/>
                  </a:lnTo>
                  <a:lnTo>
                    <a:pt x="1530" y="354"/>
                  </a:lnTo>
                  <a:lnTo>
                    <a:pt x="1530" y="356"/>
                  </a:lnTo>
                  <a:lnTo>
                    <a:pt x="1532" y="364"/>
                  </a:lnTo>
                  <a:lnTo>
                    <a:pt x="1534" y="364"/>
                  </a:lnTo>
                  <a:lnTo>
                    <a:pt x="1534" y="362"/>
                  </a:lnTo>
                  <a:lnTo>
                    <a:pt x="1536" y="360"/>
                  </a:lnTo>
                  <a:lnTo>
                    <a:pt x="1538" y="360"/>
                  </a:lnTo>
                  <a:lnTo>
                    <a:pt x="1544" y="362"/>
                  </a:lnTo>
                  <a:lnTo>
                    <a:pt x="1546" y="364"/>
                  </a:lnTo>
                  <a:lnTo>
                    <a:pt x="1542" y="370"/>
                  </a:lnTo>
                  <a:lnTo>
                    <a:pt x="1544" y="374"/>
                  </a:lnTo>
                  <a:lnTo>
                    <a:pt x="1544" y="376"/>
                  </a:lnTo>
                  <a:lnTo>
                    <a:pt x="1548" y="368"/>
                  </a:lnTo>
                  <a:lnTo>
                    <a:pt x="1550" y="362"/>
                  </a:lnTo>
                  <a:lnTo>
                    <a:pt x="1552" y="362"/>
                  </a:lnTo>
                  <a:lnTo>
                    <a:pt x="1552" y="366"/>
                  </a:lnTo>
                  <a:lnTo>
                    <a:pt x="1552" y="368"/>
                  </a:lnTo>
                  <a:lnTo>
                    <a:pt x="1552" y="370"/>
                  </a:lnTo>
                  <a:lnTo>
                    <a:pt x="1550" y="372"/>
                  </a:lnTo>
                  <a:lnTo>
                    <a:pt x="1548" y="374"/>
                  </a:lnTo>
                  <a:lnTo>
                    <a:pt x="1548" y="384"/>
                  </a:lnTo>
                  <a:lnTo>
                    <a:pt x="1550" y="386"/>
                  </a:lnTo>
                  <a:lnTo>
                    <a:pt x="1552" y="386"/>
                  </a:lnTo>
                  <a:lnTo>
                    <a:pt x="1556" y="382"/>
                  </a:lnTo>
                  <a:lnTo>
                    <a:pt x="1556" y="380"/>
                  </a:lnTo>
                  <a:lnTo>
                    <a:pt x="1554" y="378"/>
                  </a:lnTo>
                  <a:lnTo>
                    <a:pt x="1554" y="376"/>
                  </a:lnTo>
                  <a:lnTo>
                    <a:pt x="1558" y="374"/>
                  </a:lnTo>
                  <a:lnTo>
                    <a:pt x="1560" y="372"/>
                  </a:lnTo>
                  <a:lnTo>
                    <a:pt x="1564" y="370"/>
                  </a:lnTo>
                  <a:lnTo>
                    <a:pt x="1568" y="372"/>
                  </a:lnTo>
                  <a:lnTo>
                    <a:pt x="1570" y="372"/>
                  </a:lnTo>
                  <a:lnTo>
                    <a:pt x="1576" y="368"/>
                  </a:lnTo>
                  <a:lnTo>
                    <a:pt x="1576" y="370"/>
                  </a:lnTo>
                  <a:lnTo>
                    <a:pt x="1576" y="372"/>
                  </a:lnTo>
                  <a:lnTo>
                    <a:pt x="1574" y="372"/>
                  </a:lnTo>
                  <a:lnTo>
                    <a:pt x="1572" y="376"/>
                  </a:lnTo>
                  <a:lnTo>
                    <a:pt x="1570" y="378"/>
                  </a:lnTo>
                  <a:lnTo>
                    <a:pt x="1572" y="378"/>
                  </a:lnTo>
                  <a:lnTo>
                    <a:pt x="1572" y="380"/>
                  </a:lnTo>
                  <a:lnTo>
                    <a:pt x="1574" y="378"/>
                  </a:lnTo>
                  <a:lnTo>
                    <a:pt x="1578" y="378"/>
                  </a:lnTo>
                  <a:lnTo>
                    <a:pt x="1580" y="378"/>
                  </a:lnTo>
                  <a:lnTo>
                    <a:pt x="1580" y="380"/>
                  </a:lnTo>
                  <a:lnTo>
                    <a:pt x="1580" y="384"/>
                  </a:lnTo>
                  <a:lnTo>
                    <a:pt x="1584" y="390"/>
                  </a:lnTo>
                  <a:lnTo>
                    <a:pt x="1586" y="390"/>
                  </a:lnTo>
                  <a:lnTo>
                    <a:pt x="1588" y="388"/>
                  </a:lnTo>
                  <a:lnTo>
                    <a:pt x="1592" y="390"/>
                  </a:lnTo>
                  <a:lnTo>
                    <a:pt x="1594" y="392"/>
                  </a:lnTo>
                  <a:lnTo>
                    <a:pt x="1594" y="394"/>
                  </a:lnTo>
                  <a:lnTo>
                    <a:pt x="1594" y="396"/>
                  </a:lnTo>
                  <a:lnTo>
                    <a:pt x="1596" y="400"/>
                  </a:lnTo>
                  <a:lnTo>
                    <a:pt x="1596" y="404"/>
                  </a:lnTo>
                  <a:lnTo>
                    <a:pt x="1590" y="410"/>
                  </a:lnTo>
                  <a:lnTo>
                    <a:pt x="1588" y="414"/>
                  </a:lnTo>
                  <a:lnTo>
                    <a:pt x="1586" y="416"/>
                  </a:lnTo>
                  <a:lnTo>
                    <a:pt x="1588" y="418"/>
                  </a:lnTo>
                  <a:lnTo>
                    <a:pt x="1588" y="416"/>
                  </a:lnTo>
                  <a:lnTo>
                    <a:pt x="1588" y="414"/>
                  </a:lnTo>
                  <a:lnTo>
                    <a:pt x="1594" y="410"/>
                  </a:lnTo>
                  <a:lnTo>
                    <a:pt x="1598" y="410"/>
                  </a:lnTo>
                  <a:lnTo>
                    <a:pt x="1600" y="410"/>
                  </a:lnTo>
                  <a:lnTo>
                    <a:pt x="1600" y="412"/>
                  </a:lnTo>
                  <a:lnTo>
                    <a:pt x="1602" y="418"/>
                  </a:lnTo>
                  <a:lnTo>
                    <a:pt x="1602" y="420"/>
                  </a:lnTo>
                  <a:lnTo>
                    <a:pt x="1602" y="424"/>
                  </a:lnTo>
                  <a:lnTo>
                    <a:pt x="1600" y="424"/>
                  </a:lnTo>
                  <a:lnTo>
                    <a:pt x="1598" y="424"/>
                  </a:lnTo>
                  <a:lnTo>
                    <a:pt x="1594" y="428"/>
                  </a:lnTo>
                  <a:lnTo>
                    <a:pt x="1590" y="432"/>
                  </a:lnTo>
                  <a:lnTo>
                    <a:pt x="1590" y="436"/>
                  </a:lnTo>
                  <a:lnTo>
                    <a:pt x="1588" y="438"/>
                  </a:lnTo>
                  <a:lnTo>
                    <a:pt x="1586" y="444"/>
                  </a:lnTo>
                  <a:lnTo>
                    <a:pt x="1584" y="452"/>
                  </a:lnTo>
                  <a:lnTo>
                    <a:pt x="1584" y="456"/>
                  </a:lnTo>
                  <a:lnTo>
                    <a:pt x="1586" y="458"/>
                  </a:lnTo>
                  <a:lnTo>
                    <a:pt x="1588" y="458"/>
                  </a:lnTo>
                  <a:lnTo>
                    <a:pt x="1588" y="460"/>
                  </a:lnTo>
                  <a:lnTo>
                    <a:pt x="1580" y="468"/>
                  </a:lnTo>
                  <a:lnTo>
                    <a:pt x="1578" y="468"/>
                  </a:lnTo>
                  <a:lnTo>
                    <a:pt x="1578" y="474"/>
                  </a:lnTo>
                  <a:lnTo>
                    <a:pt x="1580" y="472"/>
                  </a:lnTo>
                  <a:lnTo>
                    <a:pt x="1586" y="468"/>
                  </a:lnTo>
                  <a:lnTo>
                    <a:pt x="1588" y="464"/>
                  </a:lnTo>
                  <a:lnTo>
                    <a:pt x="1592" y="460"/>
                  </a:lnTo>
                  <a:lnTo>
                    <a:pt x="1596" y="458"/>
                  </a:lnTo>
                  <a:lnTo>
                    <a:pt x="1596" y="456"/>
                  </a:lnTo>
                  <a:lnTo>
                    <a:pt x="1598" y="454"/>
                  </a:lnTo>
                  <a:lnTo>
                    <a:pt x="1600" y="452"/>
                  </a:lnTo>
                  <a:lnTo>
                    <a:pt x="1600" y="450"/>
                  </a:lnTo>
                  <a:lnTo>
                    <a:pt x="1602" y="440"/>
                  </a:lnTo>
                  <a:lnTo>
                    <a:pt x="1602" y="432"/>
                  </a:lnTo>
                  <a:lnTo>
                    <a:pt x="1602" y="430"/>
                  </a:lnTo>
                  <a:lnTo>
                    <a:pt x="1608" y="428"/>
                  </a:lnTo>
                  <a:lnTo>
                    <a:pt x="1610" y="428"/>
                  </a:lnTo>
                  <a:lnTo>
                    <a:pt x="1612" y="426"/>
                  </a:lnTo>
                  <a:lnTo>
                    <a:pt x="1616" y="424"/>
                  </a:lnTo>
                  <a:lnTo>
                    <a:pt x="1618" y="424"/>
                  </a:lnTo>
                  <a:lnTo>
                    <a:pt x="1620" y="424"/>
                  </a:lnTo>
                  <a:lnTo>
                    <a:pt x="1620" y="430"/>
                  </a:lnTo>
                  <a:lnTo>
                    <a:pt x="1620" y="432"/>
                  </a:lnTo>
                  <a:lnTo>
                    <a:pt x="1614" y="438"/>
                  </a:lnTo>
                  <a:lnTo>
                    <a:pt x="1612" y="440"/>
                  </a:lnTo>
                  <a:lnTo>
                    <a:pt x="1608" y="440"/>
                  </a:lnTo>
                  <a:lnTo>
                    <a:pt x="1608" y="442"/>
                  </a:lnTo>
                  <a:lnTo>
                    <a:pt x="1604" y="444"/>
                  </a:lnTo>
                  <a:lnTo>
                    <a:pt x="1604" y="448"/>
                  </a:lnTo>
                  <a:lnTo>
                    <a:pt x="1606" y="448"/>
                  </a:lnTo>
                  <a:lnTo>
                    <a:pt x="1608" y="446"/>
                  </a:lnTo>
                  <a:lnTo>
                    <a:pt x="1612" y="444"/>
                  </a:lnTo>
                  <a:lnTo>
                    <a:pt x="1612" y="448"/>
                  </a:lnTo>
                  <a:lnTo>
                    <a:pt x="1610" y="450"/>
                  </a:lnTo>
                  <a:lnTo>
                    <a:pt x="1612" y="450"/>
                  </a:lnTo>
                  <a:lnTo>
                    <a:pt x="1616" y="444"/>
                  </a:lnTo>
                  <a:lnTo>
                    <a:pt x="1620" y="438"/>
                  </a:lnTo>
                  <a:lnTo>
                    <a:pt x="1622" y="436"/>
                  </a:lnTo>
                  <a:lnTo>
                    <a:pt x="1626" y="432"/>
                  </a:lnTo>
                  <a:lnTo>
                    <a:pt x="1628" y="432"/>
                  </a:lnTo>
                  <a:lnTo>
                    <a:pt x="1632" y="432"/>
                  </a:lnTo>
                  <a:lnTo>
                    <a:pt x="1638" y="430"/>
                  </a:lnTo>
                  <a:lnTo>
                    <a:pt x="1646" y="430"/>
                  </a:lnTo>
                  <a:lnTo>
                    <a:pt x="1652" y="432"/>
                  </a:lnTo>
                  <a:lnTo>
                    <a:pt x="1652" y="428"/>
                  </a:lnTo>
                  <a:lnTo>
                    <a:pt x="1650" y="424"/>
                  </a:lnTo>
                  <a:lnTo>
                    <a:pt x="1650" y="422"/>
                  </a:lnTo>
                  <a:lnTo>
                    <a:pt x="1652" y="422"/>
                  </a:lnTo>
                  <a:lnTo>
                    <a:pt x="1658" y="422"/>
                  </a:lnTo>
                  <a:lnTo>
                    <a:pt x="1660" y="422"/>
                  </a:lnTo>
                  <a:lnTo>
                    <a:pt x="1662" y="422"/>
                  </a:lnTo>
                  <a:lnTo>
                    <a:pt x="1666" y="424"/>
                  </a:lnTo>
                  <a:lnTo>
                    <a:pt x="1670" y="426"/>
                  </a:lnTo>
                  <a:lnTo>
                    <a:pt x="1674" y="428"/>
                  </a:lnTo>
                  <a:lnTo>
                    <a:pt x="1676" y="428"/>
                  </a:lnTo>
                  <a:lnTo>
                    <a:pt x="1678" y="428"/>
                  </a:lnTo>
                  <a:lnTo>
                    <a:pt x="1680" y="428"/>
                  </a:lnTo>
                  <a:lnTo>
                    <a:pt x="1682" y="430"/>
                  </a:lnTo>
                  <a:lnTo>
                    <a:pt x="1686" y="432"/>
                  </a:lnTo>
                  <a:lnTo>
                    <a:pt x="1690" y="432"/>
                  </a:lnTo>
                  <a:lnTo>
                    <a:pt x="1692" y="432"/>
                  </a:lnTo>
                  <a:lnTo>
                    <a:pt x="1694" y="434"/>
                  </a:lnTo>
                  <a:lnTo>
                    <a:pt x="1696" y="438"/>
                  </a:lnTo>
                  <a:lnTo>
                    <a:pt x="1702" y="442"/>
                  </a:lnTo>
                  <a:lnTo>
                    <a:pt x="1706" y="444"/>
                  </a:lnTo>
                  <a:lnTo>
                    <a:pt x="1712" y="446"/>
                  </a:lnTo>
                  <a:lnTo>
                    <a:pt x="1714" y="444"/>
                  </a:lnTo>
                  <a:lnTo>
                    <a:pt x="1716" y="444"/>
                  </a:lnTo>
                  <a:lnTo>
                    <a:pt x="1718" y="448"/>
                  </a:lnTo>
                  <a:lnTo>
                    <a:pt x="1718" y="450"/>
                  </a:lnTo>
                  <a:lnTo>
                    <a:pt x="1718" y="448"/>
                  </a:lnTo>
                  <a:lnTo>
                    <a:pt x="1724" y="448"/>
                  </a:lnTo>
                  <a:lnTo>
                    <a:pt x="1726" y="448"/>
                  </a:lnTo>
                  <a:lnTo>
                    <a:pt x="1728" y="450"/>
                  </a:lnTo>
                  <a:lnTo>
                    <a:pt x="1732" y="450"/>
                  </a:lnTo>
                  <a:lnTo>
                    <a:pt x="1734" y="448"/>
                  </a:lnTo>
                  <a:lnTo>
                    <a:pt x="1734" y="446"/>
                  </a:lnTo>
                  <a:lnTo>
                    <a:pt x="1732" y="444"/>
                  </a:lnTo>
                  <a:lnTo>
                    <a:pt x="1734" y="444"/>
                  </a:lnTo>
                  <a:lnTo>
                    <a:pt x="1736" y="444"/>
                  </a:lnTo>
                  <a:lnTo>
                    <a:pt x="1738" y="444"/>
                  </a:lnTo>
                  <a:lnTo>
                    <a:pt x="1738" y="446"/>
                  </a:lnTo>
                  <a:lnTo>
                    <a:pt x="1740" y="446"/>
                  </a:lnTo>
                  <a:lnTo>
                    <a:pt x="1744" y="448"/>
                  </a:lnTo>
                  <a:lnTo>
                    <a:pt x="1746" y="450"/>
                  </a:lnTo>
                  <a:lnTo>
                    <a:pt x="1748" y="450"/>
                  </a:lnTo>
                  <a:lnTo>
                    <a:pt x="1748" y="452"/>
                  </a:lnTo>
                  <a:lnTo>
                    <a:pt x="1746" y="452"/>
                  </a:lnTo>
                  <a:lnTo>
                    <a:pt x="1748" y="452"/>
                  </a:lnTo>
                  <a:lnTo>
                    <a:pt x="1752" y="452"/>
                  </a:lnTo>
                  <a:lnTo>
                    <a:pt x="1756" y="454"/>
                  </a:lnTo>
                  <a:lnTo>
                    <a:pt x="1756" y="452"/>
                  </a:lnTo>
                  <a:lnTo>
                    <a:pt x="1758" y="452"/>
                  </a:lnTo>
                  <a:lnTo>
                    <a:pt x="1762" y="454"/>
                  </a:lnTo>
                  <a:lnTo>
                    <a:pt x="1766" y="454"/>
                  </a:lnTo>
                  <a:lnTo>
                    <a:pt x="1770" y="458"/>
                  </a:lnTo>
                  <a:lnTo>
                    <a:pt x="1770" y="460"/>
                  </a:lnTo>
                  <a:lnTo>
                    <a:pt x="1772" y="460"/>
                  </a:lnTo>
                  <a:lnTo>
                    <a:pt x="1772" y="458"/>
                  </a:lnTo>
                  <a:lnTo>
                    <a:pt x="1770" y="454"/>
                  </a:lnTo>
                  <a:lnTo>
                    <a:pt x="1772" y="452"/>
                  </a:lnTo>
                  <a:lnTo>
                    <a:pt x="1790" y="452"/>
                  </a:lnTo>
                  <a:lnTo>
                    <a:pt x="1794" y="452"/>
                  </a:lnTo>
                  <a:lnTo>
                    <a:pt x="1802" y="450"/>
                  </a:lnTo>
                  <a:lnTo>
                    <a:pt x="1804" y="450"/>
                  </a:lnTo>
                  <a:lnTo>
                    <a:pt x="1806" y="450"/>
                  </a:lnTo>
                  <a:lnTo>
                    <a:pt x="1808" y="450"/>
                  </a:lnTo>
                  <a:lnTo>
                    <a:pt x="1810" y="448"/>
                  </a:lnTo>
                  <a:lnTo>
                    <a:pt x="1812" y="448"/>
                  </a:lnTo>
                  <a:lnTo>
                    <a:pt x="1820" y="448"/>
                  </a:lnTo>
                  <a:lnTo>
                    <a:pt x="1828" y="450"/>
                  </a:lnTo>
                  <a:lnTo>
                    <a:pt x="1838" y="452"/>
                  </a:lnTo>
                  <a:lnTo>
                    <a:pt x="1846" y="454"/>
                  </a:lnTo>
                  <a:lnTo>
                    <a:pt x="1846" y="456"/>
                  </a:lnTo>
                  <a:lnTo>
                    <a:pt x="1852" y="460"/>
                  </a:lnTo>
                  <a:lnTo>
                    <a:pt x="1852" y="462"/>
                  </a:lnTo>
                  <a:lnTo>
                    <a:pt x="1862" y="466"/>
                  </a:lnTo>
                  <a:lnTo>
                    <a:pt x="1866" y="470"/>
                  </a:lnTo>
                  <a:lnTo>
                    <a:pt x="1870" y="470"/>
                  </a:lnTo>
                  <a:lnTo>
                    <a:pt x="1880" y="476"/>
                  </a:lnTo>
                  <a:lnTo>
                    <a:pt x="1888" y="482"/>
                  </a:lnTo>
                  <a:lnTo>
                    <a:pt x="1890" y="482"/>
                  </a:lnTo>
                  <a:lnTo>
                    <a:pt x="1892" y="482"/>
                  </a:lnTo>
                  <a:lnTo>
                    <a:pt x="1894" y="484"/>
                  </a:lnTo>
                  <a:lnTo>
                    <a:pt x="1896" y="488"/>
                  </a:lnTo>
                  <a:lnTo>
                    <a:pt x="1900" y="490"/>
                  </a:lnTo>
                  <a:lnTo>
                    <a:pt x="1910" y="500"/>
                  </a:lnTo>
                  <a:lnTo>
                    <a:pt x="1916" y="502"/>
                  </a:lnTo>
                  <a:lnTo>
                    <a:pt x="1918" y="502"/>
                  </a:lnTo>
                  <a:lnTo>
                    <a:pt x="1926" y="512"/>
                  </a:lnTo>
                  <a:lnTo>
                    <a:pt x="1928" y="514"/>
                  </a:lnTo>
                  <a:lnTo>
                    <a:pt x="1930" y="516"/>
                  </a:lnTo>
                  <a:lnTo>
                    <a:pt x="1936" y="522"/>
                  </a:lnTo>
                  <a:lnTo>
                    <a:pt x="1936" y="524"/>
                  </a:lnTo>
                  <a:lnTo>
                    <a:pt x="1938" y="524"/>
                  </a:lnTo>
                  <a:lnTo>
                    <a:pt x="1938" y="526"/>
                  </a:lnTo>
                  <a:lnTo>
                    <a:pt x="1940" y="530"/>
                  </a:lnTo>
                  <a:lnTo>
                    <a:pt x="1944" y="532"/>
                  </a:lnTo>
                  <a:lnTo>
                    <a:pt x="1948" y="536"/>
                  </a:lnTo>
                  <a:lnTo>
                    <a:pt x="1954" y="542"/>
                  </a:lnTo>
                  <a:lnTo>
                    <a:pt x="1958" y="546"/>
                  </a:lnTo>
                  <a:lnTo>
                    <a:pt x="1958" y="548"/>
                  </a:lnTo>
                  <a:lnTo>
                    <a:pt x="1962" y="552"/>
                  </a:lnTo>
                  <a:lnTo>
                    <a:pt x="1966" y="554"/>
                  </a:lnTo>
                  <a:lnTo>
                    <a:pt x="1968" y="556"/>
                  </a:lnTo>
                  <a:lnTo>
                    <a:pt x="1972" y="556"/>
                  </a:lnTo>
                  <a:lnTo>
                    <a:pt x="1976" y="556"/>
                  </a:lnTo>
                  <a:lnTo>
                    <a:pt x="1978" y="558"/>
                  </a:lnTo>
                  <a:lnTo>
                    <a:pt x="1980" y="560"/>
                  </a:lnTo>
                  <a:lnTo>
                    <a:pt x="1982" y="562"/>
                  </a:lnTo>
                  <a:lnTo>
                    <a:pt x="1984" y="566"/>
                  </a:lnTo>
                  <a:lnTo>
                    <a:pt x="1984" y="568"/>
                  </a:lnTo>
                  <a:lnTo>
                    <a:pt x="1986" y="570"/>
                  </a:lnTo>
                  <a:lnTo>
                    <a:pt x="1988" y="572"/>
                  </a:lnTo>
                  <a:lnTo>
                    <a:pt x="1990" y="572"/>
                  </a:lnTo>
                  <a:lnTo>
                    <a:pt x="1994" y="572"/>
                  </a:lnTo>
                  <a:lnTo>
                    <a:pt x="2000" y="572"/>
                  </a:lnTo>
                  <a:lnTo>
                    <a:pt x="2004" y="574"/>
                  </a:lnTo>
                  <a:lnTo>
                    <a:pt x="2006" y="578"/>
                  </a:lnTo>
                  <a:lnTo>
                    <a:pt x="2008" y="580"/>
                  </a:lnTo>
                  <a:lnTo>
                    <a:pt x="2010" y="580"/>
                  </a:lnTo>
                  <a:lnTo>
                    <a:pt x="2014" y="582"/>
                  </a:lnTo>
                  <a:lnTo>
                    <a:pt x="2018" y="582"/>
                  </a:lnTo>
                  <a:lnTo>
                    <a:pt x="2020" y="582"/>
                  </a:lnTo>
                  <a:lnTo>
                    <a:pt x="2026" y="582"/>
                  </a:lnTo>
                  <a:lnTo>
                    <a:pt x="2028" y="582"/>
                  </a:lnTo>
                  <a:lnTo>
                    <a:pt x="2032" y="582"/>
                  </a:lnTo>
                  <a:lnTo>
                    <a:pt x="2034" y="584"/>
                  </a:lnTo>
                  <a:lnTo>
                    <a:pt x="2044" y="582"/>
                  </a:lnTo>
                  <a:lnTo>
                    <a:pt x="2048" y="582"/>
                  </a:lnTo>
                  <a:lnTo>
                    <a:pt x="2050" y="580"/>
                  </a:lnTo>
                  <a:lnTo>
                    <a:pt x="2052" y="580"/>
                  </a:lnTo>
                  <a:lnTo>
                    <a:pt x="2054" y="580"/>
                  </a:lnTo>
                  <a:lnTo>
                    <a:pt x="2058" y="582"/>
                  </a:lnTo>
                  <a:lnTo>
                    <a:pt x="2068" y="584"/>
                  </a:lnTo>
                  <a:lnTo>
                    <a:pt x="2070" y="584"/>
                  </a:lnTo>
                  <a:lnTo>
                    <a:pt x="2072" y="584"/>
                  </a:lnTo>
                  <a:lnTo>
                    <a:pt x="2076" y="588"/>
                  </a:lnTo>
                  <a:lnTo>
                    <a:pt x="2078" y="588"/>
                  </a:lnTo>
                  <a:lnTo>
                    <a:pt x="2082" y="592"/>
                  </a:lnTo>
                  <a:lnTo>
                    <a:pt x="2084" y="596"/>
                  </a:lnTo>
                  <a:lnTo>
                    <a:pt x="2086" y="600"/>
                  </a:lnTo>
                  <a:lnTo>
                    <a:pt x="2092" y="612"/>
                  </a:lnTo>
                  <a:lnTo>
                    <a:pt x="2092" y="620"/>
                  </a:lnTo>
                  <a:lnTo>
                    <a:pt x="2092" y="622"/>
                  </a:lnTo>
                  <a:lnTo>
                    <a:pt x="2094" y="634"/>
                  </a:lnTo>
                  <a:lnTo>
                    <a:pt x="2096" y="636"/>
                  </a:lnTo>
                  <a:lnTo>
                    <a:pt x="2096" y="642"/>
                  </a:lnTo>
                  <a:lnTo>
                    <a:pt x="2096" y="648"/>
                  </a:lnTo>
                  <a:lnTo>
                    <a:pt x="2098" y="648"/>
                  </a:lnTo>
                  <a:lnTo>
                    <a:pt x="2100" y="652"/>
                  </a:lnTo>
                  <a:lnTo>
                    <a:pt x="2102" y="660"/>
                  </a:lnTo>
                  <a:lnTo>
                    <a:pt x="2104" y="662"/>
                  </a:lnTo>
                  <a:lnTo>
                    <a:pt x="2104" y="666"/>
                  </a:lnTo>
                  <a:lnTo>
                    <a:pt x="2104" y="670"/>
                  </a:lnTo>
                  <a:lnTo>
                    <a:pt x="2104" y="672"/>
                  </a:lnTo>
                  <a:lnTo>
                    <a:pt x="2102" y="674"/>
                  </a:lnTo>
                  <a:lnTo>
                    <a:pt x="2104" y="676"/>
                  </a:lnTo>
                  <a:lnTo>
                    <a:pt x="2106" y="690"/>
                  </a:lnTo>
                  <a:lnTo>
                    <a:pt x="2106" y="692"/>
                  </a:lnTo>
                  <a:lnTo>
                    <a:pt x="2106" y="694"/>
                  </a:lnTo>
                  <a:lnTo>
                    <a:pt x="2106" y="698"/>
                  </a:lnTo>
                  <a:lnTo>
                    <a:pt x="2104" y="700"/>
                  </a:lnTo>
                  <a:lnTo>
                    <a:pt x="2104" y="702"/>
                  </a:lnTo>
                  <a:lnTo>
                    <a:pt x="2106" y="700"/>
                  </a:lnTo>
                  <a:lnTo>
                    <a:pt x="2108" y="696"/>
                  </a:lnTo>
                  <a:lnTo>
                    <a:pt x="2108" y="694"/>
                  </a:lnTo>
                  <a:lnTo>
                    <a:pt x="2108" y="698"/>
                  </a:lnTo>
                  <a:lnTo>
                    <a:pt x="2108" y="700"/>
                  </a:lnTo>
                  <a:lnTo>
                    <a:pt x="2108" y="702"/>
                  </a:lnTo>
                  <a:lnTo>
                    <a:pt x="2110" y="706"/>
                  </a:lnTo>
                  <a:lnTo>
                    <a:pt x="2110" y="716"/>
                  </a:lnTo>
                  <a:lnTo>
                    <a:pt x="2108" y="718"/>
                  </a:lnTo>
                  <a:lnTo>
                    <a:pt x="2108" y="726"/>
                  </a:lnTo>
                  <a:lnTo>
                    <a:pt x="2106" y="728"/>
                  </a:lnTo>
                  <a:lnTo>
                    <a:pt x="2104" y="728"/>
                  </a:lnTo>
                  <a:lnTo>
                    <a:pt x="2106" y="728"/>
                  </a:lnTo>
                  <a:lnTo>
                    <a:pt x="2108" y="730"/>
                  </a:lnTo>
                  <a:lnTo>
                    <a:pt x="2108" y="732"/>
                  </a:lnTo>
                  <a:lnTo>
                    <a:pt x="2106" y="736"/>
                  </a:lnTo>
                  <a:lnTo>
                    <a:pt x="2104" y="736"/>
                  </a:lnTo>
                  <a:lnTo>
                    <a:pt x="2104" y="740"/>
                  </a:lnTo>
                  <a:lnTo>
                    <a:pt x="2104" y="742"/>
                  </a:lnTo>
                  <a:lnTo>
                    <a:pt x="2104" y="744"/>
                  </a:lnTo>
                  <a:lnTo>
                    <a:pt x="2106" y="746"/>
                  </a:lnTo>
                  <a:lnTo>
                    <a:pt x="2106" y="748"/>
                  </a:lnTo>
                  <a:lnTo>
                    <a:pt x="2106" y="750"/>
                  </a:lnTo>
                  <a:lnTo>
                    <a:pt x="2104" y="754"/>
                  </a:lnTo>
                  <a:lnTo>
                    <a:pt x="2104" y="758"/>
                  </a:lnTo>
                  <a:lnTo>
                    <a:pt x="2100" y="764"/>
                  </a:lnTo>
                  <a:lnTo>
                    <a:pt x="2098" y="774"/>
                  </a:lnTo>
                  <a:lnTo>
                    <a:pt x="2092" y="790"/>
                  </a:lnTo>
                  <a:lnTo>
                    <a:pt x="2090" y="792"/>
                  </a:lnTo>
                  <a:lnTo>
                    <a:pt x="2088" y="798"/>
                  </a:lnTo>
                  <a:lnTo>
                    <a:pt x="2086" y="804"/>
                  </a:lnTo>
                  <a:lnTo>
                    <a:pt x="2086" y="806"/>
                  </a:lnTo>
                  <a:lnTo>
                    <a:pt x="2084" y="808"/>
                  </a:lnTo>
                  <a:lnTo>
                    <a:pt x="2084" y="810"/>
                  </a:lnTo>
                  <a:lnTo>
                    <a:pt x="2082" y="812"/>
                  </a:lnTo>
                  <a:lnTo>
                    <a:pt x="2080" y="814"/>
                  </a:lnTo>
                  <a:lnTo>
                    <a:pt x="2076" y="820"/>
                  </a:lnTo>
                  <a:lnTo>
                    <a:pt x="2074" y="824"/>
                  </a:lnTo>
                  <a:lnTo>
                    <a:pt x="2070" y="828"/>
                  </a:lnTo>
                  <a:lnTo>
                    <a:pt x="2070" y="830"/>
                  </a:lnTo>
                  <a:lnTo>
                    <a:pt x="2058" y="842"/>
                  </a:lnTo>
                  <a:lnTo>
                    <a:pt x="2054" y="846"/>
                  </a:lnTo>
                  <a:lnTo>
                    <a:pt x="2048" y="852"/>
                  </a:lnTo>
                  <a:lnTo>
                    <a:pt x="2044" y="856"/>
                  </a:lnTo>
                  <a:lnTo>
                    <a:pt x="2042" y="858"/>
                  </a:lnTo>
                  <a:lnTo>
                    <a:pt x="2040" y="860"/>
                  </a:lnTo>
                  <a:lnTo>
                    <a:pt x="2032" y="872"/>
                  </a:lnTo>
                  <a:lnTo>
                    <a:pt x="2028" y="876"/>
                  </a:lnTo>
                  <a:lnTo>
                    <a:pt x="2026" y="878"/>
                  </a:lnTo>
                  <a:lnTo>
                    <a:pt x="2022" y="880"/>
                  </a:lnTo>
                  <a:lnTo>
                    <a:pt x="2020" y="882"/>
                  </a:lnTo>
                  <a:lnTo>
                    <a:pt x="2018" y="884"/>
                  </a:lnTo>
                  <a:lnTo>
                    <a:pt x="2016" y="890"/>
                  </a:lnTo>
                  <a:lnTo>
                    <a:pt x="2012" y="894"/>
                  </a:lnTo>
                  <a:lnTo>
                    <a:pt x="2012" y="896"/>
                  </a:lnTo>
                  <a:lnTo>
                    <a:pt x="2008" y="896"/>
                  </a:lnTo>
                  <a:lnTo>
                    <a:pt x="2004" y="896"/>
                  </a:lnTo>
                  <a:lnTo>
                    <a:pt x="2002" y="898"/>
                  </a:lnTo>
                  <a:lnTo>
                    <a:pt x="1996" y="902"/>
                  </a:lnTo>
                  <a:lnTo>
                    <a:pt x="1994" y="902"/>
                  </a:lnTo>
                  <a:lnTo>
                    <a:pt x="1986" y="908"/>
                  </a:lnTo>
                  <a:lnTo>
                    <a:pt x="1982" y="912"/>
                  </a:lnTo>
                  <a:lnTo>
                    <a:pt x="1980" y="914"/>
                  </a:lnTo>
                  <a:lnTo>
                    <a:pt x="1978" y="918"/>
                  </a:lnTo>
                  <a:lnTo>
                    <a:pt x="1976" y="918"/>
                  </a:lnTo>
                  <a:lnTo>
                    <a:pt x="1976" y="916"/>
                  </a:lnTo>
                  <a:lnTo>
                    <a:pt x="1976" y="914"/>
                  </a:lnTo>
                  <a:lnTo>
                    <a:pt x="1976" y="912"/>
                  </a:lnTo>
                  <a:lnTo>
                    <a:pt x="1974" y="908"/>
                  </a:lnTo>
                  <a:lnTo>
                    <a:pt x="1970" y="908"/>
                  </a:lnTo>
                  <a:lnTo>
                    <a:pt x="1970" y="912"/>
                  </a:lnTo>
                  <a:lnTo>
                    <a:pt x="1974" y="912"/>
                  </a:lnTo>
                  <a:lnTo>
                    <a:pt x="1976" y="912"/>
                  </a:lnTo>
                  <a:lnTo>
                    <a:pt x="1976" y="914"/>
                  </a:lnTo>
                  <a:lnTo>
                    <a:pt x="1974" y="922"/>
                  </a:lnTo>
                  <a:lnTo>
                    <a:pt x="1968" y="928"/>
                  </a:lnTo>
                  <a:lnTo>
                    <a:pt x="1966" y="928"/>
                  </a:lnTo>
                  <a:lnTo>
                    <a:pt x="1966" y="926"/>
                  </a:lnTo>
                  <a:lnTo>
                    <a:pt x="1966" y="924"/>
                  </a:lnTo>
                  <a:lnTo>
                    <a:pt x="1964" y="924"/>
                  </a:lnTo>
                  <a:lnTo>
                    <a:pt x="1962" y="924"/>
                  </a:lnTo>
                  <a:lnTo>
                    <a:pt x="1962" y="926"/>
                  </a:lnTo>
                  <a:lnTo>
                    <a:pt x="1964" y="928"/>
                  </a:lnTo>
                  <a:lnTo>
                    <a:pt x="1966" y="930"/>
                  </a:lnTo>
                  <a:lnTo>
                    <a:pt x="1964" y="936"/>
                  </a:lnTo>
                  <a:lnTo>
                    <a:pt x="1962" y="940"/>
                  </a:lnTo>
                  <a:lnTo>
                    <a:pt x="1960" y="940"/>
                  </a:lnTo>
                  <a:lnTo>
                    <a:pt x="1958" y="944"/>
                  </a:lnTo>
                  <a:lnTo>
                    <a:pt x="1958" y="946"/>
                  </a:lnTo>
                  <a:lnTo>
                    <a:pt x="1956" y="948"/>
                  </a:lnTo>
                  <a:lnTo>
                    <a:pt x="1954" y="946"/>
                  </a:lnTo>
                  <a:lnTo>
                    <a:pt x="1956" y="940"/>
                  </a:lnTo>
                  <a:lnTo>
                    <a:pt x="1958" y="940"/>
                  </a:lnTo>
                  <a:lnTo>
                    <a:pt x="1958" y="938"/>
                  </a:lnTo>
                  <a:lnTo>
                    <a:pt x="1960" y="936"/>
                  </a:lnTo>
                  <a:lnTo>
                    <a:pt x="1960" y="934"/>
                  </a:lnTo>
                  <a:lnTo>
                    <a:pt x="1958" y="932"/>
                  </a:lnTo>
                  <a:lnTo>
                    <a:pt x="1958" y="936"/>
                  </a:lnTo>
                  <a:lnTo>
                    <a:pt x="1956" y="940"/>
                  </a:lnTo>
                  <a:lnTo>
                    <a:pt x="1954" y="942"/>
                  </a:lnTo>
                  <a:lnTo>
                    <a:pt x="1954" y="946"/>
                  </a:lnTo>
                  <a:lnTo>
                    <a:pt x="1954" y="948"/>
                  </a:lnTo>
                  <a:lnTo>
                    <a:pt x="1954" y="950"/>
                  </a:lnTo>
                  <a:lnTo>
                    <a:pt x="1950" y="950"/>
                  </a:lnTo>
                  <a:lnTo>
                    <a:pt x="1950" y="952"/>
                  </a:lnTo>
                  <a:lnTo>
                    <a:pt x="1948" y="952"/>
                  </a:lnTo>
                  <a:lnTo>
                    <a:pt x="1950" y="952"/>
                  </a:lnTo>
                  <a:lnTo>
                    <a:pt x="1952" y="954"/>
                  </a:lnTo>
                  <a:lnTo>
                    <a:pt x="1950" y="958"/>
                  </a:lnTo>
                  <a:lnTo>
                    <a:pt x="1942" y="970"/>
                  </a:lnTo>
                  <a:lnTo>
                    <a:pt x="1942" y="972"/>
                  </a:lnTo>
                  <a:lnTo>
                    <a:pt x="1940" y="976"/>
                  </a:lnTo>
                  <a:lnTo>
                    <a:pt x="1940" y="978"/>
                  </a:lnTo>
                  <a:lnTo>
                    <a:pt x="1938" y="980"/>
                  </a:lnTo>
                  <a:lnTo>
                    <a:pt x="1938" y="982"/>
                  </a:lnTo>
                  <a:lnTo>
                    <a:pt x="1936" y="984"/>
                  </a:lnTo>
                  <a:lnTo>
                    <a:pt x="1934" y="986"/>
                  </a:lnTo>
                  <a:lnTo>
                    <a:pt x="1928" y="994"/>
                  </a:lnTo>
                  <a:lnTo>
                    <a:pt x="1924" y="1000"/>
                  </a:lnTo>
                  <a:lnTo>
                    <a:pt x="1920" y="1004"/>
                  </a:lnTo>
                  <a:lnTo>
                    <a:pt x="1920" y="1006"/>
                  </a:lnTo>
                  <a:lnTo>
                    <a:pt x="1916" y="1012"/>
                  </a:lnTo>
                  <a:lnTo>
                    <a:pt x="1914" y="1014"/>
                  </a:lnTo>
                  <a:lnTo>
                    <a:pt x="1898" y="1032"/>
                  </a:lnTo>
                  <a:lnTo>
                    <a:pt x="1896" y="1032"/>
                  </a:lnTo>
                  <a:lnTo>
                    <a:pt x="1888" y="1036"/>
                  </a:lnTo>
                  <a:lnTo>
                    <a:pt x="1886" y="1036"/>
                  </a:lnTo>
                  <a:lnTo>
                    <a:pt x="1886" y="1030"/>
                  </a:lnTo>
                  <a:lnTo>
                    <a:pt x="1888" y="1030"/>
                  </a:lnTo>
                  <a:lnTo>
                    <a:pt x="1890" y="1026"/>
                  </a:lnTo>
                  <a:lnTo>
                    <a:pt x="1888" y="1018"/>
                  </a:lnTo>
                  <a:lnTo>
                    <a:pt x="1886" y="1018"/>
                  </a:lnTo>
                  <a:lnTo>
                    <a:pt x="1884" y="1018"/>
                  </a:lnTo>
                  <a:lnTo>
                    <a:pt x="1882" y="1018"/>
                  </a:lnTo>
                  <a:lnTo>
                    <a:pt x="1882" y="1016"/>
                  </a:lnTo>
                  <a:lnTo>
                    <a:pt x="1882" y="1012"/>
                  </a:lnTo>
                  <a:lnTo>
                    <a:pt x="1880" y="1010"/>
                  </a:lnTo>
                  <a:lnTo>
                    <a:pt x="1878" y="1012"/>
                  </a:lnTo>
                  <a:lnTo>
                    <a:pt x="1876" y="1018"/>
                  </a:lnTo>
                  <a:lnTo>
                    <a:pt x="1876" y="1020"/>
                  </a:lnTo>
                  <a:lnTo>
                    <a:pt x="1874" y="1022"/>
                  </a:lnTo>
                  <a:lnTo>
                    <a:pt x="1872" y="1024"/>
                  </a:lnTo>
                  <a:lnTo>
                    <a:pt x="1870" y="1022"/>
                  </a:lnTo>
                  <a:lnTo>
                    <a:pt x="1868" y="1020"/>
                  </a:lnTo>
                  <a:lnTo>
                    <a:pt x="1868" y="1018"/>
                  </a:lnTo>
                  <a:lnTo>
                    <a:pt x="1868" y="1016"/>
                  </a:lnTo>
                  <a:lnTo>
                    <a:pt x="1870" y="1016"/>
                  </a:lnTo>
                  <a:lnTo>
                    <a:pt x="1870" y="1014"/>
                  </a:lnTo>
                  <a:lnTo>
                    <a:pt x="1868" y="1016"/>
                  </a:lnTo>
                  <a:lnTo>
                    <a:pt x="1866" y="1018"/>
                  </a:lnTo>
                  <a:lnTo>
                    <a:pt x="1868" y="1022"/>
                  </a:lnTo>
                  <a:lnTo>
                    <a:pt x="1868" y="1024"/>
                  </a:lnTo>
                  <a:lnTo>
                    <a:pt x="1870" y="1026"/>
                  </a:lnTo>
                  <a:lnTo>
                    <a:pt x="1872" y="1024"/>
                  </a:lnTo>
                  <a:lnTo>
                    <a:pt x="1876" y="1026"/>
                  </a:lnTo>
                  <a:lnTo>
                    <a:pt x="1874" y="1032"/>
                  </a:lnTo>
                  <a:lnTo>
                    <a:pt x="1872" y="1034"/>
                  </a:lnTo>
                  <a:lnTo>
                    <a:pt x="1870" y="1038"/>
                  </a:lnTo>
                  <a:lnTo>
                    <a:pt x="1868" y="1042"/>
                  </a:lnTo>
                  <a:lnTo>
                    <a:pt x="1864" y="1046"/>
                  </a:lnTo>
                  <a:lnTo>
                    <a:pt x="1862" y="1048"/>
                  </a:lnTo>
                  <a:lnTo>
                    <a:pt x="1862" y="1050"/>
                  </a:lnTo>
                  <a:lnTo>
                    <a:pt x="1862" y="1052"/>
                  </a:lnTo>
                  <a:lnTo>
                    <a:pt x="1862" y="1056"/>
                  </a:lnTo>
                  <a:lnTo>
                    <a:pt x="1860" y="1054"/>
                  </a:lnTo>
                  <a:lnTo>
                    <a:pt x="1856" y="1054"/>
                  </a:lnTo>
                  <a:lnTo>
                    <a:pt x="1854" y="1064"/>
                  </a:lnTo>
                  <a:lnTo>
                    <a:pt x="1856" y="1060"/>
                  </a:lnTo>
                  <a:lnTo>
                    <a:pt x="1858" y="1062"/>
                  </a:lnTo>
                  <a:lnTo>
                    <a:pt x="1858" y="1064"/>
                  </a:lnTo>
                  <a:lnTo>
                    <a:pt x="1858" y="1066"/>
                  </a:lnTo>
                  <a:lnTo>
                    <a:pt x="1858" y="1068"/>
                  </a:lnTo>
                  <a:lnTo>
                    <a:pt x="1860" y="1072"/>
                  </a:lnTo>
                  <a:lnTo>
                    <a:pt x="1856" y="1078"/>
                  </a:lnTo>
                  <a:lnTo>
                    <a:pt x="1854" y="1080"/>
                  </a:lnTo>
                  <a:lnTo>
                    <a:pt x="1856" y="1088"/>
                  </a:lnTo>
                  <a:lnTo>
                    <a:pt x="1856" y="1092"/>
                  </a:lnTo>
                  <a:lnTo>
                    <a:pt x="1856" y="1094"/>
                  </a:lnTo>
                  <a:lnTo>
                    <a:pt x="1854" y="1096"/>
                  </a:lnTo>
                  <a:lnTo>
                    <a:pt x="1852" y="1094"/>
                  </a:lnTo>
                  <a:lnTo>
                    <a:pt x="1850" y="1098"/>
                  </a:lnTo>
                  <a:lnTo>
                    <a:pt x="1852" y="1100"/>
                  </a:lnTo>
                  <a:lnTo>
                    <a:pt x="1858" y="1094"/>
                  </a:lnTo>
                  <a:lnTo>
                    <a:pt x="1858" y="1090"/>
                  </a:lnTo>
                  <a:lnTo>
                    <a:pt x="1858" y="1088"/>
                  </a:lnTo>
                  <a:lnTo>
                    <a:pt x="1856" y="1086"/>
                  </a:lnTo>
                  <a:lnTo>
                    <a:pt x="1860" y="1084"/>
                  </a:lnTo>
                  <a:lnTo>
                    <a:pt x="1860" y="1086"/>
                  </a:lnTo>
                  <a:lnTo>
                    <a:pt x="1860" y="1092"/>
                  </a:lnTo>
                  <a:lnTo>
                    <a:pt x="1858" y="1096"/>
                  </a:lnTo>
                  <a:lnTo>
                    <a:pt x="1856" y="1102"/>
                  </a:lnTo>
                  <a:lnTo>
                    <a:pt x="1854" y="1104"/>
                  </a:lnTo>
                  <a:lnTo>
                    <a:pt x="1854" y="1110"/>
                  </a:lnTo>
                  <a:lnTo>
                    <a:pt x="1850" y="1120"/>
                  </a:lnTo>
                  <a:lnTo>
                    <a:pt x="1848" y="1126"/>
                  </a:lnTo>
                  <a:lnTo>
                    <a:pt x="1848" y="1128"/>
                  </a:lnTo>
                  <a:lnTo>
                    <a:pt x="1848" y="1132"/>
                  </a:lnTo>
                  <a:lnTo>
                    <a:pt x="1848" y="1136"/>
                  </a:lnTo>
                  <a:lnTo>
                    <a:pt x="1850" y="1146"/>
                  </a:lnTo>
                  <a:lnTo>
                    <a:pt x="1850" y="1150"/>
                  </a:lnTo>
                  <a:lnTo>
                    <a:pt x="1848" y="1162"/>
                  </a:lnTo>
                  <a:lnTo>
                    <a:pt x="1848" y="1178"/>
                  </a:lnTo>
                  <a:lnTo>
                    <a:pt x="1850" y="1186"/>
                  </a:lnTo>
                  <a:lnTo>
                    <a:pt x="1850" y="1190"/>
                  </a:lnTo>
                  <a:lnTo>
                    <a:pt x="1852" y="1194"/>
                  </a:lnTo>
                  <a:lnTo>
                    <a:pt x="1852" y="1198"/>
                  </a:lnTo>
                  <a:lnTo>
                    <a:pt x="1846" y="1208"/>
                  </a:lnTo>
                  <a:lnTo>
                    <a:pt x="1842" y="1222"/>
                  </a:lnTo>
                  <a:lnTo>
                    <a:pt x="1838" y="1228"/>
                  </a:lnTo>
                  <a:lnTo>
                    <a:pt x="1838" y="1232"/>
                  </a:lnTo>
                  <a:lnTo>
                    <a:pt x="1836" y="1236"/>
                  </a:lnTo>
                  <a:lnTo>
                    <a:pt x="1836" y="1240"/>
                  </a:lnTo>
                  <a:lnTo>
                    <a:pt x="1834" y="1244"/>
                  </a:lnTo>
                  <a:lnTo>
                    <a:pt x="1832" y="1246"/>
                  </a:lnTo>
                  <a:lnTo>
                    <a:pt x="1832" y="1248"/>
                  </a:lnTo>
                  <a:lnTo>
                    <a:pt x="1832" y="1250"/>
                  </a:lnTo>
                  <a:lnTo>
                    <a:pt x="1832" y="1252"/>
                  </a:lnTo>
                  <a:lnTo>
                    <a:pt x="1832" y="1254"/>
                  </a:lnTo>
                  <a:lnTo>
                    <a:pt x="1830" y="1258"/>
                  </a:lnTo>
                  <a:lnTo>
                    <a:pt x="1828" y="1264"/>
                  </a:lnTo>
                  <a:lnTo>
                    <a:pt x="1826" y="1268"/>
                  </a:lnTo>
                  <a:lnTo>
                    <a:pt x="1826" y="1270"/>
                  </a:lnTo>
                  <a:lnTo>
                    <a:pt x="1826" y="1276"/>
                  </a:lnTo>
                  <a:lnTo>
                    <a:pt x="1824" y="1280"/>
                  </a:lnTo>
                  <a:lnTo>
                    <a:pt x="1824" y="1282"/>
                  </a:lnTo>
                  <a:lnTo>
                    <a:pt x="1824" y="1292"/>
                  </a:lnTo>
                  <a:lnTo>
                    <a:pt x="1824" y="1294"/>
                  </a:lnTo>
                  <a:lnTo>
                    <a:pt x="1824" y="1296"/>
                  </a:lnTo>
                  <a:lnTo>
                    <a:pt x="1826" y="1298"/>
                  </a:lnTo>
                  <a:lnTo>
                    <a:pt x="1826" y="1300"/>
                  </a:lnTo>
                  <a:lnTo>
                    <a:pt x="1818" y="1310"/>
                  </a:lnTo>
                  <a:lnTo>
                    <a:pt x="1816" y="1312"/>
                  </a:lnTo>
                  <a:lnTo>
                    <a:pt x="1814" y="1312"/>
                  </a:lnTo>
                  <a:lnTo>
                    <a:pt x="1810" y="1312"/>
                  </a:lnTo>
                  <a:lnTo>
                    <a:pt x="1810" y="1314"/>
                  </a:lnTo>
                  <a:lnTo>
                    <a:pt x="1808" y="1314"/>
                  </a:lnTo>
                  <a:lnTo>
                    <a:pt x="1804" y="1318"/>
                  </a:lnTo>
                  <a:lnTo>
                    <a:pt x="1796" y="1328"/>
                  </a:lnTo>
                  <a:lnTo>
                    <a:pt x="1796" y="1330"/>
                  </a:lnTo>
                  <a:lnTo>
                    <a:pt x="1794" y="1332"/>
                  </a:lnTo>
                  <a:lnTo>
                    <a:pt x="1794" y="1334"/>
                  </a:lnTo>
                  <a:lnTo>
                    <a:pt x="1792" y="1336"/>
                  </a:lnTo>
                  <a:lnTo>
                    <a:pt x="1790" y="1342"/>
                  </a:lnTo>
                  <a:lnTo>
                    <a:pt x="1790" y="1346"/>
                  </a:lnTo>
                  <a:lnTo>
                    <a:pt x="1788" y="1354"/>
                  </a:lnTo>
                  <a:lnTo>
                    <a:pt x="1788" y="1356"/>
                  </a:lnTo>
                  <a:lnTo>
                    <a:pt x="1786" y="1362"/>
                  </a:lnTo>
                  <a:lnTo>
                    <a:pt x="1786" y="1370"/>
                  </a:lnTo>
                  <a:lnTo>
                    <a:pt x="1786" y="1374"/>
                  </a:lnTo>
                  <a:lnTo>
                    <a:pt x="1786" y="1378"/>
                  </a:lnTo>
                  <a:lnTo>
                    <a:pt x="1786" y="1380"/>
                  </a:lnTo>
                  <a:lnTo>
                    <a:pt x="1786" y="1384"/>
                  </a:lnTo>
                  <a:lnTo>
                    <a:pt x="1786" y="1390"/>
                  </a:lnTo>
                  <a:lnTo>
                    <a:pt x="1786" y="1392"/>
                  </a:lnTo>
                  <a:lnTo>
                    <a:pt x="1784" y="1396"/>
                  </a:lnTo>
                  <a:lnTo>
                    <a:pt x="1784" y="1398"/>
                  </a:lnTo>
                  <a:lnTo>
                    <a:pt x="1778" y="1408"/>
                  </a:lnTo>
                  <a:lnTo>
                    <a:pt x="1776" y="1410"/>
                  </a:lnTo>
                  <a:lnTo>
                    <a:pt x="1772" y="1410"/>
                  </a:lnTo>
                  <a:lnTo>
                    <a:pt x="1772" y="1412"/>
                  </a:lnTo>
                  <a:lnTo>
                    <a:pt x="1770" y="1412"/>
                  </a:lnTo>
                  <a:lnTo>
                    <a:pt x="1768" y="1414"/>
                  </a:lnTo>
                  <a:lnTo>
                    <a:pt x="1766" y="1414"/>
                  </a:lnTo>
                  <a:lnTo>
                    <a:pt x="1766" y="1416"/>
                  </a:lnTo>
                  <a:lnTo>
                    <a:pt x="1758" y="1426"/>
                  </a:lnTo>
                  <a:lnTo>
                    <a:pt x="1756" y="1430"/>
                  </a:lnTo>
                  <a:lnTo>
                    <a:pt x="1754" y="1436"/>
                  </a:lnTo>
                  <a:lnTo>
                    <a:pt x="1754" y="1440"/>
                  </a:lnTo>
                  <a:lnTo>
                    <a:pt x="1750" y="1444"/>
                  </a:lnTo>
                  <a:lnTo>
                    <a:pt x="1748" y="1442"/>
                  </a:lnTo>
                  <a:lnTo>
                    <a:pt x="1744" y="1442"/>
                  </a:lnTo>
                  <a:lnTo>
                    <a:pt x="1744" y="1444"/>
                  </a:lnTo>
                  <a:lnTo>
                    <a:pt x="1742" y="1446"/>
                  </a:lnTo>
                  <a:lnTo>
                    <a:pt x="1744" y="1446"/>
                  </a:lnTo>
                  <a:lnTo>
                    <a:pt x="1748" y="1448"/>
                  </a:lnTo>
                  <a:lnTo>
                    <a:pt x="1744" y="1454"/>
                  </a:lnTo>
                  <a:lnTo>
                    <a:pt x="1742" y="1456"/>
                  </a:lnTo>
                  <a:lnTo>
                    <a:pt x="1738" y="1462"/>
                  </a:lnTo>
                  <a:lnTo>
                    <a:pt x="1738" y="1464"/>
                  </a:lnTo>
                  <a:lnTo>
                    <a:pt x="1726" y="1474"/>
                  </a:lnTo>
                  <a:lnTo>
                    <a:pt x="1724" y="1472"/>
                  </a:lnTo>
                  <a:lnTo>
                    <a:pt x="1720" y="1474"/>
                  </a:lnTo>
                  <a:lnTo>
                    <a:pt x="1718" y="1474"/>
                  </a:lnTo>
                  <a:lnTo>
                    <a:pt x="1716" y="1480"/>
                  </a:lnTo>
                  <a:lnTo>
                    <a:pt x="1714" y="1482"/>
                  </a:lnTo>
                  <a:lnTo>
                    <a:pt x="1714" y="1484"/>
                  </a:lnTo>
                  <a:lnTo>
                    <a:pt x="1714" y="1486"/>
                  </a:lnTo>
                  <a:lnTo>
                    <a:pt x="1712" y="1488"/>
                  </a:lnTo>
                  <a:lnTo>
                    <a:pt x="1712" y="1490"/>
                  </a:lnTo>
                  <a:lnTo>
                    <a:pt x="1710" y="1490"/>
                  </a:lnTo>
                  <a:lnTo>
                    <a:pt x="1706" y="1494"/>
                  </a:lnTo>
                  <a:lnTo>
                    <a:pt x="1706" y="1496"/>
                  </a:lnTo>
                  <a:lnTo>
                    <a:pt x="1704" y="1498"/>
                  </a:lnTo>
                  <a:lnTo>
                    <a:pt x="1704" y="1502"/>
                  </a:lnTo>
                  <a:lnTo>
                    <a:pt x="1700" y="1506"/>
                  </a:lnTo>
                  <a:lnTo>
                    <a:pt x="1700" y="1508"/>
                  </a:lnTo>
                  <a:lnTo>
                    <a:pt x="1698" y="1514"/>
                  </a:lnTo>
                  <a:lnTo>
                    <a:pt x="1700" y="1520"/>
                  </a:lnTo>
                  <a:lnTo>
                    <a:pt x="1700" y="1536"/>
                  </a:lnTo>
                  <a:lnTo>
                    <a:pt x="1700" y="1538"/>
                  </a:lnTo>
                  <a:lnTo>
                    <a:pt x="1698" y="1538"/>
                  </a:lnTo>
                  <a:lnTo>
                    <a:pt x="1698" y="1540"/>
                  </a:lnTo>
                  <a:lnTo>
                    <a:pt x="1696" y="1540"/>
                  </a:lnTo>
                  <a:lnTo>
                    <a:pt x="1686" y="1546"/>
                  </a:lnTo>
                  <a:lnTo>
                    <a:pt x="1684" y="1546"/>
                  </a:lnTo>
                  <a:lnTo>
                    <a:pt x="1682" y="1546"/>
                  </a:lnTo>
                  <a:lnTo>
                    <a:pt x="1678" y="1548"/>
                  </a:lnTo>
                  <a:lnTo>
                    <a:pt x="1676" y="1548"/>
                  </a:lnTo>
                  <a:lnTo>
                    <a:pt x="1668" y="1550"/>
                  </a:lnTo>
                  <a:lnTo>
                    <a:pt x="1666" y="1550"/>
                  </a:lnTo>
                  <a:lnTo>
                    <a:pt x="1664" y="1550"/>
                  </a:lnTo>
                  <a:lnTo>
                    <a:pt x="1662" y="1552"/>
                  </a:lnTo>
                  <a:lnTo>
                    <a:pt x="1660" y="1554"/>
                  </a:lnTo>
                  <a:lnTo>
                    <a:pt x="1656" y="1556"/>
                  </a:lnTo>
                  <a:lnTo>
                    <a:pt x="1650" y="1560"/>
                  </a:lnTo>
                  <a:lnTo>
                    <a:pt x="1644" y="1566"/>
                  </a:lnTo>
                  <a:lnTo>
                    <a:pt x="1642" y="1566"/>
                  </a:lnTo>
                  <a:lnTo>
                    <a:pt x="1642" y="1570"/>
                  </a:lnTo>
                  <a:lnTo>
                    <a:pt x="1642" y="1572"/>
                  </a:lnTo>
                  <a:lnTo>
                    <a:pt x="1642" y="1574"/>
                  </a:lnTo>
                  <a:lnTo>
                    <a:pt x="1642" y="1576"/>
                  </a:lnTo>
                  <a:lnTo>
                    <a:pt x="1640" y="1582"/>
                  </a:lnTo>
                  <a:lnTo>
                    <a:pt x="1638" y="1586"/>
                  </a:lnTo>
                  <a:lnTo>
                    <a:pt x="1630" y="1588"/>
                  </a:lnTo>
                  <a:lnTo>
                    <a:pt x="1616" y="1586"/>
                  </a:lnTo>
                  <a:lnTo>
                    <a:pt x="1610" y="1586"/>
                  </a:lnTo>
                  <a:lnTo>
                    <a:pt x="1608" y="1586"/>
                  </a:lnTo>
                  <a:lnTo>
                    <a:pt x="1606" y="1586"/>
                  </a:lnTo>
                  <a:lnTo>
                    <a:pt x="1604" y="1586"/>
                  </a:lnTo>
                  <a:lnTo>
                    <a:pt x="1590" y="1586"/>
                  </a:lnTo>
                  <a:lnTo>
                    <a:pt x="1584" y="1584"/>
                  </a:lnTo>
                  <a:lnTo>
                    <a:pt x="1582" y="1584"/>
                  </a:lnTo>
                  <a:lnTo>
                    <a:pt x="1582" y="1580"/>
                  </a:lnTo>
                  <a:lnTo>
                    <a:pt x="1584" y="1578"/>
                  </a:lnTo>
                  <a:lnTo>
                    <a:pt x="1586" y="1576"/>
                  </a:lnTo>
                  <a:lnTo>
                    <a:pt x="1588" y="1574"/>
                  </a:lnTo>
                  <a:lnTo>
                    <a:pt x="1588" y="1572"/>
                  </a:lnTo>
                  <a:lnTo>
                    <a:pt x="1588" y="1570"/>
                  </a:lnTo>
                  <a:lnTo>
                    <a:pt x="1586" y="1568"/>
                  </a:lnTo>
                  <a:lnTo>
                    <a:pt x="1576" y="1572"/>
                  </a:lnTo>
                  <a:lnTo>
                    <a:pt x="1574" y="1574"/>
                  </a:lnTo>
                  <a:lnTo>
                    <a:pt x="1576" y="1576"/>
                  </a:lnTo>
                  <a:lnTo>
                    <a:pt x="1576" y="1578"/>
                  </a:lnTo>
                  <a:lnTo>
                    <a:pt x="1580" y="1580"/>
                  </a:lnTo>
                  <a:lnTo>
                    <a:pt x="1580" y="1584"/>
                  </a:lnTo>
                  <a:lnTo>
                    <a:pt x="1578" y="1586"/>
                  </a:lnTo>
                  <a:lnTo>
                    <a:pt x="1576" y="1586"/>
                  </a:lnTo>
                  <a:lnTo>
                    <a:pt x="1572" y="1588"/>
                  </a:lnTo>
                  <a:lnTo>
                    <a:pt x="1570" y="1586"/>
                  </a:lnTo>
                  <a:lnTo>
                    <a:pt x="1568" y="1586"/>
                  </a:lnTo>
                  <a:lnTo>
                    <a:pt x="1554" y="1588"/>
                  </a:lnTo>
                  <a:lnTo>
                    <a:pt x="1540" y="1588"/>
                  </a:lnTo>
                  <a:lnTo>
                    <a:pt x="1538" y="1588"/>
                  </a:lnTo>
                  <a:lnTo>
                    <a:pt x="1536" y="1590"/>
                  </a:lnTo>
                  <a:lnTo>
                    <a:pt x="1534" y="1590"/>
                  </a:lnTo>
                  <a:lnTo>
                    <a:pt x="1536" y="1588"/>
                  </a:lnTo>
                  <a:lnTo>
                    <a:pt x="1536" y="1586"/>
                  </a:lnTo>
                  <a:lnTo>
                    <a:pt x="1542" y="1588"/>
                  </a:lnTo>
                  <a:lnTo>
                    <a:pt x="1546" y="1588"/>
                  </a:lnTo>
                  <a:lnTo>
                    <a:pt x="1548" y="1588"/>
                  </a:lnTo>
                  <a:lnTo>
                    <a:pt x="1552" y="1588"/>
                  </a:lnTo>
                  <a:lnTo>
                    <a:pt x="1556" y="1586"/>
                  </a:lnTo>
                  <a:lnTo>
                    <a:pt x="1550" y="1580"/>
                  </a:lnTo>
                  <a:lnTo>
                    <a:pt x="1544" y="1578"/>
                  </a:lnTo>
                  <a:lnTo>
                    <a:pt x="1534" y="1580"/>
                  </a:lnTo>
                  <a:lnTo>
                    <a:pt x="1534" y="1582"/>
                  </a:lnTo>
                  <a:lnTo>
                    <a:pt x="1532" y="1584"/>
                  </a:lnTo>
                  <a:lnTo>
                    <a:pt x="1530" y="1586"/>
                  </a:lnTo>
                  <a:lnTo>
                    <a:pt x="1526" y="1586"/>
                  </a:lnTo>
                  <a:lnTo>
                    <a:pt x="1524" y="1586"/>
                  </a:lnTo>
                  <a:lnTo>
                    <a:pt x="1520" y="1578"/>
                  </a:lnTo>
                  <a:lnTo>
                    <a:pt x="1518" y="1578"/>
                  </a:lnTo>
                  <a:lnTo>
                    <a:pt x="1516" y="1578"/>
                  </a:lnTo>
                  <a:lnTo>
                    <a:pt x="1516" y="1580"/>
                  </a:lnTo>
                  <a:lnTo>
                    <a:pt x="1512" y="1582"/>
                  </a:lnTo>
                  <a:lnTo>
                    <a:pt x="1510" y="1584"/>
                  </a:lnTo>
                  <a:lnTo>
                    <a:pt x="1506" y="1584"/>
                  </a:lnTo>
                  <a:lnTo>
                    <a:pt x="1504" y="1584"/>
                  </a:lnTo>
                  <a:lnTo>
                    <a:pt x="1502" y="1584"/>
                  </a:lnTo>
                  <a:lnTo>
                    <a:pt x="1500" y="1588"/>
                  </a:lnTo>
                  <a:lnTo>
                    <a:pt x="1498" y="1592"/>
                  </a:lnTo>
                  <a:lnTo>
                    <a:pt x="1498" y="1594"/>
                  </a:lnTo>
                  <a:lnTo>
                    <a:pt x="1502" y="1594"/>
                  </a:lnTo>
                  <a:lnTo>
                    <a:pt x="1506" y="1594"/>
                  </a:lnTo>
                  <a:lnTo>
                    <a:pt x="1508" y="1598"/>
                  </a:lnTo>
                  <a:lnTo>
                    <a:pt x="1504" y="1602"/>
                  </a:lnTo>
                  <a:lnTo>
                    <a:pt x="1502" y="1602"/>
                  </a:lnTo>
                  <a:lnTo>
                    <a:pt x="1502" y="1600"/>
                  </a:lnTo>
                  <a:lnTo>
                    <a:pt x="1496" y="1600"/>
                  </a:lnTo>
                  <a:lnTo>
                    <a:pt x="1496" y="1602"/>
                  </a:lnTo>
                  <a:lnTo>
                    <a:pt x="1490" y="1602"/>
                  </a:lnTo>
                  <a:lnTo>
                    <a:pt x="1488" y="1600"/>
                  </a:lnTo>
                  <a:lnTo>
                    <a:pt x="1486" y="1600"/>
                  </a:lnTo>
                  <a:lnTo>
                    <a:pt x="1482" y="1604"/>
                  </a:lnTo>
                  <a:lnTo>
                    <a:pt x="1480" y="1606"/>
                  </a:lnTo>
                  <a:lnTo>
                    <a:pt x="1482" y="1606"/>
                  </a:lnTo>
                  <a:lnTo>
                    <a:pt x="1478" y="1608"/>
                  </a:lnTo>
                  <a:lnTo>
                    <a:pt x="1468" y="1612"/>
                  </a:lnTo>
                  <a:lnTo>
                    <a:pt x="1460" y="1614"/>
                  </a:lnTo>
                  <a:lnTo>
                    <a:pt x="1460" y="1616"/>
                  </a:lnTo>
                  <a:lnTo>
                    <a:pt x="1458" y="1618"/>
                  </a:lnTo>
                  <a:lnTo>
                    <a:pt x="1460" y="1622"/>
                  </a:lnTo>
                  <a:lnTo>
                    <a:pt x="1460" y="1624"/>
                  </a:lnTo>
                  <a:lnTo>
                    <a:pt x="1458" y="1626"/>
                  </a:lnTo>
                  <a:lnTo>
                    <a:pt x="1454" y="1626"/>
                  </a:lnTo>
                  <a:lnTo>
                    <a:pt x="1452" y="1624"/>
                  </a:lnTo>
                  <a:lnTo>
                    <a:pt x="1448" y="1622"/>
                  </a:lnTo>
                  <a:lnTo>
                    <a:pt x="1446" y="1622"/>
                  </a:lnTo>
                  <a:lnTo>
                    <a:pt x="1438" y="1620"/>
                  </a:lnTo>
                  <a:lnTo>
                    <a:pt x="1434" y="1620"/>
                  </a:lnTo>
                  <a:lnTo>
                    <a:pt x="1430" y="1620"/>
                  </a:lnTo>
                  <a:lnTo>
                    <a:pt x="1424" y="1624"/>
                  </a:lnTo>
                  <a:lnTo>
                    <a:pt x="1422" y="1624"/>
                  </a:lnTo>
                  <a:lnTo>
                    <a:pt x="1416" y="1628"/>
                  </a:lnTo>
                  <a:lnTo>
                    <a:pt x="1418" y="1628"/>
                  </a:lnTo>
                  <a:lnTo>
                    <a:pt x="1420" y="1626"/>
                  </a:lnTo>
                  <a:lnTo>
                    <a:pt x="1422" y="1624"/>
                  </a:lnTo>
                  <a:lnTo>
                    <a:pt x="1420" y="1630"/>
                  </a:lnTo>
                  <a:lnTo>
                    <a:pt x="1418" y="1632"/>
                  </a:lnTo>
                  <a:lnTo>
                    <a:pt x="1412" y="1632"/>
                  </a:lnTo>
                  <a:lnTo>
                    <a:pt x="1414" y="1630"/>
                  </a:lnTo>
                  <a:lnTo>
                    <a:pt x="1412" y="1628"/>
                  </a:lnTo>
                  <a:lnTo>
                    <a:pt x="1408" y="1624"/>
                  </a:lnTo>
                  <a:lnTo>
                    <a:pt x="1406" y="1628"/>
                  </a:lnTo>
                  <a:lnTo>
                    <a:pt x="1406" y="1630"/>
                  </a:lnTo>
                  <a:lnTo>
                    <a:pt x="1404" y="1632"/>
                  </a:lnTo>
                  <a:lnTo>
                    <a:pt x="1396" y="1636"/>
                  </a:lnTo>
                  <a:lnTo>
                    <a:pt x="1384" y="1642"/>
                  </a:lnTo>
                  <a:lnTo>
                    <a:pt x="1380" y="1644"/>
                  </a:lnTo>
                  <a:lnTo>
                    <a:pt x="1378" y="1644"/>
                  </a:lnTo>
                  <a:lnTo>
                    <a:pt x="1378" y="1646"/>
                  </a:lnTo>
                  <a:lnTo>
                    <a:pt x="1376" y="1646"/>
                  </a:lnTo>
                  <a:lnTo>
                    <a:pt x="1376" y="1648"/>
                  </a:lnTo>
                  <a:lnTo>
                    <a:pt x="1374" y="1650"/>
                  </a:lnTo>
                  <a:lnTo>
                    <a:pt x="1362" y="1660"/>
                  </a:lnTo>
                  <a:lnTo>
                    <a:pt x="1356" y="1664"/>
                  </a:lnTo>
                  <a:lnTo>
                    <a:pt x="1350" y="1666"/>
                  </a:lnTo>
                  <a:lnTo>
                    <a:pt x="1348" y="1666"/>
                  </a:lnTo>
                  <a:lnTo>
                    <a:pt x="1344" y="1666"/>
                  </a:lnTo>
                  <a:lnTo>
                    <a:pt x="1342" y="1668"/>
                  </a:lnTo>
                  <a:lnTo>
                    <a:pt x="1334" y="1672"/>
                  </a:lnTo>
                  <a:lnTo>
                    <a:pt x="1330" y="1676"/>
                  </a:lnTo>
                  <a:lnTo>
                    <a:pt x="1328" y="1676"/>
                  </a:lnTo>
                  <a:lnTo>
                    <a:pt x="1320" y="1682"/>
                  </a:lnTo>
                  <a:lnTo>
                    <a:pt x="1318" y="1682"/>
                  </a:lnTo>
                  <a:lnTo>
                    <a:pt x="1316" y="1684"/>
                  </a:lnTo>
                  <a:lnTo>
                    <a:pt x="1318" y="1686"/>
                  </a:lnTo>
                  <a:lnTo>
                    <a:pt x="1320" y="1686"/>
                  </a:lnTo>
                  <a:lnTo>
                    <a:pt x="1322" y="1684"/>
                  </a:lnTo>
                  <a:lnTo>
                    <a:pt x="1324" y="1684"/>
                  </a:lnTo>
                  <a:lnTo>
                    <a:pt x="1324" y="1688"/>
                  </a:lnTo>
                  <a:lnTo>
                    <a:pt x="1322" y="1690"/>
                  </a:lnTo>
                  <a:lnTo>
                    <a:pt x="1318" y="169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3" name="Freeform 282"/>
            <p:cNvSpPr>
              <a:spLocks/>
            </p:cNvSpPr>
            <p:nvPr/>
          </p:nvSpPr>
          <p:spPr bwMode="auto">
            <a:xfrm>
              <a:off x="3572" y="864"/>
              <a:ext cx="8" cy="4"/>
            </a:xfrm>
            <a:custGeom>
              <a:avLst/>
              <a:gdLst>
                <a:gd name="T0" fmla="*/ 4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4 w 8"/>
                <a:gd name="T9" fmla="*/ 0 h 4"/>
                <a:gd name="T10" fmla="*/ 6 w 8"/>
                <a:gd name="T11" fmla="*/ 0 h 4"/>
                <a:gd name="T12" fmla="*/ 8 w 8"/>
                <a:gd name="T13" fmla="*/ 0 h 4"/>
                <a:gd name="T14" fmla="*/ 8 w 8"/>
                <a:gd name="T15" fmla="*/ 2 h 4"/>
                <a:gd name="T16" fmla="*/ 8 w 8"/>
                <a:gd name="T17" fmla="*/ 4 h 4"/>
                <a:gd name="T18" fmla="*/ 4 w 8"/>
                <a:gd name="T19" fmla="*/ 4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4"/>
                <a:gd name="T32" fmla="*/ 8 w 8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4">
                  <a:moveTo>
                    <a:pt x="4" y="4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4" name="Freeform 283"/>
            <p:cNvSpPr>
              <a:spLocks/>
            </p:cNvSpPr>
            <p:nvPr/>
          </p:nvSpPr>
          <p:spPr bwMode="auto">
            <a:xfrm>
              <a:off x="3574" y="868"/>
              <a:ext cx="12" cy="14"/>
            </a:xfrm>
            <a:custGeom>
              <a:avLst/>
              <a:gdLst>
                <a:gd name="T0" fmla="*/ 6 w 12"/>
                <a:gd name="T1" fmla="*/ 14 h 14"/>
                <a:gd name="T2" fmla="*/ 4 w 12"/>
                <a:gd name="T3" fmla="*/ 12 h 14"/>
                <a:gd name="T4" fmla="*/ 0 w 12"/>
                <a:gd name="T5" fmla="*/ 6 h 14"/>
                <a:gd name="T6" fmla="*/ 0 w 12"/>
                <a:gd name="T7" fmla="*/ 4 h 14"/>
                <a:gd name="T8" fmla="*/ 2 w 12"/>
                <a:gd name="T9" fmla="*/ 2 h 14"/>
                <a:gd name="T10" fmla="*/ 6 w 12"/>
                <a:gd name="T11" fmla="*/ 0 h 14"/>
                <a:gd name="T12" fmla="*/ 8 w 12"/>
                <a:gd name="T13" fmla="*/ 0 h 14"/>
                <a:gd name="T14" fmla="*/ 8 w 12"/>
                <a:gd name="T15" fmla="*/ 2 h 14"/>
                <a:gd name="T16" fmla="*/ 10 w 12"/>
                <a:gd name="T17" fmla="*/ 6 h 14"/>
                <a:gd name="T18" fmla="*/ 12 w 12"/>
                <a:gd name="T19" fmla="*/ 8 h 14"/>
                <a:gd name="T20" fmla="*/ 12 w 12"/>
                <a:gd name="T21" fmla="*/ 10 h 14"/>
                <a:gd name="T22" fmla="*/ 10 w 12"/>
                <a:gd name="T23" fmla="*/ 10 h 14"/>
                <a:gd name="T24" fmla="*/ 8 w 12"/>
                <a:gd name="T25" fmla="*/ 12 h 14"/>
                <a:gd name="T26" fmla="*/ 6 w 12"/>
                <a:gd name="T27" fmla="*/ 14 h 1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4"/>
                <a:gd name="T44" fmla="*/ 12 w 12"/>
                <a:gd name="T45" fmla="*/ 14 h 1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4">
                  <a:moveTo>
                    <a:pt x="6" y="14"/>
                  </a:moveTo>
                  <a:lnTo>
                    <a:pt x="4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5" name="Freeform 284"/>
            <p:cNvSpPr>
              <a:spLocks/>
            </p:cNvSpPr>
            <p:nvPr/>
          </p:nvSpPr>
          <p:spPr bwMode="auto">
            <a:xfrm>
              <a:off x="3598" y="928"/>
              <a:ext cx="8" cy="6"/>
            </a:xfrm>
            <a:custGeom>
              <a:avLst/>
              <a:gdLst>
                <a:gd name="T0" fmla="*/ 2 w 8"/>
                <a:gd name="T1" fmla="*/ 6 h 6"/>
                <a:gd name="T2" fmla="*/ 0 w 8"/>
                <a:gd name="T3" fmla="*/ 6 h 6"/>
                <a:gd name="T4" fmla="*/ 0 w 8"/>
                <a:gd name="T5" fmla="*/ 4 h 6"/>
                <a:gd name="T6" fmla="*/ 2 w 8"/>
                <a:gd name="T7" fmla="*/ 0 h 6"/>
                <a:gd name="T8" fmla="*/ 4 w 8"/>
                <a:gd name="T9" fmla="*/ 0 h 6"/>
                <a:gd name="T10" fmla="*/ 6 w 8"/>
                <a:gd name="T11" fmla="*/ 0 h 6"/>
                <a:gd name="T12" fmla="*/ 8 w 8"/>
                <a:gd name="T13" fmla="*/ 0 h 6"/>
                <a:gd name="T14" fmla="*/ 8 w 8"/>
                <a:gd name="T15" fmla="*/ 2 h 6"/>
                <a:gd name="T16" fmla="*/ 6 w 8"/>
                <a:gd name="T17" fmla="*/ 2 h 6"/>
                <a:gd name="T18" fmla="*/ 4 w 8"/>
                <a:gd name="T19" fmla="*/ 4 h 6"/>
                <a:gd name="T20" fmla="*/ 4 w 8"/>
                <a:gd name="T21" fmla="*/ 6 h 6"/>
                <a:gd name="T22" fmla="*/ 2 w 8"/>
                <a:gd name="T23" fmla="*/ 6 h 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"/>
                <a:gd name="T37" fmla="*/ 0 h 6"/>
                <a:gd name="T38" fmla="*/ 8 w 8"/>
                <a:gd name="T39" fmla="*/ 6 h 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" h="6">
                  <a:moveTo>
                    <a:pt x="2" y="6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6" name="Freeform 285"/>
            <p:cNvSpPr>
              <a:spLocks/>
            </p:cNvSpPr>
            <p:nvPr/>
          </p:nvSpPr>
          <p:spPr bwMode="auto">
            <a:xfrm>
              <a:off x="3588" y="934"/>
              <a:ext cx="14" cy="12"/>
            </a:xfrm>
            <a:custGeom>
              <a:avLst/>
              <a:gdLst>
                <a:gd name="T0" fmla="*/ 0 w 14"/>
                <a:gd name="T1" fmla="*/ 12 h 12"/>
                <a:gd name="T2" fmla="*/ 0 w 14"/>
                <a:gd name="T3" fmla="*/ 10 h 12"/>
                <a:gd name="T4" fmla="*/ 0 w 14"/>
                <a:gd name="T5" fmla="*/ 8 h 12"/>
                <a:gd name="T6" fmla="*/ 0 w 14"/>
                <a:gd name="T7" fmla="*/ 6 h 12"/>
                <a:gd name="T8" fmla="*/ 2 w 14"/>
                <a:gd name="T9" fmla="*/ 6 h 12"/>
                <a:gd name="T10" fmla="*/ 2 w 14"/>
                <a:gd name="T11" fmla="*/ 4 h 12"/>
                <a:gd name="T12" fmla="*/ 4 w 14"/>
                <a:gd name="T13" fmla="*/ 4 h 12"/>
                <a:gd name="T14" fmla="*/ 4 w 14"/>
                <a:gd name="T15" fmla="*/ 2 h 12"/>
                <a:gd name="T16" fmla="*/ 6 w 14"/>
                <a:gd name="T17" fmla="*/ 2 h 12"/>
                <a:gd name="T18" fmla="*/ 8 w 14"/>
                <a:gd name="T19" fmla="*/ 2 h 12"/>
                <a:gd name="T20" fmla="*/ 10 w 14"/>
                <a:gd name="T21" fmla="*/ 4 h 12"/>
                <a:gd name="T22" fmla="*/ 12 w 14"/>
                <a:gd name="T23" fmla="*/ 4 h 12"/>
                <a:gd name="T24" fmla="*/ 14 w 14"/>
                <a:gd name="T25" fmla="*/ 0 h 12"/>
                <a:gd name="T26" fmla="*/ 14 w 14"/>
                <a:gd name="T27" fmla="*/ 2 h 12"/>
                <a:gd name="T28" fmla="*/ 12 w 14"/>
                <a:gd name="T29" fmla="*/ 8 h 12"/>
                <a:gd name="T30" fmla="*/ 10 w 14"/>
                <a:gd name="T31" fmla="*/ 8 h 12"/>
                <a:gd name="T32" fmla="*/ 10 w 14"/>
                <a:gd name="T33" fmla="*/ 10 h 12"/>
                <a:gd name="T34" fmla="*/ 8 w 14"/>
                <a:gd name="T35" fmla="*/ 10 h 12"/>
                <a:gd name="T36" fmla="*/ 6 w 14"/>
                <a:gd name="T37" fmla="*/ 10 h 12"/>
                <a:gd name="T38" fmla="*/ 0 w 14"/>
                <a:gd name="T39" fmla="*/ 12 h 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"/>
                <a:gd name="T61" fmla="*/ 0 h 12"/>
                <a:gd name="T62" fmla="*/ 14 w 14"/>
                <a:gd name="T63" fmla="*/ 12 h 1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" h="12">
                  <a:moveTo>
                    <a:pt x="0" y="12"/>
                  </a:move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7" name="Freeform 286"/>
            <p:cNvSpPr>
              <a:spLocks/>
            </p:cNvSpPr>
            <p:nvPr/>
          </p:nvSpPr>
          <p:spPr bwMode="auto">
            <a:xfrm>
              <a:off x="3584" y="950"/>
              <a:ext cx="16" cy="16"/>
            </a:xfrm>
            <a:custGeom>
              <a:avLst/>
              <a:gdLst>
                <a:gd name="T0" fmla="*/ 4 w 16"/>
                <a:gd name="T1" fmla="*/ 16 h 16"/>
                <a:gd name="T2" fmla="*/ 2 w 16"/>
                <a:gd name="T3" fmla="*/ 16 h 16"/>
                <a:gd name="T4" fmla="*/ 2 w 16"/>
                <a:gd name="T5" fmla="*/ 14 h 16"/>
                <a:gd name="T6" fmla="*/ 0 w 16"/>
                <a:gd name="T7" fmla="*/ 14 h 16"/>
                <a:gd name="T8" fmla="*/ 0 w 16"/>
                <a:gd name="T9" fmla="*/ 12 h 16"/>
                <a:gd name="T10" fmla="*/ 0 w 16"/>
                <a:gd name="T11" fmla="*/ 10 h 16"/>
                <a:gd name="T12" fmla="*/ 2 w 16"/>
                <a:gd name="T13" fmla="*/ 8 h 16"/>
                <a:gd name="T14" fmla="*/ 4 w 16"/>
                <a:gd name="T15" fmla="*/ 4 h 16"/>
                <a:gd name="T16" fmla="*/ 6 w 16"/>
                <a:gd name="T17" fmla="*/ 4 h 16"/>
                <a:gd name="T18" fmla="*/ 14 w 16"/>
                <a:gd name="T19" fmla="*/ 0 h 16"/>
                <a:gd name="T20" fmla="*/ 16 w 16"/>
                <a:gd name="T21" fmla="*/ 2 h 16"/>
                <a:gd name="T22" fmla="*/ 16 w 16"/>
                <a:gd name="T23" fmla="*/ 4 h 16"/>
                <a:gd name="T24" fmla="*/ 16 w 16"/>
                <a:gd name="T25" fmla="*/ 6 h 16"/>
                <a:gd name="T26" fmla="*/ 10 w 16"/>
                <a:gd name="T27" fmla="*/ 14 h 16"/>
                <a:gd name="T28" fmla="*/ 6 w 16"/>
                <a:gd name="T29" fmla="*/ 16 h 16"/>
                <a:gd name="T30" fmla="*/ 4 w 16"/>
                <a:gd name="T31" fmla="*/ 16 h 1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6"/>
                <a:gd name="T49" fmla="*/ 0 h 16"/>
                <a:gd name="T50" fmla="*/ 16 w 16"/>
                <a:gd name="T51" fmla="*/ 16 h 1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6" h="16">
                  <a:moveTo>
                    <a:pt x="4" y="16"/>
                  </a:moveTo>
                  <a:lnTo>
                    <a:pt x="2" y="16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8"/>
                  </a:lnTo>
                  <a:lnTo>
                    <a:pt x="4" y="4"/>
                  </a:lnTo>
                  <a:lnTo>
                    <a:pt x="6" y="4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0" y="14"/>
                  </a:lnTo>
                  <a:lnTo>
                    <a:pt x="6" y="16"/>
                  </a:lnTo>
                  <a:lnTo>
                    <a:pt x="4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8" name="Freeform 287"/>
            <p:cNvSpPr>
              <a:spLocks/>
            </p:cNvSpPr>
            <p:nvPr/>
          </p:nvSpPr>
          <p:spPr bwMode="auto">
            <a:xfrm>
              <a:off x="3574" y="952"/>
              <a:ext cx="10" cy="24"/>
            </a:xfrm>
            <a:custGeom>
              <a:avLst/>
              <a:gdLst>
                <a:gd name="T0" fmla="*/ 4 w 10"/>
                <a:gd name="T1" fmla="*/ 24 h 24"/>
                <a:gd name="T2" fmla="*/ 0 w 10"/>
                <a:gd name="T3" fmla="*/ 24 h 24"/>
                <a:gd name="T4" fmla="*/ 0 w 10"/>
                <a:gd name="T5" fmla="*/ 22 h 24"/>
                <a:gd name="T6" fmla="*/ 0 w 10"/>
                <a:gd name="T7" fmla="*/ 20 h 24"/>
                <a:gd name="T8" fmla="*/ 2 w 10"/>
                <a:gd name="T9" fmla="*/ 20 h 24"/>
                <a:gd name="T10" fmla="*/ 2 w 10"/>
                <a:gd name="T11" fmla="*/ 18 h 24"/>
                <a:gd name="T12" fmla="*/ 2 w 10"/>
                <a:gd name="T13" fmla="*/ 16 h 24"/>
                <a:gd name="T14" fmla="*/ 4 w 10"/>
                <a:gd name="T15" fmla="*/ 16 h 24"/>
                <a:gd name="T16" fmla="*/ 4 w 10"/>
                <a:gd name="T17" fmla="*/ 14 h 24"/>
                <a:gd name="T18" fmla="*/ 4 w 10"/>
                <a:gd name="T19" fmla="*/ 8 h 24"/>
                <a:gd name="T20" fmla="*/ 6 w 10"/>
                <a:gd name="T21" fmla="*/ 4 h 24"/>
                <a:gd name="T22" fmla="*/ 8 w 10"/>
                <a:gd name="T23" fmla="*/ 0 h 24"/>
                <a:gd name="T24" fmla="*/ 8 w 10"/>
                <a:gd name="T25" fmla="*/ 2 h 24"/>
                <a:gd name="T26" fmla="*/ 10 w 10"/>
                <a:gd name="T27" fmla="*/ 6 h 24"/>
                <a:gd name="T28" fmla="*/ 8 w 10"/>
                <a:gd name="T29" fmla="*/ 8 h 24"/>
                <a:gd name="T30" fmla="*/ 8 w 10"/>
                <a:gd name="T31" fmla="*/ 10 h 24"/>
                <a:gd name="T32" fmla="*/ 8 w 10"/>
                <a:gd name="T33" fmla="*/ 12 h 24"/>
                <a:gd name="T34" fmla="*/ 10 w 10"/>
                <a:gd name="T35" fmla="*/ 12 h 24"/>
                <a:gd name="T36" fmla="*/ 10 w 10"/>
                <a:gd name="T37" fmla="*/ 14 h 24"/>
                <a:gd name="T38" fmla="*/ 10 w 10"/>
                <a:gd name="T39" fmla="*/ 16 h 24"/>
                <a:gd name="T40" fmla="*/ 10 w 10"/>
                <a:gd name="T41" fmla="*/ 18 h 24"/>
                <a:gd name="T42" fmla="*/ 10 w 10"/>
                <a:gd name="T43" fmla="*/ 20 h 24"/>
                <a:gd name="T44" fmla="*/ 8 w 10"/>
                <a:gd name="T45" fmla="*/ 20 h 24"/>
                <a:gd name="T46" fmla="*/ 6 w 10"/>
                <a:gd name="T47" fmla="*/ 20 h 24"/>
                <a:gd name="T48" fmla="*/ 6 w 10"/>
                <a:gd name="T49" fmla="*/ 22 h 24"/>
                <a:gd name="T50" fmla="*/ 4 w 10"/>
                <a:gd name="T51" fmla="*/ 24 h 2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"/>
                <a:gd name="T79" fmla="*/ 0 h 24"/>
                <a:gd name="T80" fmla="*/ 10 w 10"/>
                <a:gd name="T81" fmla="*/ 24 h 2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" h="24">
                  <a:moveTo>
                    <a:pt x="4" y="24"/>
                  </a:move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4" y="8"/>
                  </a:lnTo>
                  <a:lnTo>
                    <a:pt x="6" y="4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20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4" y="2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9" name="Freeform 288"/>
            <p:cNvSpPr>
              <a:spLocks/>
            </p:cNvSpPr>
            <p:nvPr/>
          </p:nvSpPr>
          <p:spPr bwMode="auto">
            <a:xfrm>
              <a:off x="3580" y="966"/>
              <a:ext cx="42" cy="24"/>
            </a:xfrm>
            <a:custGeom>
              <a:avLst/>
              <a:gdLst>
                <a:gd name="T0" fmla="*/ 22 w 42"/>
                <a:gd name="T1" fmla="*/ 24 h 24"/>
                <a:gd name="T2" fmla="*/ 20 w 42"/>
                <a:gd name="T3" fmla="*/ 20 h 24"/>
                <a:gd name="T4" fmla="*/ 18 w 42"/>
                <a:gd name="T5" fmla="*/ 20 h 24"/>
                <a:gd name="T6" fmla="*/ 16 w 42"/>
                <a:gd name="T7" fmla="*/ 18 h 24"/>
                <a:gd name="T8" fmla="*/ 14 w 42"/>
                <a:gd name="T9" fmla="*/ 18 h 24"/>
                <a:gd name="T10" fmla="*/ 12 w 42"/>
                <a:gd name="T11" fmla="*/ 18 h 24"/>
                <a:gd name="T12" fmla="*/ 10 w 42"/>
                <a:gd name="T13" fmla="*/ 18 h 24"/>
                <a:gd name="T14" fmla="*/ 8 w 42"/>
                <a:gd name="T15" fmla="*/ 18 h 24"/>
                <a:gd name="T16" fmla="*/ 6 w 42"/>
                <a:gd name="T17" fmla="*/ 18 h 24"/>
                <a:gd name="T18" fmla="*/ 4 w 42"/>
                <a:gd name="T19" fmla="*/ 18 h 24"/>
                <a:gd name="T20" fmla="*/ 2 w 42"/>
                <a:gd name="T21" fmla="*/ 18 h 24"/>
                <a:gd name="T22" fmla="*/ 0 w 42"/>
                <a:gd name="T23" fmla="*/ 14 h 24"/>
                <a:gd name="T24" fmla="*/ 0 w 42"/>
                <a:gd name="T25" fmla="*/ 10 h 24"/>
                <a:gd name="T26" fmla="*/ 2 w 42"/>
                <a:gd name="T27" fmla="*/ 8 h 24"/>
                <a:gd name="T28" fmla="*/ 6 w 42"/>
                <a:gd name="T29" fmla="*/ 8 h 24"/>
                <a:gd name="T30" fmla="*/ 8 w 42"/>
                <a:gd name="T31" fmla="*/ 8 h 24"/>
                <a:gd name="T32" fmla="*/ 12 w 42"/>
                <a:gd name="T33" fmla="*/ 8 h 24"/>
                <a:gd name="T34" fmla="*/ 14 w 42"/>
                <a:gd name="T35" fmla="*/ 8 h 24"/>
                <a:gd name="T36" fmla="*/ 16 w 42"/>
                <a:gd name="T37" fmla="*/ 6 h 24"/>
                <a:gd name="T38" fmla="*/ 18 w 42"/>
                <a:gd name="T39" fmla="*/ 4 h 24"/>
                <a:gd name="T40" fmla="*/ 20 w 42"/>
                <a:gd name="T41" fmla="*/ 4 h 24"/>
                <a:gd name="T42" fmla="*/ 22 w 42"/>
                <a:gd name="T43" fmla="*/ 4 h 24"/>
                <a:gd name="T44" fmla="*/ 24 w 42"/>
                <a:gd name="T45" fmla="*/ 4 h 24"/>
                <a:gd name="T46" fmla="*/ 28 w 42"/>
                <a:gd name="T47" fmla="*/ 2 h 24"/>
                <a:gd name="T48" fmla="*/ 32 w 42"/>
                <a:gd name="T49" fmla="*/ 2 h 24"/>
                <a:gd name="T50" fmla="*/ 36 w 42"/>
                <a:gd name="T51" fmla="*/ 2 h 24"/>
                <a:gd name="T52" fmla="*/ 36 w 42"/>
                <a:gd name="T53" fmla="*/ 0 h 24"/>
                <a:gd name="T54" fmla="*/ 38 w 42"/>
                <a:gd name="T55" fmla="*/ 0 h 24"/>
                <a:gd name="T56" fmla="*/ 38 w 42"/>
                <a:gd name="T57" fmla="*/ 2 h 24"/>
                <a:gd name="T58" fmla="*/ 40 w 42"/>
                <a:gd name="T59" fmla="*/ 2 h 24"/>
                <a:gd name="T60" fmla="*/ 40 w 42"/>
                <a:gd name="T61" fmla="*/ 4 h 24"/>
                <a:gd name="T62" fmla="*/ 42 w 42"/>
                <a:gd name="T63" fmla="*/ 4 h 24"/>
                <a:gd name="T64" fmla="*/ 42 w 42"/>
                <a:gd name="T65" fmla="*/ 6 h 24"/>
                <a:gd name="T66" fmla="*/ 42 w 42"/>
                <a:gd name="T67" fmla="*/ 8 h 24"/>
                <a:gd name="T68" fmla="*/ 40 w 42"/>
                <a:gd name="T69" fmla="*/ 8 h 24"/>
                <a:gd name="T70" fmla="*/ 40 w 42"/>
                <a:gd name="T71" fmla="*/ 10 h 24"/>
                <a:gd name="T72" fmla="*/ 38 w 42"/>
                <a:gd name="T73" fmla="*/ 10 h 24"/>
                <a:gd name="T74" fmla="*/ 34 w 42"/>
                <a:gd name="T75" fmla="*/ 12 h 24"/>
                <a:gd name="T76" fmla="*/ 32 w 42"/>
                <a:gd name="T77" fmla="*/ 14 h 24"/>
                <a:gd name="T78" fmla="*/ 30 w 42"/>
                <a:gd name="T79" fmla="*/ 16 h 24"/>
                <a:gd name="T80" fmla="*/ 30 w 42"/>
                <a:gd name="T81" fmla="*/ 18 h 24"/>
                <a:gd name="T82" fmla="*/ 28 w 42"/>
                <a:gd name="T83" fmla="*/ 18 h 24"/>
                <a:gd name="T84" fmla="*/ 28 w 42"/>
                <a:gd name="T85" fmla="*/ 20 h 24"/>
                <a:gd name="T86" fmla="*/ 28 w 42"/>
                <a:gd name="T87" fmla="*/ 22 h 24"/>
                <a:gd name="T88" fmla="*/ 26 w 42"/>
                <a:gd name="T89" fmla="*/ 22 h 24"/>
                <a:gd name="T90" fmla="*/ 22 w 42"/>
                <a:gd name="T91" fmla="*/ 24 h 2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2"/>
                <a:gd name="T139" fmla="*/ 0 h 24"/>
                <a:gd name="T140" fmla="*/ 42 w 42"/>
                <a:gd name="T141" fmla="*/ 24 h 2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2" h="24">
                  <a:moveTo>
                    <a:pt x="22" y="24"/>
                  </a:moveTo>
                  <a:lnTo>
                    <a:pt x="20" y="20"/>
                  </a:lnTo>
                  <a:lnTo>
                    <a:pt x="18" y="20"/>
                  </a:lnTo>
                  <a:lnTo>
                    <a:pt x="16" y="18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6" y="6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24" y="4"/>
                  </a:lnTo>
                  <a:lnTo>
                    <a:pt x="28" y="2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4" y="12"/>
                  </a:lnTo>
                  <a:lnTo>
                    <a:pt x="32" y="14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8" y="20"/>
                  </a:lnTo>
                  <a:lnTo>
                    <a:pt x="28" y="22"/>
                  </a:lnTo>
                  <a:lnTo>
                    <a:pt x="26" y="22"/>
                  </a:lnTo>
                  <a:lnTo>
                    <a:pt x="22" y="2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0" name="Freeform 289"/>
            <p:cNvSpPr>
              <a:spLocks/>
            </p:cNvSpPr>
            <p:nvPr/>
          </p:nvSpPr>
          <p:spPr bwMode="auto">
            <a:xfrm>
              <a:off x="3566" y="974"/>
              <a:ext cx="12" cy="14"/>
            </a:xfrm>
            <a:custGeom>
              <a:avLst/>
              <a:gdLst>
                <a:gd name="T0" fmla="*/ 10 w 12"/>
                <a:gd name="T1" fmla="*/ 14 h 14"/>
                <a:gd name="T2" fmla="*/ 8 w 12"/>
                <a:gd name="T3" fmla="*/ 14 h 14"/>
                <a:gd name="T4" fmla="*/ 8 w 12"/>
                <a:gd name="T5" fmla="*/ 12 h 14"/>
                <a:gd name="T6" fmla="*/ 6 w 12"/>
                <a:gd name="T7" fmla="*/ 12 h 14"/>
                <a:gd name="T8" fmla="*/ 4 w 12"/>
                <a:gd name="T9" fmla="*/ 10 h 14"/>
                <a:gd name="T10" fmla="*/ 2 w 12"/>
                <a:gd name="T11" fmla="*/ 8 h 14"/>
                <a:gd name="T12" fmla="*/ 0 w 12"/>
                <a:gd name="T13" fmla="*/ 6 h 14"/>
                <a:gd name="T14" fmla="*/ 0 w 12"/>
                <a:gd name="T15" fmla="*/ 4 h 14"/>
                <a:gd name="T16" fmla="*/ 2 w 12"/>
                <a:gd name="T17" fmla="*/ 2 h 14"/>
                <a:gd name="T18" fmla="*/ 4 w 12"/>
                <a:gd name="T19" fmla="*/ 0 h 14"/>
                <a:gd name="T20" fmla="*/ 10 w 12"/>
                <a:gd name="T21" fmla="*/ 4 h 14"/>
                <a:gd name="T22" fmla="*/ 12 w 12"/>
                <a:gd name="T23" fmla="*/ 4 h 14"/>
                <a:gd name="T24" fmla="*/ 12 w 12"/>
                <a:gd name="T25" fmla="*/ 6 h 14"/>
                <a:gd name="T26" fmla="*/ 12 w 12"/>
                <a:gd name="T27" fmla="*/ 10 h 14"/>
                <a:gd name="T28" fmla="*/ 12 w 12"/>
                <a:gd name="T29" fmla="*/ 12 h 14"/>
                <a:gd name="T30" fmla="*/ 10 w 12"/>
                <a:gd name="T31" fmla="*/ 14 h 1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"/>
                <a:gd name="T49" fmla="*/ 0 h 14"/>
                <a:gd name="T50" fmla="*/ 12 w 12"/>
                <a:gd name="T51" fmla="*/ 14 h 1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" h="14">
                  <a:moveTo>
                    <a:pt x="10" y="14"/>
                  </a:moveTo>
                  <a:lnTo>
                    <a:pt x="8" y="14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2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0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1" name="Freeform 290"/>
            <p:cNvSpPr>
              <a:spLocks/>
            </p:cNvSpPr>
            <p:nvPr/>
          </p:nvSpPr>
          <p:spPr bwMode="auto">
            <a:xfrm>
              <a:off x="3610" y="982"/>
              <a:ext cx="26" cy="12"/>
            </a:xfrm>
            <a:custGeom>
              <a:avLst/>
              <a:gdLst>
                <a:gd name="T0" fmla="*/ 8 w 26"/>
                <a:gd name="T1" fmla="*/ 12 h 12"/>
                <a:gd name="T2" fmla="*/ 2 w 26"/>
                <a:gd name="T3" fmla="*/ 10 h 12"/>
                <a:gd name="T4" fmla="*/ 0 w 26"/>
                <a:gd name="T5" fmla="*/ 8 h 12"/>
                <a:gd name="T6" fmla="*/ 6 w 26"/>
                <a:gd name="T7" fmla="*/ 4 h 12"/>
                <a:gd name="T8" fmla="*/ 8 w 26"/>
                <a:gd name="T9" fmla="*/ 2 h 12"/>
                <a:gd name="T10" fmla="*/ 10 w 26"/>
                <a:gd name="T11" fmla="*/ 0 h 12"/>
                <a:gd name="T12" fmla="*/ 14 w 26"/>
                <a:gd name="T13" fmla="*/ 0 h 12"/>
                <a:gd name="T14" fmla="*/ 16 w 26"/>
                <a:gd name="T15" fmla="*/ 0 h 12"/>
                <a:gd name="T16" fmla="*/ 18 w 26"/>
                <a:gd name="T17" fmla="*/ 0 h 12"/>
                <a:gd name="T18" fmla="*/ 20 w 26"/>
                <a:gd name="T19" fmla="*/ 0 h 12"/>
                <a:gd name="T20" fmla="*/ 22 w 26"/>
                <a:gd name="T21" fmla="*/ 2 h 12"/>
                <a:gd name="T22" fmla="*/ 24 w 26"/>
                <a:gd name="T23" fmla="*/ 2 h 12"/>
                <a:gd name="T24" fmla="*/ 26 w 26"/>
                <a:gd name="T25" fmla="*/ 4 h 12"/>
                <a:gd name="T26" fmla="*/ 26 w 26"/>
                <a:gd name="T27" fmla="*/ 6 h 12"/>
                <a:gd name="T28" fmla="*/ 26 w 26"/>
                <a:gd name="T29" fmla="*/ 8 h 12"/>
                <a:gd name="T30" fmla="*/ 24 w 26"/>
                <a:gd name="T31" fmla="*/ 10 h 12"/>
                <a:gd name="T32" fmla="*/ 22 w 26"/>
                <a:gd name="T33" fmla="*/ 10 h 12"/>
                <a:gd name="T34" fmla="*/ 18 w 26"/>
                <a:gd name="T35" fmla="*/ 12 h 12"/>
                <a:gd name="T36" fmla="*/ 14 w 26"/>
                <a:gd name="T37" fmla="*/ 12 h 12"/>
                <a:gd name="T38" fmla="*/ 12 w 26"/>
                <a:gd name="T39" fmla="*/ 12 h 12"/>
                <a:gd name="T40" fmla="*/ 10 w 26"/>
                <a:gd name="T41" fmla="*/ 12 h 12"/>
                <a:gd name="T42" fmla="*/ 8 w 26"/>
                <a:gd name="T43" fmla="*/ 12 h 1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6"/>
                <a:gd name="T67" fmla="*/ 0 h 12"/>
                <a:gd name="T68" fmla="*/ 26 w 26"/>
                <a:gd name="T69" fmla="*/ 12 h 1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6" h="12">
                  <a:moveTo>
                    <a:pt x="8" y="12"/>
                  </a:moveTo>
                  <a:lnTo>
                    <a:pt x="2" y="10"/>
                  </a:lnTo>
                  <a:lnTo>
                    <a:pt x="0" y="8"/>
                  </a:lnTo>
                  <a:lnTo>
                    <a:pt x="6" y="4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4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18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2" name="Freeform 291"/>
            <p:cNvSpPr>
              <a:spLocks/>
            </p:cNvSpPr>
            <p:nvPr/>
          </p:nvSpPr>
          <p:spPr bwMode="auto">
            <a:xfrm>
              <a:off x="3552" y="982"/>
              <a:ext cx="12" cy="6"/>
            </a:xfrm>
            <a:custGeom>
              <a:avLst/>
              <a:gdLst>
                <a:gd name="T0" fmla="*/ 2 w 12"/>
                <a:gd name="T1" fmla="*/ 4 h 6"/>
                <a:gd name="T2" fmla="*/ 4 w 12"/>
                <a:gd name="T3" fmla="*/ 2 h 6"/>
                <a:gd name="T4" fmla="*/ 6 w 12"/>
                <a:gd name="T5" fmla="*/ 2 h 6"/>
                <a:gd name="T6" fmla="*/ 8 w 12"/>
                <a:gd name="T7" fmla="*/ 0 h 6"/>
                <a:gd name="T8" fmla="*/ 10 w 12"/>
                <a:gd name="T9" fmla="*/ 0 h 6"/>
                <a:gd name="T10" fmla="*/ 10 w 12"/>
                <a:gd name="T11" fmla="*/ 2 h 6"/>
                <a:gd name="T12" fmla="*/ 12 w 12"/>
                <a:gd name="T13" fmla="*/ 2 h 6"/>
                <a:gd name="T14" fmla="*/ 12 w 12"/>
                <a:gd name="T15" fmla="*/ 4 h 6"/>
                <a:gd name="T16" fmla="*/ 10 w 12"/>
                <a:gd name="T17" fmla="*/ 4 h 6"/>
                <a:gd name="T18" fmla="*/ 6 w 12"/>
                <a:gd name="T19" fmla="*/ 6 h 6"/>
                <a:gd name="T20" fmla="*/ 4 w 12"/>
                <a:gd name="T21" fmla="*/ 6 h 6"/>
                <a:gd name="T22" fmla="*/ 2 w 12"/>
                <a:gd name="T23" fmla="*/ 6 h 6"/>
                <a:gd name="T24" fmla="*/ 0 w 12"/>
                <a:gd name="T25" fmla="*/ 6 h 6"/>
                <a:gd name="T26" fmla="*/ 0 w 12"/>
                <a:gd name="T27" fmla="*/ 4 h 6"/>
                <a:gd name="T28" fmla="*/ 2 w 12"/>
                <a:gd name="T29" fmla="*/ 4 h 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6"/>
                <a:gd name="T47" fmla="*/ 12 w 12"/>
                <a:gd name="T48" fmla="*/ 6 h 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6">
                  <a:moveTo>
                    <a:pt x="2" y="4"/>
                  </a:moveTo>
                  <a:lnTo>
                    <a:pt x="4" y="2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3" name="Freeform 292"/>
            <p:cNvSpPr>
              <a:spLocks/>
            </p:cNvSpPr>
            <p:nvPr/>
          </p:nvSpPr>
          <p:spPr bwMode="auto">
            <a:xfrm>
              <a:off x="3546" y="986"/>
              <a:ext cx="26" cy="16"/>
            </a:xfrm>
            <a:custGeom>
              <a:avLst/>
              <a:gdLst>
                <a:gd name="T0" fmla="*/ 10 w 26"/>
                <a:gd name="T1" fmla="*/ 16 h 16"/>
                <a:gd name="T2" fmla="*/ 8 w 26"/>
                <a:gd name="T3" fmla="*/ 16 h 16"/>
                <a:gd name="T4" fmla="*/ 6 w 26"/>
                <a:gd name="T5" fmla="*/ 16 h 16"/>
                <a:gd name="T6" fmla="*/ 0 w 26"/>
                <a:gd name="T7" fmla="*/ 14 h 16"/>
                <a:gd name="T8" fmla="*/ 0 w 26"/>
                <a:gd name="T9" fmla="*/ 12 h 16"/>
                <a:gd name="T10" fmla="*/ 0 w 26"/>
                <a:gd name="T11" fmla="*/ 10 h 16"/>
                <a:gd name="T12" fmla="*/ 0 w 26"/>
                <a:gd name="T13" fmla="*/ 8 h 16"/>
                <a:gd name="T14" fmla="*/ 2 w 26"/>
                <a:gd name="T15" fmla="*/ 8 h 16"/>
                <a:gd name="T16" fmla="*/ 2 w 26"/>
                <a:gd name="T17" fmla="*/ 6 h 16"/>
                <a:gd name="T18" fmla="*/ 4 w 26"/>
                <a:gd name="T19" fmla="*/ 4 h 16"/>
                <a:gd name="T20" fmla="*/ 6 w 26"/>
                <a:gd name="T21" fmla="*/ 4 h 16"/>
                <a:gd name="T22" fmla="*/ 10 w 26"/>
                <a:gd name="T23" fmla="*/ 4 h 16"/>
                <a:gd name="T24" fmla="*/ 14 w 26"/>
                <a:gd name="T25" fmla="*/ 2 h 16"/>
                <a:gd name="T26" fmla="*/ 16 w 26"/>
                <a:gd name="T27" fmla="*/ 2 h 16"/>
                <a:gd name="T28" fmla="*/ 16 w 26"/>
                <a:gd name="T29" fmla="*/ 0 h 16"/>
                <a:gd name="T30" fmla="*/ 18 w 26"/>
                <a:gd name="T31" fmla="*/ 0 h 16"/>
                <a:gd name="T32" fmla="*/ 22 w 26"/>
                <a:gd name="T33" fmla="*/ 0 h 16"/>
                <a:gd name="T34" fmla="*/ 26 w 26"/>
                <a:gd name="T35" fmla="*/ 2 h 16"/>
                <a:gd name="T36" fmla="*/ 26 w 26"/>
                <a:gd name="T37" fmla="*/ 4 h 16"/>
                <a:gd name="T38" fmla="*/ 20 w 26"/>
                <a:gd name="T39" fmla="*/ 10 h 16"/>
                <a:gd name="T40" fmla="*/ 18 w 26"/>
                <a:gd name="T41" fmla="*/ 10 h 16"/>
                <a:gd name="T42" fmla="*/ 16 w 26"/>
                <a:gd name="T43" fmla="*/ 10 h 16"/>
                <a:gd name="T44" fmla="*/ 14 w 26"/>
                <a:gd name="T45" fmla="*/ 12 h 16"/>
                <a:gd name="T46" fmla="*/ 12 w 26"/>
                <a:gd name="T47" fmla="*/ 14 h 16"/>
                <a:gd name="T48" fmla="*/ 10 w 26"/>
                <a:gd name="T49" fmla="*/ 16 h 1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6"/>
                <a:gd name="T76" fmla="*/ 0 h 16"/>
                <a:gd name="T77" fmla="*/ 26 w 26"/>
                <a:gd name="T78" fmla="*/ 16 h 1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6" h="16">
                  <a:moveTo>
                    <a:pt x="10" y="16"/>
                  </a:moveTo>
                  <a:lnTo>
                    <a:pt x="8" y="16"/>
                  </a:lnTo>
                  <a:lnTo>
                    <a:pt x="6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6" y="2"/>
                  </a:lnTo>
                  <a:lnTo>
                    <a:pt x="26" y="4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10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4" name="Freeform 293"/>
            <p:cNvSpPr>
              <a:spLocks/>
            </p:cNvSpPr>
            <p:nvPr/>
          </p:nvSpPr>
          <p:spPr bwMode="auto">
            <a:xfrm>
              <a:off x="3558" y="992"/>
              <a:ext cx="132" cy="96"/>
            </a:xfrm>
            <a:custGeom>
              <a:avLst/>
              <a:gdLst>
                <a:gd name="T0" fmla="*/ 100 w 132"/>
                <a:gd name="T1" fmla="*/ 80 h 96"/>
                <a:gd name="T2" fmla="*/ 78 w 132"/>
                <a:gd name="T3" fmla="*/ 86 h 96"/>
                <a:gd name="T4" fmla="*/ 68 w 132"/>
                <a:gd name="T5" fmla="*/ 88 h 96"/>
                <a:gd name="T6" fmla="*/ 58 w 132"/>
                <a:gd name="T7" fmla="*/ 90 h 96"/>
                <a:gd name="T8" fmla="*/ 56 w 132"/>
                <a:gd name="T9" fmla="*/ 86 h 96"/>
                <a:gd name="T10" fmla="*/ 58 w 132"/>
                <a:gd name="T11" fmla="*/ 88 h 96"/>
                <a:gd name="T12" fmla="*/ 58 w 132"/>
                <a:gd name="T13" fmla="*/ 92 h 96"/>
                <a:gd name="T14" fmla="*/ 54 w 132"/>
                <a:gd name="T15" fmla="*/ 94 h 96"/>
                <a:gd name="T16" fmla="*/ 48 w 132"/>
                <a:gd name="T17" fmla="*/ 92 h 96"/>
                <a:gd name="T18" fmla="*/ 40 w 132"/>
                <a:gd name="T19" fmla="*/ 88 h 96"/>
                <a:gd name="T20" fmla="*/ 38 w 132"/>
                <a:gd name="T21" fmla="*/ 92 h 96"/>
                <a:gd name="T22" fmla="*/ 24 w 132"/>
                <a:gd name="T23" fmla="*/ 96 h 96"/>
                <a:gd name="T24" fmla="*/ 12 w 132"/>
                <a:gd name="T25" fmla="*/ 94 h 96"/>
                <a:gd name="T26" fmla="*/ 8 w 132"/>
                <a:gd name="T27" fmla="*/ 90 h 96"/>
                <a:gd name="T28" fmla="*/ 6 w 132"/>
                <a:gd name="T29" fmla="*/ 82 h 96"/>
                <a:gd name="T30" fmla="*/ 2 w 132"/>
                <a:gd name="T31" fmla="*/ 76 h 96"/>
                <a:gd name="T32" fmla="*/ 0 w 132"/>
                <a:gd name="T33" fmla="*/ 68 h 96"/>
                <a:gd name="T34" fmla="*/ 4 w 132"/>
                <a:gd name="T35" fmla="*/ 56 h 96"/>
                <a:gd name="T36" fmla="*/ 8 w 132"/>
                <a:gd name="T37" fmla="*/ 58 h 96"/>
                <a:gd name="T38" fmla="*/ 14 w 132"/>
                <a:gd name="T39" fmla="*/ 56 h 96"/>
                <a:gd name="T40" fmla="*/ 8 w 132"/>
                <a:gd name="T41" fmla="*/ 54 h 96"/>
                <a:gd name="T42" fmla="*/ 2 w 132"/>
                <a:gd name="T43" fmla="*/ 52 h 96"/>
                <a:gd name="T44" fmla="*/ 2 w 132"/>
                <a:gd name="T45" fmla="*/ 46 h 96"/>
                <a:gd name="T46" fmla="*/ 4 w 132"/>
                <a:gd name="T47" fmla="*/ 28 h 96"/>
                <a:gd name="T48" fmla="*/ 12 w 132"/>
                <a:gd name="T49" fmla="*/ 32 h 96"/>
                <a:gd name="T50" fmla="*/ 12 w 132"/>
                <a:gd name="T51" fmla="*/ 30 h 96"/>
                <a:gd name="T52" fmla="*/ 8 w 132"/>
                <a:gd name="T53" fmla="*/ 28 h 96"/>
                <a:gd name="T54" fmla="*/ 6 w 132"/>
                <a:gd name="T55" fmla="*/ 24 h 96"/>
                <a:gd name="T56" fmla="*/ 6 w 132"/>
                <a:gd name="T57" fmla="*/ 16 h 96"/>
                <a:gd name="T58" fmla="*/ 8 w 132"/>
                <a:gd name="T59" fmla="*/ 10 h 96"/>
                <a:gd name="T60" fmla="*/ 12 w 132"/>
                <a:gd name="T61" fmla="*/ 6 h 96"/>
                <a:gd name="T62" fmla="*/ 16 w 132"/>
                <a:gd name="T63" fmla="*/ 2 h 96"/>
                <a:gd name="T64" fmla="*/ 20 w 132"/>
                <a:gd name="T65" fmla="*/ 0 h 96"/>
                <a:gd name="T66" fmla="*/ 24 w 132"/>
                <a:gd name="T67" fmla="*/ 0 h 96"/>
                <a:gd name="T68" fmla="*/ 36 w 132"/>
                <a:gd name="T69" fmla="*/ 2 h 96"/>
                <a:gd name="T70" fmla="*/ 54 w 132"/>
                <a:gd name="T71" fmla="*/ 6 h 96"/>
                <a:gd name="T72" fmla="*/ 64 w 132"/>
                <a:gd name="T73" fmla="*/ 8 h 96"/>
                <a:gd name="T74" fmla="*/ 78 w 132"/>
                <a:gd name="T75" fmla="*/ 6 h 96"/>
                <a:gd name="T76" fmla="*/ 80 w 132"/>
                <a:gd name="T77" fmla="*/ 2 h 96"/>
                <a:gd name="T78" fmla="*/ 90 w 132"/>
                <a:gd name="T79" fmla="*/ 2 h 96"/>
                <a:gd name="T80" fmla="*/ 108 w 132"/>
                <a:gd name="T81" fmla="*/ 6 h 96"/>
                <a:gd name="T82" fmla="*/ 130 w 132"/>
                <a:gd name="T83" fmla="*/ 10 h 96"/>
                <a:gd name="T84" fmla="*/ 132 w 132"/>
                <a:gd name="T85" fmla="*/ 12 h 96"/>
                <a:gd name="T86" fmla="*/ 132 w 132"/>
                <a:gd name="T87" fmla="*/ 16 h 96"/>
                <a:gd name="T88" fmla="*/ 128 w 132"/>
                <a:gd name="T89" fmla="*/ 24 h 96"/>
                <a:gd name="T90" fmla="*/ 126 w 132"/>
                <a:gd name="T91" fmla="*/ 32 h 96"/>
                <a:gd name="T92" fmla="*/ 124 w 132"/>
                <a:gd name="T93" fmla="*/ 42 h 96"/>
                <a:gd name="T94" fmla="*/ 122 w 132"/>
                <a:gd name="T95" fmla="*/ 46 h 96"/>
                <a:gd name="T96" fmla="*/ 118 w 132"/>
                <a:gd name="T97" fmla="*/ 46 h 96"/>
                <a:gd name="T98" fmla="*/ 118 w 132"/>
                <a:gd name="T99" fmla="*/ 50 h 96"/>
                <a:gd name="T100" fmla="*/ 118 w 132"/>
                <a:gd name="T101" fmla="*/ 54 h 96"/>
                <a:gd name="T102" fmla="*/ 106 w 132"/>
                <a:gd name="T103" fmla="*/ 76 h 9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2"/>
                <a:gd name="T157" fmla="*/ 0 h 96"/>
                <a:gd name="T158" fmla="*/ 132 w 132"/>
                <a:gd name="T159" fmla="*/ 96 h 9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2" h="96">
                  <a:moveTo>
                    <a:pt x="104" y="78"/>
                  </a:moveTo>
                  <a:lnTo>
                    <a:pt x="100" y="80"/>
                  </a:lnTo>
                  <a:lnTo>
                    <a:pt x="90" y="84"/>
                  </a:lnTo>
                  <a:lnTo>
                    <a:pt x="78" y="86"/>
                  </a:lnTo>
                  <a:lnTo>
                    <a:pt x="70" y="84"/>
                  </a:lnTo>
                  <a:lnTo>
                    <a:pt x="68" y="88"/>
                  </a:lnTo>
                  <a:lnTo>
                    <a:pt x="62" y="92"/>
                  </a:lnTo>
                  <a:lnTo>
                    <a:pt x="58" y="90"/>
                  </a:lnTo>
                  <a:lnTo>
                    <a:pt x="58" y="84"/>
                  </a:lnTo>
                  <a:lnTo>
                    <a:pt x="56" y="86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8" y="92"/>
                  </a:lnTo>
                  <a:lnTo>
                    <a:pt x="56" y="94"/>
                  </a:lnTo>
                  <a:lnTo>
                    <a:pt x="54" y="94"/>
                  </a:lnTo>
                  <a:lnTo>
                    <a:pt x="50" y="94"/>
                  </a:lnTo>
                  <a:lnTo>
                    <a:pt x="48" y="92"/>
                  </a:lnTo>
                  <a:lnTo>
                    <a:pt x="46" y="92"/>
                  </a:lnTo>
                  <a:lnTo>
                    <a:pt x="40" y="88"/>
                  </a:lnTo>
                  <a:lnTo>
                    <a:pt x="40" y="90"/>
                  </a:lnTo>
                  <a:lnTo>
                    <a:pt x="38" y="92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2" y="94"/>
                  </a:lnTo>
                  <a:lnTo>
                    <a:pt x="10" y="92"/>
                  </a:lnTo>
                  <a:lnTo>
                    <a:pt x="8" y="90"/>
                  </a:lnTo>
                  <a:lnTo>
                    <a:pt x="8" y="84"/>
                  </a:lnTo>
                  <a:lnTo>
                    <a:pt x="6" y="82"/>
                  </a:lnTo>
                  <a:lnTo>
                    <a:pt x="4" y="80"/>
                  </a:lnTo>
                  <a:lnTo>
                    <a:pt x="2" y="76"/>
                  </a:lnTo>
                  <a:lnTo>
                    <a:pt x="0" y="74"/>
                  </a:lnTo>
                  <a:lnTo>
                    <a:pt x="0" y="68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10" y="58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8" y="54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30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12" y="32"/>
                  </a:lnTo>
                  <a:lnTo>
                    <a:pt x="14" y="32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8" y="28"/>
                  </a:lnTo>
                  <a:lnTo>
                    <a:pt x="6" y="28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8" y="10"/>
                  </a:lnTo>
                  <a:lnTo>
                    <a:pt x="8" y="8"/>
                  </a:lnTo>
                  <a:lnTo>
                    <a:pt x="12" y="6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4" y="8"/>
                  </a:lnTo>
                  <a:lnTo>
                    <a:pt x="76" y="6"/>
                  </a:lnTo>
                  <a:lnTo>
                    <a:pt x="78" y="6"/>
                  </a:lnTo>
                  <a:lnTo>
                    <a:pt x="78" y="4"/>
                  </a:lnTo>
                  <a:lnTo>
                    <a:pt x="80" y="2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8" y="2"/>
                  </a:lnTo>
                  <a:lnTo>
                    <a:pt x="108" y="6"/>
                  </a:lnTo>
                  <a:lnTo>
                    <a:pt x="118" y="6"/>
                  </a:lnTo>
                  <a:lnTo>
                    <a:pt x="130" y="10"/>
                  </a:lnTo>
                  <a:lnTo>
                    <a:pt x="132" y="10"/>
                  </a:lnTo>
                  <a:lnTo>
                    <a:pt x="132" y="12"/>
                  </a:lnTo>
                  <a:lnTo>
                    <a:pt x="132" y="14"/>
                  </a:lnTo>
                  <a:lnTo>
                    <a:pt x="132" y="16"/>
                  </a:lnTo>
                  <a:lnTo>
                    <a:pt x="130" y="1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26" y="32"/>
                  </a:lnTo>
                  <a:lnTo>
                    <a:pt x="126" y="34"/>
                  </a:lnTo>
                  <a:lnTo>
                    <a:pt x="124" y="42"/>
                  </a:lnTo>
                  <a:lnTo>
                    <a:pt x="124" y="44"/>
                  </a:lnTo>
                  <a:lnTo>
                    <a:pt x="122" y="46"/>
                  </a:lnTo>
                  <a:lnTo>
                    <a:pt x="120" y="46"/>
                  </a:lnTo>
                  <a:lnTo>
                    <a:pt x="118" y="46"/>
                  </a:lnTo>
                  <a:lnTo>
                    <a:pt x="118" y="48"/>
                  </a:lnTo>
                  <a:lnTo>
                    <a:pt x="118" y="50"/>
                  </a:lnTo>
                  <a:lnTo>
                    <a:pt x="118" y="52"/>
                  </a:lnTo>
                  <a:lnTo>
                    <a:pt x="118" y="54"/>
                  </a:lnTo>
                  <a:lnTo>
                    <a:pt x="112" y="64"/>
                  </a:lnTo>
                  <a:lnTo>
                    <a:pt x="106" y="76"/>
                  </a:lnTo>
                  <a:lnTo>
                    <a:pt x="104" y="7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5" name="Freeform 294"/>
            <p:cNvSpPr>
              <a:spLocks/>
            </p:cNvSpPr>
            <p:nvPr/>
          </p:nvSpPr>
          <p:spPr bwMode="auto">
            <a:xfrm>
              <a:off x="3526" y="992"/>
              <a:ext cx="18" cy="22"/>
            </a:xfrm>
            <a:custGeom>
              <a:avLst/>
              <a:gdLst>
                <a:gd name="T0" fmla="*/ 0 w 18"/>
                <a:gd name="T1" fmla="*/ 22 h 22"/>
                <a:gd name="T2" fmla="*/ 0 w 18"/>
                <a:gd name="T3" fmla="*/ 20 h 22"/>
                <a:gd name="T4" fmla="*/ 0 w 18"/>
                <a:gd name="T5" fmla="*/ 18 h 22"/>
                <a:gd name="T6" fmla="*/ 2 w 18"/>
                <a:gd name="T7" fmla="*/ 16 h 22"/>
                <a:gd name="T8" fmla="*/ 6 w 18"/>
                <a:gd name="T9" fmla="*/ 10 h 22"/>
                <a:gd name="T10" fmla="*/ 8 w 18"/>
                <a:gd name="T11" fmla="*/ 8 h 22"/>
                <a:gd name="T12" fmla="*/ 8 w 18"/>
                <a:gd name="T13" fmla="*/ 6 h 22"/>
                <a:gd name="T14" fmla="*/ 10 w 18"/>
                <a:gd name="T15" fmla="*/ 6 h 22"/>
                <a:gd name="T16" fmla="*/ 10 w 18"/>
                <a:gd name="T17" fmla="*/ 4 h 22"/>
                <a:gd name="T18" fmla="*/ 12 w 18"/>
                <a:gd name="T19" fmla="*/ 2 h 22"/>
                <a:gd name="T20" fmla="*/ 16 w 18"/>
                <a:gd name="T21" fmla="*/ 0 h 22"/>
                <a:gd name="T22" fmla="*/ 18 w 18"/>
                <a:gd name="T23" fmla="*/ 0 h 22"/>
                <a:gd name="T24" fmla="*/ 18 w 18"/>
                <a:gd name="T25" fmla="*/ 2 h 22"/>
                <a:gd name="T26" fmla="*/ 16 w 18"/>
                <a:gd name="T27" fmla="*/ 6 h 22"/>
                <a:gd name="T28" fmla="*/ 14 w 18"/>
                <a:gd name="T29" fmla="*/ 10 h 22"/>
                <a:gd name="T30" fmla="*/ 10 w 18"/>
                <a:gd name="T31" fmla="*/ 14 h 22"/>
                <a:gd name="T32" fmla="*/ 8 w 18"/>
                <a:gd name="T33" fmla="*/ 16 h 22"/>
                <a:gd name="T34" fmla="*/ 4 w 18"/>
                <a:gd name="T35" fmla="*/ 18 h 22"/>
                <a:gd name="T36" fmla="*/ 4 w 18"/>
                <a:gd name="T37" fmla="*/ 20 h 22"/>
                <a:gd name="T38" fmla="*/ 2 w 18"/>
                <a:gd name="T39" fmla="*/ 20 h 22"/>
                <a:gd name="T40" fmla="*/ 0 w 18"/>
                <a:gd name="T41" fmla="*/ 22 h 2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8"/>
                <a:gd name="T64" fmla="*/ 0 h 22"/>
                <a:gd name="T65" fmla="*/ 18 w 18"/>
                <a:gd name="T66" fmla="*/ 22 h 2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8" h="22">
                  <a:moveTo>
                    <a:pt x="0" y="22"/>
                  </a:moveTo>
                  <a:lnTo>
                    <a:pt x="0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6" y="6"/>
                  </a:lnTo>
                  <a:lnTo>
                    <a:pt x="14" y="10"/>
                  </a:lnTo>
                  <a:lnTo>
                    <a:pt x="10" y="14"/>
                  </a:lnTo>
                  <a:lnTo>
                    <a:pt x="8" y="16"/>
                  </a:lnTo>
                  <a:lnTo>
                    <a:pt x="4" y="18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6" name="Freeform 295"/>
            <p:cNvSpPr>
              <a:spLocks/>
            </p:cNvSpPr>
            <p:nvPr/>
          </p:nvSpPr>
          <p:spPr bwMode="auto">
            <a:xfrm>
              <a:off x="3554" y="998"/>
              <a:ext cx="8" cy="8"/>
            </a:xfrm>
            <a:custGeom>
              <a:avLst/>
              <a:gdLst>
                <a:gd name="T0" fmla="*/ 2 w 8"/>
                <a:gd name="T1" fmla="*/ 8 h 8"/>
                <a:gd name="T2" fmla="*/ 0 w 8"/>
                <a:gd name="T3" fmla="*/ 8 h 8"/>
                <a:gd name="T4" fmla="*/ 0 w 8"/>
                <a:gd name="T5" fmla="*/ 6 h 8"/>
                <a:gd name="T6" fmla="*/ 2 w 8"/>
                <a:gd name="T7" fmla="*/ 6 h 8"/>
                <a:gd name="T8" fmla="*/ 8 w 8"/>
                <a:gd name="T9" fmla="*/ 0 h 8"/>
                <a:gd name="T10" fmla="*/ 8 w 8"/>
                <a:gd name="T11" fmla="*/ 2 h 8"/>
                <a:gd name="T12" fmla="*/ 8 w 8"/>
                <a:gd name="T13" fmla="*/ 4 h 8"/>
                <a:gd name="T14" fmla="*/ 8 w 8"/>
                <a:gd name="T15" fmla="*/ 6 h 8"/>
                <a:gd name="T16" fmla="*/ 6 w 8"/>
                <a:gd name="T17" fmla="*/ 8 h 8"/>
                <a:gd name="T18" fmla="*/ 4 w 8"/>
                <a:gd name="T19" fmla="*/ 8 h 8"/>
                <a:gd name="T20" fmla="*/ 2 w 8"/>
                <a:gd name="T21" fmla="*/ 8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"/>
                <a:gd name="T34" fmla="*/ 0 h 8"/>
                <a:gd name="T35" fmla="*/ 8 w 8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" h="8">
                  <a:moveTo>
                    <a:pt x="2" y="8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2" y="6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7" name="Freeform 296"/>
            <p:cNvSpPr>
              <a:spLocks/>
            </p:cNvSpPr>
            <p:nvPr/>
          </p:nvSpPr>
          <p:spPr bwMode="auto">
            <a:xfrm>
              <a:off x="3540" y="1002"/>
              <a:ext cx="10" cy="14"/>
            </a:xfrm>
            <a:custGeom>
              <a:avLst/>
              <a:gdLst>
                <a:gd name="T0" fmla="*/ 2 w 10"/>
                <a:gd name="T1" fmla="*/ 14 h 14"/>
                <a:gd name="T2" fmla="*/ 0 w 10"/>
                <a:gd name="T3" fmla="*/ 14 h 14"/>
                <a:gd name="T4" fmla="*/ 0 w 10"/>
                <a:gd name="T5" fmla="*/ 12 h 14"/>
                <a:gd name="T6" fmla="*/ 2 w 10"/>
                <a:gd name="T7" fmla="*/ 6 h 14"/>
                <a:gd name="T8" fmla="*/ 6 w 10"/>
                <a:gd name="T9" fmla="*/ 0 h 14"/>
                <a:gd name="T10" fmla="*/ 10 w 10"/>
                <a:gd name="T11" fmla="*/ 2 h 14"/>
                <a:gd name="T12" fmla="*/ 10 w 10"/>
                <a:gd name="T13" fmla="*/ 4 h 14"/>
                <a:gd name="T14" fmla="*/ 8 w 10"/>
                <a:gd name="T15" fmla="*/ 4 h 14"/>
                <a:gd name="T16" fmla="*/ 6 w 10"/>
                <a:gd name="T17" fmla="*/ 4 h 14"/>
                <a:gd name="T18" fmla="*/ 6 w 10"/>
                <a:gd name="T19" fmla="*/ 6 h 14"/>
                <a:gd name="T20" fmla="*/ 4 w 10"/>
                <a:gd name="T21" fmla="*/ 8 h 14"/>
                <a:gd name="T22" fmla="*/ 4 w 10"/>
                <a:gd name="T23" fmla="*/ 10 h 14"/>
                <a:gd name="T24" fmla="*/ 4 w 10"/>
                <a:gd name="T25" fmla="*/ 12 h 14"/>
                <a:gd name="T26" fmla="*/ 4 w 10"/>
                <a:gd name="T27" fmla="*/ 14 h 14"/>
                <a:gd name="T28" fmla="*/ 2 w 10"/>
                <a:gd name="T29" fmla="*/ 14 h 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"/>
                <a:gd name="T46" fmla="*/ 0 h 14"/>
                <a:gd name="T47" fmla="*/ 10 w 10"/>
                <a:gd name="T48" fmla="*/ 14 h 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" h="14">
                  <a:moveTo>
                    <a:pt x="2" y="14"/>
                  </a:moveTo>
                  <a:lnTo>
                    <a:pt x="0" y="14"/>
                  </a:lnTo>
                  <a:lnTo>
                    <a:pt x="0" y="12"/>
                  </a:lnTo>
                  <a:lnTo>
                    <a:pt x="2" y="6"/>
                  </a:lnTo>
                  <a:lnTo>
                    <a:pt x="6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2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8" name="Freeform 297"/>
            <p:cNvSpPr>
              <a:spLocks/>
            </p:cNvSpPr>
            <p:nvPr/>
          </p:nvSpPr>
          <p:spPr bwMode="auto">
            <a:xfrm>
              <a:off x="3548" y="1006"/>
              <a:ext cx="14" cy="12"/>
            </a:xfrm>
            <a:custGeom>
              <a:avLst/>
              <a:gdLst>
                <a:gd name="T0" fmla="*/ 0 w 14"/>
                <a:gd name="T1" fmla="*/ 12 h 12"/>
                <a:gd name="T2" fmla="*/ 2 w 14"/>
                <a:gd name="T3" fmla="*/ 10 h 12"/>
                <a:gd name="T4" fmla="*/ 6 w 14"/>
                <a:gd name="T5" fmla="*/ 2 h 12"/>
                <a:gd name="T6" fmla="*/ 8 w 14"/>
                <a:gd name="T7" fmla="*/ 0 h 12"/>
                <a:gd name="T8" fmla="*/ 10 w 14"/>
                <a:gd name="T9" fmla="*/ 0 h 12"/>
                <a:gd name="T10" fmla="*/ 12 w 14"/>
                <a:gd name="T11" fmla="*/ 0 h 12"/>
                <a:gd name="T12" fmla="*/ 12 w 14"/>
                <a:gd name="T13" fmla="*/ 2 h 12"/>
                <a:gd name="T14" fmla="*/ 14 w 14"/>
                <a:gd name="T15" fmla="*/ 2 h 12"/>
                <a:gd name="T16" fmla="*/ 14 w 14"/>
                <a:gd name="T17" fmla="*/ 4 h 12"/>
                <a:gd name="T18" fmla="*/ 14 w 14"/>
                <a:gd name="T19" fmla="*/ 6 h 12"/>
                <a:gd name="T20" fmla="*/ 12 w 14"/>
                <a:gd name="T21" fmla="*/ 6 h 12"/>
                <a:gd name="T22" fmla="*/ 10 w 14"/>
                <a:gd name="T23" fmla="*/ 8 h 12"/>
                <a:gd name="T24" fmla="*/ 2 w 14"/>
                <a:gd name="T25" fmla="*/ 12 h 12"/>
                <a:gd name="T26" fmla="*/ 0 w 14"/>
                <a:gd name="T27" fmla="*/ 12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4"/>
                <a:gd name="T43" fmla="*/ 0 h 12"/>
                <a:gd name="T44" fmla="*/ 14 w 14"/>
                <a:gd name="T45" fmla="*/ 12 h 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4" h="12">
                  <a:moveTo>
                    <a:pt x="0" y="12"/>
                  </a:moveTo>
                  <a:lnTo>
                    <a:pt x="2" y="10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2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9" name="Freeform 298"/>
            <p:cNvSpPr>
              <a:spLocks/>
            </p:cNvSpPr>
            <p:nvPr/>
          </p:nvSpPr>
          <p:spPr bwMode="auto">
            <a:xfrm>
              <a:off x="3544" y="1006"/>
              <a:ext cx="10" cy="12"/>
            </a:xfrm>
            <a:custGeom>
              <a:avLst/>
              <a:gdLst>
                <a:gd name="T0" fmla="*/ 0 w 10"/>
                <a:gd name="T1" fmla="*/ 12 h 12"/>
                <a:gd name="T2" fmla="*/ 0 w 10"/>
                <a:gd name="T3" fmla="*/ 10 h 12"/>
                <a:gd name="T4" fmla="*/ 0 w 10"/>
                <a:gd name="T5" fmla="*/ 8 h 12"/>
                <a:gd name="T6" fmla="*/ 0 w 10"/>
                <a:gd name="T7" fmla="*/ 6 h 12"/>
                <a:gd name="T8" fmla="*/ 4 w 10"/>
                <a:gd name="T9" fmla="*/ 4 h 12"/>
                <a:gd name="T10" fmla="*/ 6 w 10"/>
                <a:gd name="T11" fmla="*/ 2 h 12"/>
                <a:gd name="T12" fmla="*/ 8 w 10"/>
                <a:gd name="T13" fmla="*/ 2 h 12"/>
                <a:gd name="T14" fmla="*/ 10 w 10"/>
                <a:gd name="T15" fmla="*/ 0 h 12"/>
                <a:gd name="T16" fmla="*/ 8 w 10"/>
                <a:gd name="T17" fmla="*/ 2 h 12"/>
                <a:gd name="T18" fmla="*/ 6 w 10"/>
                <a:gd name="T19" fmla="*/ 8 h 12"/>
                <a:gd name="T20" fmla="*/ 4 w 10"/>
                <a:gd name="T21" fmla="*/ 10 h 12"/>
                <a:gd name="T22" fmla="*/ 0 w 10"/>
                <a:gd name="T23" fmla="*/ 12 h 1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"/>
                <a:gd name="T37" fmla="*/ 0 h 12"/>
                <a:gd name="T38" fmla="*/ 10 w 10"/>
                <a:gd name="T39" fmla="*/ 12 h 1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" h="12">
                  <a:moveTo>
                    <a:pt x="0" y="12"/>
                  </a:move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8"/>
                  </a:lnTo>
                  <a:lnTo>
                    <a:pt x="4" y="1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0" name="Freeform 299"/>
            <p:cNvSpPr>
              <a:spLocks/>
            </p:cNvSpPr>
            <p:nvPr/>
          </p:nvSpPr>
          <p:spPr bwMode="auto">
            <a:xfrm>
              <a:off x="3496" y="1016"/>
              <a:ext cx="44" cy="52"/>
            </a:xfrm>
            <a:custGeom>
              <a:avLst/>
              <a:gdLst>
                <a:gd name="T0" fmla="*/ 4 w 44"/>
                <a:gd name="T1" fmla="*/ 52 h 52"/>
                <a:gd name="T2" fmla="*/ 2 w 44"/>
                <a:gd name="T3" fmla="*/ 52 h 52"/>
                <a:gd name="T4" fmla="*/ 0 w 44"/>
                <a:gd name="T5" fmla="*/ 50 h 52"/>
                <a:gd name="T6" fmla="*/ 0 w 44"/>
                <a:gd name="T7" fmla="*/ 48 h 52"/>
                <a:gd name="T8" fmla="*/ 2 w 44"/>
                <a:gd name="T9" fmla="*/ 46 h 52"/>
                <a:gd name="T10" fmla="*/ 4 w 44"/>
                <a:gd name="T11" fmla="*/ 44 h 52"/>
                <a:gd name="T12" fmla="*/ 4 w 44"/>
                <a:gd name="T13" fmla="*/ 42 h 52"/>
                <a:gd name="T14" fmla="*/ 4 w 44"/>
                <a:gd name="T15" fmla="*/ 40 h 52"/>
                <a:gd name="T16" fmla="*/ 4 w 44"/>
                <a:gd name="T17" fmla="*/ 38 h 52"/>
                <a:gd name="T18" fmla="*/ 4 w 44"/>
                <a:gd name="T19" fmla="*/ 36 h 52"/>
                <a:gd name="T20" fmla="*/ 6 w 44"/>
                <a:gd name="T21" fmla="*/ 34 h 52"/>
                <a:gd name="T22" fmla="*/ 8 w 44"/>
                <a:gd name="T23" fmla="*/ 34 h 52"/>
                <a:gd name="T24" fmla="*/ 12 w 44"/>
                <a:gd name="T25" fmla="*/ 34 h 52"/>
                <a:gd name="T26" fmla="*/ 14 w 44"/>
                <a:gd name="T27" fmla="*/ 32 h 52"/>
                <a:gd name="T28" fmla="*/ 16 w 44"/>
                <a:gd name="T29" fmla="*/ 30 h 52"/>
                <a:gd name="T30" fmla="*/ 16 w 44"/>
                <a:gd name="T31" fmla="*/ 28 h 52"/>
                <a:gd name="T32" fmla="*/ 16 w 44"/>
                <a:gd name="T33" fmla="*/ 26 h 52"/>
                <a:gd name="T34" fmla="*/ 16 w 44"/>
                <a:gd name="T35" fmla="*/ 24 h 52"/>
                <a:gd name="T36" fmla="*/ 16 w 44"/>
                <a:gd name="T37" fmla="*/ 22 h 52"/>
                <a:gd name="T38" fmla="*/ 16 w 44"/>
                <a:gd name="T39" fmla="*/ 20 h 52"/>
                <a:gd name="T40" fmla="*/ 16 w 44"/>
                <a:gd name="T41" fmla="*/ 18 h 52"/>
                <a:gd name="T42" fmla="*/ 18 w 44"/>
                <a:gd name="T43" fmla="*/ 10 h 52"/>
                <a:gd name="T44" fmla="*/ 22 w 44"/>
                <a:gd name="T45" fmla="*/ 6 h 52"/>
                <a:gd name="T46" fmla="*/ 24 w 44"/>
                <a:gd name="T47" fmla="*/ 4 h 52"/>
                <a:gd name="T48" fmla="*/ 26 w 44"/>
                <a:gd name="T49" fmla="*/ 4 h 52"/>
                <a:gd name="T50" fmla="*/ 30 w 44"/>
                <a:gd name="T51" fmla="*/ 0 h 52"/>
                <a:gd name="T52" fmla="*/ 36 w 44"/>
                <a:gd name="T53" fmla="*/ 0 h 52"/>
                <a:gd name="T54" fmla="*/ 42 w 44"/>
                <a:gd name="T55" fmla="*/ 0 h 52"/>
                <a:gd name="T56" fmla="*/ 42 w 44"/>
                <a:gd name="T57" fmla="*/ 2 h 52"/>
                <a:gd name="T58" fmla="*/ 44 w 44"/>
                <a:gd name="T59" fmla="*/ 6 h 52"/>
                <a:gd name="T60" fmla="*/ 44 w 44"/>
                <a:gd name="T61" fmla="*/ 8 h 52"/>
                <a:gd name="T62" fmla="*/ 42 w 44"/>
                <a:gd name="T63" fmla="*/ 12 h 52"/>
                <a:gd name="T64" fmla="*/ 40 w 44"/>
                <a:gd name="T65" fmla="*/ 14 h 52"/>
                <a:gd name="T66" fmla="*/ 40 w 44"/>
                <a:gd name="T67" fmla="*/ 16 h 52"/>
                <a:gd name="T68" fmla="*/ 38 w 44"/>
                <a:gd name="T69" fmla="*/ 20 h 52"/>
                <a:gd name="T70" fmla="*/ 38 w 44"/>
                <a:gd name="T71" fmla="*/ 24 h 52"/>
                <a:gd name="T72" fmla="*/ 36 w 44"/>
                <a:gd name="T73" fmla="*/ 26 h 52"/>
                <a:gd name="T74" fmla="*/ 32 w 44"/>
                <a:gd name="T75" fmla="*/ 28 h 52"/>
                <a:gd name="T76" fmla="*/ 32 w 44"/>
                <a:gd name="T77" fmla="*/ 30 h 52"/>
                <a:gd name="T78" fmla="*/ 30 w 44"/>
                <a:gd name="T79" fmla="*/ 32 h 52"/>
                <a:gd name="T80" fmla="*/ 30 w 44"/>
                <a:gd name="T81" fmla="*/ 34 h 52"/>
                <a:gd name="T82" fmla="*/ 28 w 44"/>
                <a:gd name="T83" fmla="*/ 36 h 52"/>
                <a:gd name="T84" fmla="*/ 28 w 44"/>
                <a:gd name="T85" fmla="*/ 38 h 52"/>
                <a:gd name="T86" fmla="*/ 26 w 44"/>
                <a:gd name="T87" fmla="*/ 38 h 52"/>
                <a:gd name="T88" fmla="*/ 26 w 44"/>
                <a:gd name="T89" fmla="*/ 40 h 52"/>
                <a:gd name="T90" fmla="*/ 22 w 44"/>
                <a:gd name="T91" fmla="*/ 42 h 52"/>
                <a:gd name="T92" fmla="*/ 16 w 44"/>
                <a:gd name="T93" fmla="*/ 46 h 52"/>
                <a:gd name="T94" fmla="*/ 12 w 44"/>
                <a:gd name="T95" fmla="*/ 48 h 52"/>
                <a:gd name="T96" fmla="*/ 8 w 44"/>
                <a:gd name="T97" fmla="*/ 50 h 52"/>
                <a:gd name="T98" fmla="*/ 4 w 44"/>
                <a:gd name="T99" fmla="*/ 52 h 5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4"/>
                <a:gd name="T151" fmla="*/ 0 h 52"/>
                <a:gd name="T152" fmla="*/ 44 w 44"/>
                <a:gd name="T153" fmla="*/ 52 h 5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4" h="52">
                  <a:moveTo>
                    <a:pt x="4" y="52"/>
                  </a:moveTo>
                  <a:lnTo>
                    <a:pt x="2" y="52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2" y="46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4" y="32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6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8" y="10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2" y="2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8" y="20"/>
                  </a:lnTo>
                  <a:lnTo>
                    <a:pt x="38" y="24"/>
                  </a:lnTo>
                  <a:lnTo>
                    <a:pt x="36" y="26"/>
                  </a:lnTo>
                  <a:lnTo>
                    <a:pt x="32" y="28"/>
                  </a:lnTo>
                  <a:lnTo>
                    <a:pt x="32" y="30"/>
                  </a:lnTo>
                  <a:lnTo>
                    <a:pt x="30" y="32"/>
                  </a:lnTo>
                  <a:lnTo>
                    <a:pt x="30" y="34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2" y="42"/>
                  </a:lnTo>
                  <a:lnTo>
                    <a:pt x="16" y="46"/>
                  </a:lnTo>
                  <a:lnTo>
                    <a:pt x="12" y="48"/>
                  </a:lnTo>
                  <a:lnTo>
                    <a:pt x="8" y="50"/>
                  </a:lnTo>
                  <a:lnTo>
                    <a:pt x="4" y="5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1" name="Freeform 300"/>
            <p:cNvSpPr>
              <a:spLocks/>
            </p:cNvSpPr>
            <p:nvPr/>
          </p:nvSpPr>
          <p:spPr bwMode="auto">
            <a:xfrm>
              <a:off x="3540" y="1018"/>
              <a:ext cx="18" cy="20"/>
            </a:xfrm>
            <a:custGeom>
              <a:avLst/>
              <a:gdLst>
                <a:gd name="T0" fmla="*/ 0 w 18"/>
                <a:gd name="T1" fmla="*/ 20 h 20"/>
                <a:gd name="T2" fmla="*/ 0 w 18"/>
                <a:gd name="T3" fmla="*/ 16 h 20"/>
                <a:gd name="T4" fmla="*/ 2 w 18"/>
                <a:gd name="T5" fmla="*/ 10 h 20"/>
                <a:gd name="T6" fmla="*/ 4 w 18"/>
                <a:gd name="T7" fmla="*/ 8 h 20"/>
                <a:gd name="T8" fmla="*/ 4 w 18"/>
                <a:gd name="T9" fmla="*/ 6 h 20"/>
                <a:gd name="T10" fmla="*/ 10 w 18"/>
                <a:gd name="T11" fmla="*/ 2 h 20"/>
                <a:gd name="T12" fmla="*/ 14 w 18"/>
                <a:gd name="T13" fmla="*/ 0 h 20"/>
                <a:gd name="T14" fmla="*/ 16 w 18"/>
                <a:gd name="T15" fmla="*/ 0 h 20"/>
                <a:gd name="T16" fmla="*/ 18 w 18"/>
                <a:gd name="T17" fmla="*/ 0 h 20"/>
                <a:gd name="T18" fmla="*/ 18 w 18"/>
                <a:gd name="T19" fmla="*/ 2 h 20"/>
                <a:gd name="T20" fmla="*/ 18 w 18"/>
                <a:gd name="T21" fmla="*/ 6 h 20"/>
                <a:gd name="T22" fmla="*/ 16 w 18"/>
                <a:gd name="T23" fmla="*/ 6 h 20"/>
                <a:gd name="T24" fmla="*/ 14 w 18"/>
                <a:gd name="T25" fmla="*/ 6 h 20"/>
                <a:gd name="T26" fmla="*/ 12 w 18"/>
                <a:gd name="T27" fmla="*/ 8 h 20"/>
                <a:gd name="T28" fmla="*/ 10 w 18"/>
                <a:gd name="T29" fmla="*/ 10 h 20"/>
                <a:gd name="T30" fmla="*/ 6 w 18"/>
                <a:gd name="T31" fmla="*/ 16 h 20"/>
                <a:gd name="T32" fmla="*/ 2 w 18"/>
                <a:gd name="T33" fmla="*/ 20 h 20"/>
                <a:gd name="T34" fmla="*/ 0 w 18"/>
                <a:gd name="T35" fmla="*/ 2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8"/>
                <a:gd name="T55" fmla="*/ 0 h 20"/>
                <a:gd name="T56" fmla="*/ 18 w 18"/>
                <a:gd name="T57" fmla="*/ 20 h 2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8" h="20">
                  <a:moveTo>
                    <a:pt x="0" y="20"/>
                  </a:moveTo>
                  <a:lnTo>
                    <a:pt x="0" y="16"/>
                  </a:lnTo>
                  <a:lnTo>
                    <a:pt x="2" y="10"/>
                  </a:lnTo>
                  <a:lnTo>
                    <a:pt x="4" y="8"/>
                  </a:lnTo>
                  <a:lnTo>
                    <a:pt x="4" y="6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8"/>
                  </a:lnTo>
                  <a:lnTo>
                    <a:pt x="10" y="10"/>
                  </a:lnTo>
                  <a:lnTo>
                    <a:pt x="6" y="16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2" name="Freeform 301"/>
            <p:cNvSpPr>
              <a:spLocks/>
            </p:cNvSpPr>
            <p:nvPr/>
          </p:nvSpPr>
          <p:spPr bwMode="auto">
            <a:xfrm>
              <a:off x="3550" y="1026"/>
              <a:ext cx="6" cy="8"/>
            </a:xfrm>
            <a:custGeom>
              <a:avLst/>
              <a:gdLst>
                <a:gd name="T0" fmla="*/ 2 w 6"/>
                <a:gd name="T1" fmla="*/ 8 h 8"/>
                <a:gd name="T2" fmla="*/ 0 w 6"/>
                <a:gd name="T3" fmla="*/ 8 h 8"/>
                <a:gd name="T4" fmla="*/ 0 w 6"/>
                <a:gd name="T5" fmla="*/ 6 h 8"/>
                <a:gd name="T6" fmla="*/ 2 w 6"/>
                <a:gd name="T7" fmla="*/ 0 h 8"/>
                <a:gd name="T8" fmla="*/ 4 w 6"/>
                <a:gd name="T9" fmla="*/ 0 h 8"/>
                <a:gd name="T10" fmla="*/ 6 w 6"/>
                <a:gd name="T11" fmla="*/ 0 h 8"/>
                <a:gd name="T12" fmla="*/ 6 w 6"/>
                <a:gd name="T13" fmla="*/ 2 h 8"/>
                <a:gd name="T14" fmla="*/ 6 w 6"/>
                <a:gd name="T15" fmla="*/ 6 h 8"/>
                <a:gd name="T16" fmla="*/ 2 w 6"/>
                <a:gd name="T17" fmla="*/ 6 h 8"/>
                <a:gd name="T18" fmla="*/ 2 w 6"/>
                <a:gd name="T19" fmla="*/ 8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8"/>
                <a:gd name="T32" fmla="*/ 6 w 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8">
                  <a:moveTo>
                    <a:pt x="2" y="8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3" name="Freeform 302"/>
            <p:cNvSpPr>
              <a:spLocks/>
            </p:cNvSpPr>
            <p:nvPr/>
          </p:nvSpPr>
          <p:spPr bwMode="auto">
            <a:xfrm>
              <a:off x="3526" y="1032"/>
              <a:ext cx="12" cy="22"/>
            </a:xfrm>
            <a:custGeom>
              <a:avLst/>
              <a:gdLst>
                <a:gd name="T0" fmla="*/ 0 w 12"/>
                <a:gd name="T1" fmla="*/ 22 h 22"/>
                <a:gd name="T2" fmla="*/ 0 w 12"/>
                <a:gd name="T3" fmla="*/ 20 h 22"/>
                <a:gd name="T4" fmla="*/ 2 w 12"/>
                <a:gd name="T5" fmla="*/ 16 h 22"/>
                <a:gd name="T6" fmla="*/ 6 w 12"/>
                <a:gd name="T7" fmla="*/ 14 h 22"/>
                <a:gd name="T8" fmla="*/ 6 w 12"/>
                <a:gd name="T9" fmla="*/ 12 h 22"/>
                <a:gd name="T10" fmla="*/ 8 w 12"/>
                <a:gd name="T11" fmla="*/ 12 h 22"/>
                <a:gd name="T12" fmla="*/ 8 w 12"/>
                <a:gd name="T13" fmla="*/ 10 h 22"/>
                <a:gd name="T14" fmla="*/ 10 w 12"/>
                <a:gd name="T15" fmla="*/ 8 h 22"/>
                <a:gd name="T16" fmla="*/ 10 w 12"/>
                <a:gd name="T17" fmla="*/ 6 h 22"/>
                <a:gd name="T18" fmla="*/ 10 w 12"/>
                <a:gd name="T19" fmla="*/ 4 h 22"/>
                <a:gd name="T20" fmla="*/ 10 w 12"/>
                <a:gd name="T21" fmla="*/ 2 h 22"/>
                <a:gd name="T22" fmla="*/ 12 w 12"/>
                <a:gd name="T23" fmla="*/ 0 h 22"/>
                <a:gd name="T24" fmla="*/ 12 w 12"/>
                <a:gd name="T25" fmla="*/ 2 h 22"/>
                <a:gd name="T26" fmla="*/ 12 w 12"/>
                <a:gd name="T27" fmla="*/ 4 h 22"/>
                <a:gd name="T28" fmla="*/ 12 w 12"/>
                <a:gd name="T29" fmla="*/ 6 h 22"/>
                <a:gd name="T30" fmla="*/ 12 w 12"/>
                <a:gd name="T31" fmla="*/ 8 h 22"/>
                <a:gd name="T32" fmla="*/ 12 w 12"/>
                <a:gd name="T33" fmla="*/ 10 h 22"/>
                <a:gd name="T34" fmla="*/ 8 w 12"/>
                <a:gd name="T35" fmla="*/ 18 h 22"/>
                <a:gd name="T36" fmla="*/ 8 w 12"/>
                <a:gd name="T37" fmla="*/ 20 h 22"/>
                <a:gd name="T38" fmla="*/ 6 w 12"/>
                <a:gd name="T39" fmla="*/ 20 h 22"/>
                <a:gd name="T40" fmla="*/ 2 w 12"/>
                <a:gd name="T41" fmla="*/ 22 h 22"/>
                <a:gd name="T42" fmla="*/ 0 w 12"/>
                <a:gd name="T43" fmla="*/ 22 h 2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2"/>
                <a:gd name="T67" fmla="*/ 0 h 22"/>
                <a:gd name="T68" fmla="*/ 12 w 12"/>
                <a:gd name="T69" fmla="*/ 22 h 2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2" h="22">
                  <a:moveTo>
                    <a:pt x="0" y="22"/>
                  </a:moveTo>
                  <a:lnTo>
                    <a:pt x="0" y="20"/>
                  </a:lnTo>
                  <a:lnTo>
                    <a:pt x="2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8" y="18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2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4" name="Freeform 303"/>
            <p:cNvSpPr>
              <a:spLocks/>
            </p:cNvSpPr>
            <p:nvPr/>
          </p:nvSpPr>
          <p:spPr bwMode="auto">
            <a:xfrm>
              <a:off x="3538" y="1034"/>
              <a:ext cx="14" cy="12"/>
            </a:xfrm>
            <a:custGeom>
              <a:avLst/>
              <a:gdLst>
                <a:gd name="T0" fmla="*/ 12 w 14"/>
                <a:gd name="T1" fmla="*/ 0 h 12"/>
                <a:gd name="T2" fmla="*/ 14 w 14"/>
                <a:gd name="T3" fmla="*/ 0 h 12"/>
                <a:gd name="T4" fmla="*/ 12 w 14"/>
                <a:gd name="T5" fmla="*/ 2 h 12"/>
                <a:gd name="T6" fmla="*/ 10 w 14"/>
                <a:gd name="T7" fmla="*/ 2 h 12"/>
                <a:gd name="T8" fmla="*/ 8 w 14"/>
                <a:gd name="T9" fmla="*/ 4 h 12"/>
                <a:gd name="T10" fmla="*/ 8 w 14"/>
                <a:gd name="T11" fmla="*/ 6 h 12"/>
                <a:gd name="T12" fmla="*/ 8 w 14"/>
                <a:gd name="T13" fmla="*/ 8 h 12"/>
                <a:gd name="T14" fmla="*/ 6 w 14"/>
                <a:gd name="T15" fmla="*/ 10 h 12"/>
                <a:gd name="T16" fmla="*/ 2 w 14"/>
                <a:gd name="T17" fmla="*/ 12 h 12"/>
                <a:gd name="T18" fmla="*/ 0 w 14"/>
                <a:gd name="T19" fmla="*/ 12 h 12"/>
                <a:gd name="T20" fmla="*/ 0 w 14"/>
                <a:gd name="T21" fmla="*/ 8 h 12"/>
                <a:gd name="T22" fmla="*/ 2 w 14"/>
                <a:gd name="T23" fmla="*/ 8 h 12"/>
                <a:gd name="T24" fmla="*/ 2 w 14"/>
                <a:gd name="T25" fmla="*/ 6 h 12"/>
                <a:gd name="T26" fmla="*/ 6 w 14"/>
                <a:gd name="T27" fmla="*/ 2 h 12"/>
                <a:gd name="T28" fmla="*/ 8 w 14"/>
                <a:gd name="T29" fmla="*/ 2 h 12"/>
                <a:gd name="T30" fmla="*/ 8 w 14"/>
                <a:gd name="T31" fmla="*/ 0 h 12"/>
                <a:gd name="T32" fmla="*/ 10 w 14"/>
                <a:gd name="T33" fmla="*/ 0 h 12"/>
                <a:gd name="T34" fmla="*/ 12 w 14"/>
                <a:gd name="T35" fmla="*/ 0 h 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4"/>
                <a:gd name="T55" fmla="*/ 0 h 12"/>
                <a:gd name="T56" fmla="*/ 14 w 14"/>
                <a:gd name="T57" fmla="*/ 12 h 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4" h="12">
                  <a:moveTo>
                    <a:pt x="12" y="0"/>
                  </a:moveTo>
                  <a:lnTo>
                    <a:pt x="14" y="0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8"/>
                  </a:lnTo>
                  <a:lnTo>
                    <a:pt x="6" y="10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5" name="Freeform 304"/>
            <p:cNvSpPr>
              <a:spLocks/>
            </p:cNvSpPr>
            <p:nvPr/>
          </p:nvSpPr>
          <p:spPr bwMode="auto">
            <a:xfrm>
              <a:off x="3686" y="1046"/>
              <a:ext cx="6" cy="8"/>
            </a:xfrm>
            <a:custGeom>
              <a:avLst/>
              <a:gdLst>
                <a:gd name="T0" fmla="*/ 4 w 6"/>
                <a:gd name="T1" fmla="*/ 8 h 8"/>
                <a:gd name="T2" fmla="*/ 2 w 6"/>
                <a:gd name="T3" fmla="*/ 8 h 8"/>
                <a:gd name="T4" fmla="*/ 0 w 6"/>
                <a:gd name="T5" fmla="*/ 6 h 8"/>
                <a:gd name="T6" fmla="*/ 0 w 6"/>
                <a:gd name="T7" fmla="*/ 4 h 8"/>
                <a:gd name="T8" fmla="*/ 2 w 6"/>
                <a:gd name="T9" fmla="*/ 0 h 8"/>
                <a:gd name="T10" fmla="*/ 4 w 6"/>
                <a:gd name="T11" fmla="*/ 0 h 8"/>
                <a:gd name="T12" fmla="*/ 6 w 6"/>
                <a:gd name="T13" fmla="*/ 0 h 8"/>
                <a:gd name="T14" fmla="*/ 6 w 6"/>
                <a:gd name="T15" fmla="*/ 2 h 8"/>
                <a:gd name="T16" fmla="*/ 6 w 6"/>
                <a:gd name="T17" fmla="*/ 4 h 8"/>
                <a:gd name="T18" fmla="*/ 6 w 6"/>
                <a:gd name="T19" fmla="*/ 6 h 8"/>
                <a:gd name="T20" fmla="*/ 6 w 6"/>
                <a:gd name="T21" fmla="*/ 8 h 8"/>
                <a:gd name="T22" fmla="*/ 4 w 6"/>
                <a:gd name="T23" fmla="*/ 8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8"/>
                <a:gd name="T38" fmla="*/ 6 w 6"/>
                <a:gd name="T39" fmla="*/ 8 h 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8">
                  <a:moveTo>
                    <a:pt x="4" y="8"/>
                  </a:moveTo>
                  <a:lnTo>
                    <a:pt x="2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6" name="Freeform 305"/>
            <p:cNvSpPr>
              <a:spLocks/>
            </p:cNvSpPr>
            <p:nvPr/>
          </p:nvSpPr>
          <p:spPr bwMode="auto">
            <a:xfrm>
              <a:off x="3470" y="1062"/>
              <a:ext cx="14" cy="8"/>
            </a:xfrm>
            <a:custGeom>
              <a:avLst/>
              <a:gdLst>
                <a:gd name="T0" fmla="*/ 0 w 14"/>
                <a:gd name="T1" fmla="*/ 8 h 8"/>
                <a:gd name="T2" fmla="*/ 0 w 14"/>
                <a:gd name="T3" fmla="*/ 6 h 8"/>
                <a:gd name="T4" fmla="*/ 12 w 14"/>
                <a:gd name="T5" fmla="*/ 0 h 8"/>
                <a:gd name="T6" fmla="*/ 14 w 14"/>
                <a:gd name="T7" fmla="*/ 2 h 8"/>
                <a:gd name="T8" fmla="*/ 12 w 14"/>
                <a:gd name="T9" fmla="*/ 4 h 8"/>
                <a:gd name="T10" fmla="*/ 10 w 14"/>
                <a:gd name="T11" fmla="*/ 6 h 8"/>
                <a:gd name="T12" fmla="*/ 2 w 14"/>
                <a:gd name="T13" fmla="*/ 8 h 8"/>
                <a:gd name="T14" fmla="*/ 0 w 14"/>
                <a:gd name="T15" fmla="*/ 8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8"/>
                <a:gd name="T26" fmla="*/ 14 w 14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8">
                  <a:moveTo>
                    <a:pt x="0" y="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2" y="4"/>
                  </a:lnTo>
                  <a:lnTo>
                    <a:pt x="10" y="6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7" name="Freeform 306"/>
            <p:cNvSpPr>
              <a:spLocks/>
            </p:cNvSpPr>
            <p:nvPr/>
          </p:nvSpPr>
          <p:spPr bwMode="auto">
            <a:xfrm>
              <a:off x="3482" y="1066"/>
              <a:ext cx="16" cy="10"/>
            </a:xfrm>
            <a:custGeom>
              <a:avLst/>
              <a:gdLst>
                <a:gd name="T0" fmla="*/ 0 w 16"/>
                <a:gd name="T1" fmla="*/ 10 h 10"/>
                <a:gd name="T2" fmla="*/ 2 w 16"/>
                <a:gd name="T3" fmla="*/ 8 h 10"/>
                <a:gd name="T4" fmla="*/ 0 w 16"/>
                <a:gd name="T5" fmla="*/ 8 h 10"/>
                <a:gd name="T6" fmla="*/ 0 w 16"/>
                <a:gd name="T7" fmla="*/ 6 h 10"/>
                <a:gd name="T8" fmla="*/ 2 w 16"/>
                <a:gd name="T9" fmla="*/ 2 h 10"/>
                <a:gd name="T10" fmla="*/ 10 w 16"/>
                <a:gd name="T11" fmla="*/ 0 h 10"/>
                <a:gd name="T12" fmla="*/ 12 w 16"/>
                <a:gd name="T13" fmla="*/ 0 h 10"/>
                <a:gd name="T14" fmla="*/ 14 w 16"/>
                <a:gd name="T15" fmla="*/ 2 h 10"/>
                <a:gd name="T16" fmla="*/ 16 w 16"/>
                <a:gd name="T17" fmla="*/ 4 h 10"/>
                <a:gd name="T18" fmla="*/ 16 w 16"/>
                <a:gd name="T19" fmla="*/ 6 h 10"/>
                <a:gd name="T20" fmla="*/ 14 w 16"/>
                <a:gd name="T21" fmla="*/ 6 h 10"/>
                <a:gd name="T22" fmla="*/ 12 w 16"/>
                <a:gd name="T23" fmla="*/ 8 h 10"/>
                <a:gd name="T24" fmla="*/ 10 w 16"/>
                <a:gd name="T25" fmla="*/ 8 h 10"/>
                <a:gd name="T26" fmla="*/ 8 w 16"/>
                <a:gd name="T27" fmla="*/ 8 h 10"/>
                <a:gd name="T28" fmla="*/ 6 w 16"/>
                <a:gd name="T29" fmla="*/ 8 h 10"/>
                <a:gd name="T30" fmla="*/ 4 w 16"/>
                <a:gd name="T31" fmla="*/ 8 h 10"/>
                <a:gd name="T32" fmla="*/ 2 w 16"/>
                <a:gd name="T33" fmla="*/ 10 h 10"/>
                <a:gd name="T34" fmla="*/ 0 w 16"/>
                <a:gd name="T35" fmla="*/ 10 h 1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6"/>
                <a:gd name="T55" fmla="*/ 0 h 10"/>
                <a:gd name="T56" fmla="*/ 16 w 16"/>
                <a:gd name="T57" fmla="*/ 10 h 1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6" h="10">
                  <a:moveTo>
                    <a:pt x="0" y="10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8" name="Freeform 307"/>
            <p:cNvSpPr>
              <a:spLocks/>
            </p:cNvSpPr>
            <p:nvPr/>
          </p:nvSpPr>
          <p:spPr bwMode="auto">
            <a:xfrm>
              <a:off x="3654" y="1074"/>
              <a:ext cx="8" cy="12"/>
            </a:xfrm>
            <a:custGeom>
              <a:avLst/>
              <a:gdLst>
                <a:gd name="T0" fmla="*/ 4 w 8"/>
                <a:gd name="T1" fmla="*/ 12 h 12"/>
                <a:gd name="T2" fmla="*/ 2 w 8"/>
                <a:gd name="T3" fmla="*/ 12 h 12"/>
                <a:gd name="T4" fmla="*/ 0 w 8"/>
                <a:gd name="T5" fmla="*/ 10 h 12"/>
                <a:gd name="T6" fmla="*/ 0 w 8"/>
                <a:gd name="T7" fmla="*/ 6 h 12"/>
                <a:gd name="T8" fmla="*/ 0 w 8"/>
                <a:gd name="T9" fmla="*/ 2 h 12"/>
                <a:gd name="T10" fmla="*/ 2 w 8"/>
                <a:gd name="T11" fmla="*/ 2 h 12"/>
                <a:gd name="T12" fmla="*/ 6 w 8"/>
                <a:gd name="T13" fmla="*/ 0 h 12"/>
                <a:gd name="T14" fmla="*/ 8 w 8"/>
                <a:gd name="T15" fmla="*/ 0 h 12"/>
                <a:gd name="T16" fmla="*/ 8 w 8"/>
                <a:gd name="T17" fmla="*/ 2 h 12"/>
                <a:gd name="T18" fmla="*/ 4 w 8"/>
                <a:gd name="T19" fmla="*/ 10 h 12"/>
                <a:gd name="T20" fmla="*/ 4 w 8"/>
                <a:gd name="T21" fmla="*/ 12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"/>
                <a:gd name="T34" fmla="*/ 0 h 12"/>
                <a:gd name="T35" fmla="*/ 8 w 8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" h="12">
                  <a:moveTo>
                    <a:pt x="4" y="12"/>
                  </a:moveTo>
                  <a:lnTo>
                    <a:pt x="2" y="12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4" y="10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9" name="Freeform 308"/>
            <p:cNvSpPr>
              <a:spLocks/>
            </p:cNvSpPr>
            <p:nvPr/>
          </p:nvSpPr>
          <p:spPr bwMode="auto">
            <a:xfrm>
              <a:off x="3648" y="1082"/>
              <a:ext cx="8" cy="8"/>
            </a:xfrm>
            <a:custGeom>
              <a:avLst/>
              <a:gdLst>
                <a:gd name="T0" fmla="*/ 0 w 8"/>
                <a:gd name="T1" fmla="*/ 8 h 8"/>
                <a:gd name="T2" fmla="*/ 0 w 8"/>
                <a:gd name="T3" fmla="*/ 6 h 8"/>
                <a:gd name="T4" fmla="*/ 2 w 8"/>
                <a:gd name="T5" fmla="*/ 2 h 8"/>
                <a:gd name="T6" fmla="*/ 4 w 8"/>
                <a:gd name="T7" fmla="*/ 0 h 8"/>
                <a:gd name="T8" fmla="*/ 6 w 8"/>
                <a:gd name="T9" fmla="*/ 0 h 8"/>
                <a:gd name="T10" fmla="*/ 6 w 8"/>
                <a:gd name="T11" fmla="*/ 2 h 8"/>
                <a:gd name="T12" fmla="*/ 6 w 8"/>
                <a:gd name="T13" fmla="*/ 4 h 8"/>
                <a:gd name="T14" fmla="*/ 8 w 8"/>
                <a:gd name="T15" fmla="*/ 4 h 8"/>
                <a:gd name="T16" fmla="*/ 6 w 8"/>
                <a:gd name="T17" fmla="*/ 6 h 8"/>
                <a:gd name="T18" fmla="*/ 6 w 8"/>
                <a:gd name="T19" fmla="*/ 8 h 8"/>
                <a:gd name="T20" fmla="*/ 4 w 8"/>
                <a:gd name="T21" fmla="*/ 6 h 8"/>
                <a:gd name="T22" fmla="*/ 0 w 8"/>
                <a:gd name="T23" fmla="*/ 8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"/>
                <a:gd name="T37" fmla="*/ 0 h 8"/>
                <a:gd name="T38" fmla="*/ 8 w 8"/>
                <a:gd name="T39" fmla="*/ 8 h 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" h="8">
                  <a:moveTo>
                    <a:pt x="0" y="8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0" name="Freeform 309"/>
            <p:cNvSpPr>
              <a:spLocks/>
            </p:cNvSpPr>
            <p:nvPr/>
          </p:nvSpPr>
          <p:spPr bwMode="auto">
            <a:xfrm>
              <a:off x="3540" y="1088"/>
              <a:ext cx="16" cy="8"/>
            </a:xfrm>
            <a:custGeom>
              <a:avLst/>
              <a:gdLst>
                <a:gd name="T0" fmla="*/ 16 w 16"/>
                <a:gd name="T1" fmla="*/ 8 h 8"/>
                <a:gd name="T2" fmla="*/ 14 w 16"/>
                <a:gd name="T3" fmla="*/ 8 h 8"/>
                <a:gd name="T4" fmla="*/ 12 w 16"/>
                <a:gd name="T5" fmla="*/ 8 h 8"/>
                <a:gd name="T6" fmla="*/ 10 w 16"/>
                <a:gd name="T7" fmla="*/ 6 h 8"/>
                <a:gd name="T8" fmla="*/ 8 w 16"/>
                <a:gd name="T9" fmla="*/ 8 h 8"/>
                <a:gd name="T10" fmla="*/ 6 w 16"/>
                <a:gd name="T11" fmla="*/ 8 h 8"/>
                <a:gd name="T12" fmla="*/ 4 w 16"/>
                <a:gd name="T13" fmla="*/ 6 h 8"/>
                <a:gd name="T14" fmla="*/ 2 w 16"/>
                <a:gd name="T15" fmla="*/ 4 h 8"/>
                <a:gd name="T16" fmla="*/ 0 w 16"/>
                <a:gd name="T17" fmla="*/ 2 h 8"/>
                <a:gd name="T18" fmla="*/ 0 w 16"/>
                <a:gd name="T19" fmla="*/ 0 h 8"/>
                <a:gd name="T20" fmla="*/ 4 w 16"/>
                <a:gd name="T21" fmla="*/ 0 h 8"/>
                <a:gd name="T22" fmla="*/ 8 w 16"/>
                <a:gd name="T23" fmla="*/ 0 h 8"/>
                <a:gd name="T24" fmla="*/ 14 w 16"/>
                <a:gd name="T25" fmla="*/ 4 h 8"/>
                <a:gd name="T26" fmla="*/ 16 w 16"/>
                <a:gd name="T27" fmla="*/ 8 h 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"/>
                <a:gd name="T43" fmla="*/ 0 h 8"/>
                <a:gd name="T44" fmla="*/ 16 w 16"/>
                <a:gd name="T45" fmla="*/ 8 h 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" h="8">
                  <a:moveTo>
                    <a:pt x="16" y="8"/>
                  </a:moveTo>
                  <a:lnTo>
                    <a:pt x="14" y="8"/>
                  </a:lnTo>
                  <a:lnTo>
                    <a:pt x="12" y="8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6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4" y="4"/>
                  </a:lnTo>
                  <a:lnTo>
                    <a:pt x="16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pic>
        <p:nvPicPr>
          <p:cNvPr id="24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62162" y="3655272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3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58233" y="3518096"/>
            <a:ext cx="357190" cy="146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4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33597" y="3798148"/>
            <a:ext cx="288656" cy="204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26186" y="4094160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0165" y="4310184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7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0201" y="3014040"/>
            <a:ext cx="357190" cy="146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30248" y="3014040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66467" y="2654000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06245" y="2068816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62089" y="2509984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2" name="Picture 3" descr="image00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28768" y="3553559"/>
            <a:ext cx="216024" cy="261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3" name="Rectangle 334"/>
          <p:cNvSpPr>
            <a:spLocks noChangeArrowheads="1"/>
          </p:cNvSpPr>
          <p:nvPr/>
        </p:nvSpPr>
        <p:spPr bwMode="auto">
          <a:xfrm>
            <a:off x="4933066" y="2576862"/>
            <a:ext cx="47128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000" b="1" dirty="0" smtClean="0">
                <a:solidFill>
                  <a:prstClr val="white"/>
                </a:solidFill>
              </a:rPr>
              <a:t>BRAZIL</a:t>
            </a:r>
            <a:endParaRPr lang="en-US" sz="1000" b="1" dirty="0">
              <a:solidFill>
                <a:prstClr val="white"/>
              </a:solidFill>
            </a:endParaRPr>
          </a:p>
        </p:txBody>
      </p:sp>
      <p:grpSp>
        <p:nvGrpSpPr>
          <p:cNvPr id="23" name="Group 285"/>
          <p:cNvGrpSpPr/>
          <p:nvPr/>
        </p:nvGrpSpPr>
        <p:grpSpPr>
          <a:xfrm>
            <a:off x="6169750" y="961063"/>
            <a:ext cx="3276904" cy="2061196"/>
            <a:chOff x="6022274" y="1292506"/>
            <a:chExt cx="3276904" cy="2061196"/>
          </a:xfrm>
        </p:grpSpPr>
        <p:pic>
          <p:nvPicPr>
            <p:cNvPr id="28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188654" y="2658029"/>
              <a:ext cx="1613448" cy="480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89" name="Picture 3" descr="image002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8348894" y="2655225"/>
              <a:ext cx="576064" cy="6984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0" name="Text Box 3"/>
            <p:cNvSpPr txBox="1">
              <a:spLocks noChangeArrowheads="1"/>
            </p:cNvSpPr>
            <p:nvPr/>
          </p:nvSpPr>
          <p:spPr bwMode="auto">
            <a:xfrm>
              <a:off x="6022274" y="1659246"/>
              <a:ext cx="3276904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0" lvl="1" indent="-144000">
                <a:buClr>
                  <a:srgbClr val="99CC00"/>
                </a:buClr>
                <a:buSzPct val="120000"/>
                <a:buFont typeface="Wingdings" pitchFamily="2" charset="2"/>
                <a:buChar char="§"/>
              </a:pPr>
              <a:r>
                <a:rPr lang="en-GB" sz="1300" dirty="0" smtClean="0">
                  <a:solidFill>
                    <a:prstClr val="black"/>
                  </a:solidFill>
                </a:rPr>
                <a:t>Protcap – Entry </a:t>
              </a:r>
              <a:r>
                <a:rPr lang="en-GB" sz="1300" dirty="0">
                  <a:solidFill>
                    <a:prstClr val="black"/>
                  </a:solidFill>
                </a:rPr>
                <a:t>into </a:t>
              </a:r>
              <a:r>
                <a:rPr lang="en-GB" sz="1300" dirty="0" smtClean="0">
                  <a:solidFill>
                    <a:prstClr val="black"/>
                  </a:solidFill>
                </a:rPr>
                <a:t>safety sector</a:t>
              </a:r>
            </a:p>
            <a:p>
              <a:pPr marL="144000" lvl="1" indent="-144000">
                <a:buClr>
                  <a:srgbClr val="99CC00"/>
                </a:buClr>
                <a:buSzPct val="120000"/>
                <a:buFont typeface="Wingdings" pitchFamily="2" charset="2"/>
                <a:buChar char="§"/>
              </a:pPr>
              <a:r>
                <a:rPr lang="en-GB" sz="1300" dirty="0" smtClean="0">
                  <a:solidFill>
                    <a:prstClr val="black"/>
                  </a:solidFill>
                </a:rPr>
                <a:t>AM Supply – Expansion in safety sector</a:t>
              </a:r>
              <a:endParaRPr lang="en-GB" sz="1300" dirty="0">
                <a:solidFill>
                  <a:prstClr val="black"/>
                </a:solidFill>
              </a:endParaRPr>
            </a:p>
          </p:txBody>
        </p:sp>
        <p:sp>
          <p:nvSpPr>
            <p:cNvPr id="291" name="AutoShape 16"/>
            <p:cNvSpPr>
              <a:spLocks noChangeArrowheads="1"/>
            </p:cNvSpPr>
            <p:nvPr/>
          </p:nvSpPr>
          <p:spPr bwMode="auto">
            <a:xfrm>
              <a:off x="6022274" y="1292506"/>
              <a:ext cx="3276904" cy="357190"/>
            </a:xfrm>
            <a:prstGeom prst="roundRect">
              <a:avLst>
                <a:gd name="adj" fmla="val 16667"/>
              </a:avLst>
            </a:prstGeom>
            <a:solidFill>
              <a:srgbClr val="003E7E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r>
                <a:rPr lang="en-GB" sz="1300" b="1" dirty="0" smtClean="0">
                  <a:solidFill>
                    <a:prstClr val="white"/>
                  </a:solidFill>
                  <a:cs typeface="Arial" pitchFamily="34" charset="0"/>
                </a:rPr>
                <a:t>2008 to 2010 – Brazil market entry</a:t>
              </a:r>
            </a:p>
          </p:txBody>
        </p:sp>
      </p:grpSp>
      <p:grpSp>
        <p:nvGrpSpPr>
          <p:cNvPr id="28" name="Group 291"/>
          <p:cNvGrpSpPr/>
          <p:nvPr/>
        </p:nvGrpSpPr>
        <p:grpSpPr>
          <a:xfrm>
            <a:off x="6169750" y="3669989"/>
            <a:ext cx="3276904" cy="2257241"/>
            <a:chOff x="6022274" y="3902721"/>
            <a:chExt cx="3276904" cy="2257241"/>
          </a:xfrm>
        </p:grpSpPr>
        <p:pic>
          <p:nvPicPr>
            <p:cNvPr id="293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171473" y="5531449"/>
              <a:ext cx="1478095" cy="6060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94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8060190" y="5445224"/>
              <a:ext cx="1007440" cy="714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34" name="Group 1030"/>
            <p:cNvGrpSpPr/>
            <p:nvPr/>
          </p:nvGrpSpPr>
          <p:grpSpPr>
            <a:xfrm>
              <a:off x="6022274" y="3902721"/>
              <a:ext cx="3276904" cy="1052537"/>
              <a:chOff x="4786620" y="2190931"/>
              <a:chExt cx="3276904" cy="1052537"/>
            </a:xfrm>
          </p:grpSpPr>
          <p:sp>
            <p:nvSpPr>
              <p:cNvPr id="296" name="Text Box 20"/>
              <p:cNvSpPr txBox="1">
                <a:spLocks noChangeArrowheads="1"/>
              </p:cNvSpPr>
              <p:nvPr/>
            </p:nvSpPr>
            <p:spPr bwMode="auto">
              <a:xfrm>
                <a:off x="4786620" y="2550971"/>
                <a:ext cx="3276904" cy="6924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144000" lvl="1" indent="-144000">
                  <a:buClr>
                    <a:srgbClr val="99CC00"/>
                  </a:buClr>
                  <a:buSzPct val="120000"/>
                  <a:buFont typeface="Wingdings" pitchFamily="2" charset="2"/>
                  <a:buChar char="§"/>
                </a:pPr>
                <a:r>
                  <a:rPr lang="en-GB" sz="1300" dirty="0" smtClean="0">
                    <a:solidFill>
                      <a:prstClr val="black"/>
                    </a:solidFill>
                  </a:rPr>
                  <a:t>Ideal – Entry into cleaning &amp; hygiene sector</a:t>
                </a:r>
              </a:p>
              <a:p>
                <a:pPr marL="144000" lvl="1" indent="-144000">
                  <a:buClr>
                    <a:srgbClr val="99CC00"/>
                  </a:buClr>
                  <a:buSzPct val="120000"/>
                  <a:buFont typeface="Wingdings" pitchFamily="2" charset="2"/>
                  <a:buChar char="§"/>
                </a:pPr>
                <a:r>
                  <a:rPr lang="en-GB" sz="1300" dirty="0" smtClean="0">
                    <a:solidFill>
                      <a:prstClr val="black"/>
                    </a:solidFill>
                  </a:rPr>
                  <a:t>Danny – Expansion in safety sector</a:t>
                </a:r>
                <a:endParaRPr lang="en-GB" sz="13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97" name="AutoShape 16"/>
              <p:cNvSpPr>
                <a:spLocks noChangeArrowheads="1"/>
              </p:cNvSpPr>
              <p:nvPr/>
            </p:nvSpPr>
            <p:spPr bwMode="auto">
              <a:xfrm>
                <a:off x="4786620" y="2190931"/>
                <a:ext cx="3276904" cy="357190"/>
              </a:xfrm>
              <a:prstGeom prst="roundRect">
                <a:avLst>
                  <a:gd name="adj" fmla="val 16667"/>
                </a:avLst>
              </a:prstGeom>
              <a:solidFill>
                <a:srgbClr val="003E7E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>
                <a:normAutofit/>
              </a:bodyPr>
              <a:lstStyle/>
              <a:p>
                <a:r>
                  <a:rPr lang="en-GB" sz="1300" b="1" dirty="0" smtClean="0">
                    <a:solidFill>
                      <a:prstClr val="white"/>
                    </a:solidFill>
                    <a:cs typeface="Arial" pitchFamily="34" charset="0"/>
                  </a:rPr>
                  <a:t>2011 – Expansion in Brazil</a:t>
                </a:r>
              </a:p>
            </p:txBody>
          </p:sp>
        </p:grpSp>
      </p:grpSp>
      <p:sp>
        <p:nvSpPr>
          <p:cNvPr id="2" name="Rectangle 1"/>
          <p:cNvSpPr/>
          <p:nvPr/>
        </p:nvSpPr>
        <p:spPr>
          <a:xfrm>
            <a:off x="392115" y="2596150"/>
            <a:ext cx="200952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buClr>
                <a:srgbClr val="7CC343"/>
              </a:buClr>
            </a:pPr>
            <a:r>
              <a:rPr lang="en-GB" sz="1600" b="1" dirty="0" smtClean="0">
                <a:solidFill>
                  <a:srgbClr val="003E7E"/>
                </a:solidFill>
              </a:rPr>
              <a:t>First entry into Latin America by anchor acquisition in Brazil safety sector in 2008</a:t>
            </a:r>
            <a:endParaRPr lang="en-GB" sz="1600" b="1" dirty="0">
              <a:solidFill>
                <a:srgbClr val="003E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68710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3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6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9" dur="5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2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5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8" dur="50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6" dur="5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9" dur="5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2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lide(fromBottom)">
                                      <p:cBhvr>
                                        <p:cTn id="4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lide(fromBottom)">
                                      <p:cBhvr>
                                        <p:cTn id="5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76"/>
          <p:cNvGrpSpPr/>
          <p:nvPr/>
        </p:nvGrpSpPr>
        <p:grpSpPr>
          <a:xfrm>
            <a:off x="6235725" y="4929813"/>
            <a:ext cx="3323403" cy="1595531"/>
            <a:chOff x="6238108" y="5056722"/>
            <a:chExt cx="3323403" cy="1442219"/>
          </a:xfrm>
        </p:grpSpPr>
        <p:sp>
          <p:nvSpPr>
            <p:cNvPr id="278" name="AutoShape 16"/>
            <p:cNvSpPr>
              <a:spLocks noChangeArrowheads="1"/>
            </p:cNvSpPr>
            <p:nvPr/>
          </p:nvSpPr>
          <p:spPr bwMode="auto">
            <a:xfrm>
              <a:off x="6238109" y="5056722"/>
              <a:ext cx="3276904" cy="357190"/>
            </a:xfrm>
            <a:prstGeom prst="roundRect">
              <a:avLst>
                <a:gd name="adj" fmla="val 16667"/>
              </a:avLst>
            </a:prstGeom>
            <a:solidFill>
              <a:srgbClr val="003E7E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r>
                <a:rPr lang="en-GB" sz="1300" b="1" dirty="0" smtClean="0">
                  <a:solidFill>
                    <a:prstClr val="white"/>
                  </a:solidFill>
                  <a:cs typeface="Arial" pitchFamily="34" charset="0"/>
                </a:rPr>
                <a:t>2014 – Platform for future growth</a:t>
              </a:r>
            </a:p>
          </p:txBody>
        </p:sp>
        <p:sp>
          <p:nvSpPr>
            <p:cNvPr id="279" name="Text Box 20"/>
            <p:cNvSpPr txBox="1">
              <a:spLocks noChangeArrowheads="1"/>
            </p:cNvSpPr>
            <p:nvPr/>
          </p:nvSpPr>
          <p:spPr bwMode="auto">
            <a:xfrm>
              <a:off x="6238108" y="5422307"/>
              <a:ext cx="3323403" cy="6259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144000" lvl="1" indent="-144000">
                <a:buClr>
                  <a:srgbClr val="99CC00"/>
                </a:buClr>
                <a:buSzPct val="120000"/>
                <a:buFont typeface="Wingdings" pitchFamily="2" charset="2"/>
                <a:buChar char="§"/>
              </a:pPr>
              <a:r>
                <a:rPr lang="pt-BR" sz="1300" dirty="0" smtClean="0">
                  <a:solidFill>
                    <a:prstClr val="black"/>
                  </a:solidFill>
                </a:rPr>
                <a:t>Tecno Boga – </a:t>
              </a:r>
              <a:r>
                <a:rPr lang="pt-BR" sz="1300" dirty="0">
                  <a:solidFill>
                    <a:prstClr val="black"/>
                  </a:solidFill>
                </a:rPr>
                <a:t>S</a:t>
              </a:r>
              <a:r>
                <a:rPr lang="pt-BR" sz="1300" dirty="0" smtClean="0">
                  <a:solidFill>
                    <a:prstClr val="black"/>
                  </a:solidFill>
                </a:rPr>
                <a:t>afety shoes in Chile</a:t>
              </a:r>
              <a:endParaRPr lang="en-GB" sz="1300" dirty="0">
                <a:solidFill>
                  <a:prstClr val="black"/>
                </a:solidFill>
              </a:endParaRPr>
            </a:p>
            <a:p>
              <a:pPr marL="144000" lvl="1" indent="-144000">
                <a:buClr>
                  <a:srgbClr val="99CC00"/>
                </a:buClr>
                <a:buSzPct val="120000"/>
                <a:buFont typeface="Wingdings" pitchFamily="2" charset="2"/>
                <a:buChar char="§"/>
              </a:pPr>
              <a:r>
                <a:rPr lang="pt-BR" sz="1300" dirty="0" smtClean="0">
                  <a:solidFill>
                    <a:prstClr val="black"/>
                  </a:solidFill>
                </a:rPr>
                <a:t>JPLUS – Cleaning &amp; hygiene in Brazil</a:t>
              </a:r>
            </a:p>
            <a:p>
              <a:pPr marL="144000" lvl="1" indent="-144000">
                <a:buClr>
                  <a:srgbClr val="99CC00"/>
                </a:buClr>
                <a:buSzPct val="120000"/>
                <a:buFont typeface="Wingdings" pitchFamily="2" charset="2"/>
                <a:buChar char="§"/>
              </a:pPr>
              <a:r>
                <a:rPr lang="pt-BR" sz="1300" dirty="0" smtClean="0">
                  <a:solidFill>
                    <a:prstClr val="black"/>
                  </a:solidFill>
                </a:rPr>
                <a:t>Lamedid – Laboratory supplies in Brazil</a:t>
              </a:r>
            </a:p>
          </p:txBody>
        </p:sp>
        <p:pic>
          <p:nvPicPr>
            <p:cNvPr id="280" name="Picture 4" descr="Logo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 l="8630" r="84245"/>
            <a:stretch>
              <a:fillRect/>
            </a:stretch>
          </p:blipFill>
          <p:spPr bwMode="auto">
            <a:xfrm>
              <a:off x="9011578" y="6074709"/>
              <a:ext cx="309947" cy="419100"/>
            </a:xfrm>
            <a:prstGeom prst="rect">
              <a:avLst/>
            </a:prstGeom>
            <a:noFill/>
          </p:spPr>
        </p:pic>
        <p:pic>
          <p:nvPicPr>
            <p:cNvPr id="281" name="Picture 6" descr="https://www.jplus.com.br/images/logo.png"/>
            <p:cNvPicPr>
              <a:picLocks noChangeAspect="1" noChangeArrowheads="1"/>
            </p:cNvPicPr>
            <p:nvPr/>
          </p:nvPicPr>
          <p:blipFill>
            <a:blip r:embed="rId4" cstate="print"/>
            <a:srcRect l="24545"/>
            <a:stretch>
              <a:fillRect/>
            </a:stretch>
          </p:blipFill>
          <p:spPr bwMode="auto">
            <a:xfrm>
              <a:off x="6394992" y="6182388"/>
              <a:ext cx="1098020" cy="316553"/>
            </a:xfrm>
            <a:prstGeom prst="rect">
              <a:avLst/>
            </a:prstGeom>
            <a:noFill/>
          </p:spPr>
        </p:pic>
        <p:pic>
          <p:nvPicPr>
            <p:cNvPr id="282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 l="23439" t="13245" r="58115" b="76009"/>
            <a:stretch>
              <a:fillRect/>
            </a:stretch>
          </p:blipFill>
          <p:spPr bwMode="auto">
            <a:xfrm>
              <a:off x="7708763" y="6121026"/>
              <a:ext cx="10541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Group 275"/>
          <p:cNvGrpSpPr/>
          <p:nvPr/>
        </p:nvGrpSpPr>
        <p:grpSpPr>
          <a:xfrm>
            <a:off x="6169524" y="2153226"/>
            <a:ext cx="3276904" cy="2562475"/>
            <a:chOff x="6210091" y="2420521"/>
            <a:chExt cx="3276904" cy="2392968"/>
          </a:xfrm>
        </p:grpSpPr>
        <p:pic>
          <p:nvPicPr>
            <p:cNvPr id="254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 t="29509" b="26227"/>
            <a:stretch>
              <a:fillRect/>
            </a:stretch>
          </p:blipFill>
          <p:spPr bwMode="auto">
            <a:xfrm>
              <a:off x="6700465" y="4264343"/>
              <a:ext cx="830731" cy="3677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68" name="Picture 2" descr="Inicio Espomega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8124616" y="4264343"/>
              <a:ext cx="1080119" cy="145816"/>
            </a:xfrm>
            <a:prstGeom prst="rect">
              <a:avLst/>
            </a:prstGeom>
            <a:noFill/>
          </p:spPr>
        </p:pic>
        <p:sp>
          <p:nvSpPr>
            <p:cNvPr id="267" name="AutoShape 16"/>
            <p:cNvSpPr>
              <a:spLocks noChangeArrowheads="1"/>
            </p:cNvSpPr>
            <p:nvPr/>
          </p:nvSpPr>
          <p:spPr bwMode="auto">
            <a:xfrm>
              <a:off x="6210091" y="2420521"/>
              <a:ext cx="3276904" cy="357190"/>
            </a:xfrm>
            <a:prstGeom prst="roundRect">
              <a:avLst>
                <a:gd name="adj" fmla="val 16667"/>
              </a:avLst>
            </a:prstGeom>
            <a:solidFill>
              <a:srgbClr val="003E7E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r>
                <a:rPr lang="en-GB" sz="1300" b="1" dirty="0" smtClean="0">
                  <a:solidFill>
                    <a:prstClr val="white"/>
                  </a:solidFill>
                  <a:cs typeface="Arial" pitchFamily="34" charset="0"/>
                </a:rPr>
                <a:t>2013 – Consolidation</a:t>
              </a:r>
            </a:p>
          </p:txBody>
        </p:sp>
        <p:sp>
          <p:nvSpPr>
            <p:cNvPr id="269" name="Text Box 20"/>
            <p:cNvSpPr txBox="1">
              <a:spLocks noChangeArrowheads="1"/>
            </p:cNvSpPr>
            <p:nvPr/>
          </p:nvSpPr>
          <p:spPr bwMode="auto">
            <a:xfrm>
              <a:off x="6210091" y="2857601"/>
              <a:ext cx="3276904" cy="1207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144000" lvl="1" indent="-144000">
                <a:buClr>
                  <a:srgbClr val="99CC00"/>
                </a:buClr>
                <a:buSzPct val="120000"/>
                <a:buFont typeface="Wingdings" pitchFamily="2" charset="2"/>
                <a:buChar char="§"/>
              </a:pPr>
              <a:r>
                <a:rPr lang="en-GB" sz="1300" dirty="0" smtClean="0">
                  <a:solidFill>
                    <a:prstClr val="black"/>
                  </a:solidFill>
                </a:rPr>
                <a:t>Labor – Entry into healthcare sector in Brazil</a:t>
              </a:r>
            </a:p>
            <a:p>
              <a:pPr marL="144000" lvl="1" indent="-144000">
                <a:buClr>
                  <a:srgbClr val="99CC00"/>
                </a:buClr>
                <a:buSzPct val="120000"/>
                <a:buFont typeface="Wingdings" pitchFamily="2" charset="2"/>
                <a:buChar char="§"/>
              </a:pPr>
              <a:r>
                <a:rPr lang="en-GB" sz="1300" dirty="0" smtClean="0">
                  <a:solidFill>
                    <a:prstClr val="black"/>
                  </a:solidFill>
                </a:rPr>
                <a:t>Espomega – Major expansion in safety sector in Mexico </a:t>
              </a:r>
            </a:p>
            <a:p>
              <a:pPr marL="144000" lvl="1" indent="-144000">
                <a:buClr>
                  <a:srgbClr val="99CC00"/>
                </a:buClr>
                <a:buSzPct val="120000"/>
                <a:buFont typeface="Wingdings" pitchFamily="2" charset="2"/>
                <a:buChar char="§"/>
              </a:pPr>
              <a:r>
                <a:rPr lang="en-GB" sz="1300" dirty="0" smtClean="0">
                  <a:solidFill>
                    <a:prstClr val="black"/>
                  </a:solidFill>
                </a:rPr>
                <a:t>De </a:t>
              </a:r>
              <a:r>
                <a:rPr lang="en-GB" sz="1300" dirty="0" err="1" smtClean="0">
                  <a:solidFill>
                    <a:prstClr val="black"/>
                  </a:solidFill>
                </a:rPr>
                <a:t>Santis</a:t>
              </a:r>
              <a:r>
                <a:rPr lang="en-GB" sz="1300" dirty="0" smtClean="0">
                  <a:solidFill>
                    <a:prstClr val="black"/>
                  </a:solidFill>
                </a:rPr>
                <a:t> – Expansion in safety sector in Brazil</a:t>
              </a:r>
            </a:p>
          </p:txBody>
        </p:sp>
        <p:pic>
          <p:nvPicPr>
            <p:cNvPr id="274" name="Imagem 1" descr="De Santis Distribuidora Logo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118921" y="4597465"/>
              <a:ext cx="833231" cy="216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" name="Group 274"/>
          <p:cNvGrpSpPr/>
          <p:nvPr/>
        </p:nvGrpSpPr>
        <p:grpSpPr>
          <a:xfrm>
            <a:off x="6195095" y="520724"/>
            <a:ext cx="3276904" cy="1497343"/>
            <a:chOff x="6105128" y="542430"/>
            <a:chExt cx="3276904" cy="1497343"/>
          </a:xfrm>
        </p:grpSpPr>
        <p:pic>
          <p:nvPicPr>
            <p:cNvPr id="255" name="Picture 3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360205" y="1610324"/>
              <a:ext cx="761926" cy="429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265" name="AutoShape 16"/>
            <p:cNvSpPr>
              <a:spLocks noChangeArrowheads="1"/>
            </p:cNvSpPr>
            <p:nvPr/>
          </p:nvSpPr>
          <p:spPr bwMode="auto">
            <a:xfrm>
              <a:off x="6105128" y="542430"/>
              <a:ext cx="3276904" cy="357190"/>
            </a:xfrm>
            <a:prstGeom prst="roundRect">
              <a:avLst>
                <a:gd name="adj" fmla="val 16667"/>
              </a:avLst>
            </a:prstGeom>
            <a:solidFill>
              <a:srgbClr val="003E7E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r>
                <a:rPr lang="en-GB" sz="1300" b="1" dirty="0" smtClean="0">
                  <a:solidFill>
                    <a:prstClr val="white"/>
                  </a:solidFill>
                  <a:cs typeface="Arial" pitchFamily="34" charset="0"/>
                </a:rPr>
                <a:t>2012 – Expansion outside Brazil</a:t>
              </a:r>
            </a:p>
          </p:txBody>
        </p:sp>
        <p:sp>
          <p:nvSpPr>
            <p:cNvPr id="266" name="Text Box 20"/>
            <p:cNvSpPr txBox="1">
              <a:spLocks noChangeArrowheads="1"/>
            </p:cNvSpPr>
            <p:nvPr/>
          </p:nvSpPr>
          <p:spPr bwMode="auto">
            <a:xfrm>
              <a:off x="6105128" y="947920"/>
              <a:ext cx="3276904" cy="692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144000" lvl="1" indent="-144000">
                <a:buClr>
                  <a:srgbClr val="99CC00"/>
                </a:buClr>
                <a:buSzPct val="120000"/>
                <a:buFont typeface="Wingdings" pitchFamily="2" charset="2"/>
                <a:buChar char="§"/>
              </a:pPr>
              <a:r>
                <a:rPr lang="en-GB" sz="1300" dirty="0" smtClean="0">
                  <a:solidFill>
                    <a:prstClr val="black"/>
                  </a:solidFill>
                </a:rPr>
                <a:t>Vicsa – Entry into safety sector in Chile, Colombia, Peru, Argentina and Mexico and expansion in Brazil</a:t>
              </a:r>
            </a:p>
          </p:txBody>
        </p:sp>
      </p:grpSp>
      <p:sp>
        <p:nvSpPr>
          <p:cNvPr id="287" name="Title 1"/>
          <p:cNvSpPr>
            <a:spLocks noGrp="1"/>
          </p:cNvSpPr>
          <p:nvPr>
            <p:ph type="title"/>
          </p:nvPr>
        </p:nvSpPr>
        <p:spPr>
          <a:xfrm>
            <a:off x="416495" y="404664"/>
            <a:ext cx="1944217" cy="1944216"/>
          </a:xfrm>
        </p:spPr>
        <p:txBody>
          <a:bodyPr>
            <a:normAutofit/>
          </a:bodyPr>
          <a:lstStyle/>
          <a:p>
            <a:pPr algn="just"/>
            <a:r>
              <a:rPr lang="pt-BR" sz="2000" dirty="0" smtClean="0"/>
              <a:t>Development of LATAM</a:t>
            </a:r>
            <a:endParaRPr lang="en-GB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Freeform 122"/>
          <p:cNvSpPr>
            <a:spLocks/>
          </p:cNvSpPr>
          <p:nvPr/>
        </p:nvSpPr>
        <p:spPr bwMode="auto">
          <a:xfrm>
            <a:off x="4421815" y="1522766"/>
            <a:ext cx="323850" cy="512762"/>
          </a:xfrm>
          <a:custGeom>
            <a:avLst/>
            <a:gdLst/>
            <a:ahLst/>
            <a:cxnLst>
              <a:cxn ang="0">
                <a:pos x="60" y="180"/>
              </a:cxn>
              <a:cxn ang="0">
                <a:pos x="34" y="182"/>
              </a:cxn>
              <a:cxn ang="0">
                <a:pos x="4" y="140"/>
              </a:cxn>
              <a:cxn ang="0">
                <a:pos x="12" y="116"/>
              </a:cxn>
              <a:cxn ang="0">
                <a:pos x="18" y="100"/>
              </a:cxn>
              <a:cxn ang="0">
                <a:pos x="38" y="96"/>
              </a:cxn>
              <a:cxn ang="0">
                <a:pos x="52" y="88"/>
              </a:cxn>
              <a:cxn ang="0">
                <a:pos x="46" y="76"/>
              </a:cxn>
              <a:cxn ang="0">
                <a:pos x="42" y="68"/>
              </a:cxn>
              <a:cxn ang="0">
                <a:pos x="34" y="56"/>
              </a:cxn>
              <a:cxn ang="0">
                <a:pos x="56" y="36"/>
              </a:cxn>
              <a:cxn ang="0">
                <a:pos x="72" y="26"/>
              </a:cxn>
              <a:cxn ang="0">
                <a:pos x="82" y="14"/>
              </a:cxn>
              <a:cxn ang="0">
                <a:pos x="76" y="4"/>
              </a:cxn>
              <a:cxn ang="0">
                <a:pos x="84" y="8"/>
              </a:cxn>
              <a:cxn ang="0">
                <a:pos x="120" y="30"/>
              </a:cxn>
              <a:cxn ang="0">
                <a:pos x="142" y="50"/>
              </a:cxn>
              <a:cxn ang="0">
                <a:pos x="154" y="84"/>
              </a:cxn>
              <a:cxn ang="0">
                <a:pos x="148" y="112"/>
              </a:cxn>
              <a:cxn ang="0">
                <a:pos x="150" y="104"/>
              </a:cxn>
              <a:cxn ang="0">
                <a:pos x="164" y="90"/>
              </a:cxn>
              <a:cxn ang="0">
                <a:pos x="182" y="94"/>
              </a:cxn>
              <a:cxn ang="0">
                <a:pos x="204" y="114"/>
              </a:cxn>
              <a:cxn ang="0">
                <a:pos x="224" y="128"/>
              </a:cxn>
              <a:cxn ang="0">
                <a:pos x="228" y="160"/>
              </a:cxn>
              <a:cxn ang="0">
                <a:pos x="222" y="180"/>
              </a:cxn>
              <a:cxn ang="0">
                <a:pos x="222" y="182"/>
              </a:cxn>
              <a:cxn ang="0">
                <a:pos x="204" y="192"/>
              </a:cxn>
              <a:cxn ang="0">
                <a:pos x="188" y="204"/>
              </a:cxn>
              <a:cxn ang="0">
                <a:pos x="186" y="230"/>
              </a:cxn>
              <a:cxn ang="0">
                <a:pos x="182" y="248"/>
              </a:cxn>
              <a:cxn ang="0">
                <a:pos x="192" y="264"/>
              </a:cxn>
              <a:cxn ang="0">
                <a:pos x="204" y="278"/>
              </a:cxn>
              <a:cxn ang="0">
                <a:pos x="222" y="280"/>
              </a:cxn>
              <a:cxn ang="0">
                <a:pos x="226" y="298"/>
              </a:cxn>
              <a:cxn ang="0">
                <a:pos x="242" y="330"/>
              </a:cxn>
              <a:cxn ang="0">
                <a:pos x="258" y="354"/>
              </a:cxn>
              <a:cxn ang="0">
                <a:pos x="262" y="360"/>
              </a:cxn>
              <a:cxn ang="0">
                <a:pos x="238" y="360"/>
              </a:cxn>
              <a:cxn ang="0">
                <a:pos x="228" y="358"/>
              </a:cxn>
              <a:cxn ang="0">
                <a:pos x="214" y="368"/>
              </a:cxn>
              <a:cxn ang="0">
                <a:pos x="192" y="374"/>
              </a:cxn>
              <a:cxn ang="0">
                <a:pos x="164" y="386"/>
              </a:cxn>
              <a:cxn ang="0">
                <a:pos x="148" y="396"/>
              </a:cxn>
              <a:cxn ang="0">
                <a:pos x="136" y="398"/>
              </a:cxn>
              <a:cxn ang="0">
                <a:pos x="118" y="390"/>
              </a:cxn>
              <a:cxn ang="0">
                <a:pos x="94" y="370"/>
              </a:cxn>
              <a:cxn ang="0">
                <a:pos x="90" y="352"/>
              </a:cxn>
              <a:cxn ang="0">
                <a:pos x="82" y="334"/>
              </a:cxn>
              <a:cxn ang="0">
                <a:pos x="78" y="308"/>
              </a:cxn>
              <a:cxn ang="0">
                <a:pos x="84" y="284"/>
              </a:cxn>
              <a:cxn ang="0">
                <a:pos x="98" y="254"/>
              </a:cxn>
              <a:cxn ang="0">
                <a:pos x="94" y="226"/>
              </a:cxn>
              <a:cxn ang="0">
                <a:pos x="66" y="216"/>
              </a:cxn>
              <a:cxn ang="0">
                <a:pos x="76" y="192"/>
              </a:cxn>
            </a:cxnLst>
            <a:rect l="0" t="0" r="r" b="b"/>
            <a:pathLst>
              <a:path w="268" h="402">
                <a:moveTo>
                  <a:pt x="70" y="184"/>
                </a:moveTo>
                <a:lnTo>
                  <a:pt x="70" y="182"/>
                </a:lnTo>
                <a:lnTo>
                  <a:pt x="68" y="180"/>
                </a:lnTo>
                <a:lnTo>
                  <a:pt x="64" y="178"/>
                </a:lnTo>
                <a:lnTo>
                  <a:pt x="62" y="180"/>
                </a:lnTo>
                <a:lnTo>
                  <a:pt x="60" y="180"/>
                </a:lnTo>
                <a:lnTo>
                  <a:pt x="58" y="182"/>
                </a:lnTo>
                <a:lnTo>
                  <a:pt x="44" y="184"/>
                </a:lnTo>
                <a:lnTo>
                  <a:pt x="44" y="182"/>
                </a:lnTo>
                <a:lnTo>
                  <a:pt x="38" y="182"/>
                </a:lnTo>
                <a:lnTo>
                  <a:pt x="36" y="182"/>
                </a:lnTo>
                <a:lnTo>
                  <a:pt x="34" y="182"/>
                </a:lnTo>
                <a:lnTo>
                  <a:pt x="32" y="180"/>
                </a:lnTo>
                <a:lnTo>
                  <a:pt x="28" y="174"/>
                </a:lnTo>
                <a:lnTo>
                  <a:pt x="14" y="158"/>
                </a:lnTo>
                <a:lnTo>
                  <a:pt x="0" y="142"/>
                </a:lnTo>
                <a:lnTo>
                  <a:pt x="2" y="140"/>
                </a:lnTo>
                <a:lnTo>
                  <a:pt x="4" y="140"/>
                </a:lnTo>
                <a:lnTo>
                  <a:pt x="6" y="136"/>
                </a:lnTo>
                <a:lnTo>
                  <a:pt x="6" y="134"/>
                </a:lnTo>
                <a:lnTo>
                  <a:pt x="6" y="132"/>
                </a:lnTo>
                <a:lnTo>
                  <a:pt x="12" y="130"/>
                </a:lnTo>
                <a:lnTo>
                  <a:pt x="12" y="122"/>
                </a:lnTo>
                <a:lnTo>
                  <a:pt x="12" y="116"/>
                </a:lnTo>
                <a:lnTo>
                  <a:pt x="8" y="110"/>
                </a:lnTo>
                <a:lnTo>
                  <a:pt x="8" y="108"/>
                </a:lnTo>
                <a:lnTo>
                  <a:pt x="10" y="104"/>
                </a:lnTo>
                <a:lnTo>
                  <a:pt x="12" y="100"/>
                </a:lnTo>
                <a:lnTo>
                  <a:pt x="16" y="98"/>
                </a:lnTo>
                <a:lnTo>
                  <a:pt x="18" y="100"/>
                </a:lnTo>
                <a:lnTo>
                  <a:pt x="24" y="100"/>
                </a:lnTo>
                <a:lnTo>
                  <a:pt x="26" y="96"/>
                </a:lnTo>
                <a:lnTo>
                  <a:pt x="30" y="96"/>
                </a:lnTo>
                <a:lnTo>
                  <a:pt x="34" y="98"/>
                </a:lnTo>
                <a:lnTo>
                  <a:pt x="36" y="96"/>
                </a:lnTo>
                <a:lnTo>
                  <a:pt x="38" y="96"/>
                </a:lnTo>
                <a:lnTo>
                  <a:pt x="40" y="94"/>
                </a:lnTo>
                <a:lnTo>
                  <a:pt x="42" y="92"/>
                </a:lnTo>
                <a:lnTo>
                  <a:pt x="44" y="92"/>
                </a:lnTo>
                <a:lnTo>
                  <a:pt x="46" y="90"/>
                </a:lnTo>
                <a:lnTo>
                  <a:pt x="48" y="90"/>
                </a:lnTo>
                <a:lnTo>
                  <a:pt x="52" y="88"/>
                </a:lnTo>
                <a:lnTo>
                  <a:pt x="58" y="80"/>
                </a:lnTo>
                <a:lnTo>
                  <a:pt x="58" y="78"/>
                </a:lnTo>
                <a:lnTo>
                  <a:pt x="56" y="76"/>
                </a:lnTo>
                <a:lnTo>
                  <a:pt x="54" y="74"/>
                </a:lnTo>
                <a:lnTo>
                  <a:pt x="48" y="74"/>
                </a:lnTo>
                <a:lnTo>
                  <a:pt x="46" y="76"/>
                </a:lnTo>
                <a:lnTo>
                  <a:pt x="44" y="76"/>
                </a:lnTo>
                <a:lnTo>
                  <a:pt x="40" y="74"/>
                </a:lnTo>
                <a:lnTo>
                  <a:pt x="40" y="72"/>
                </a:lnTo>
                <a:lnTo>
                  <a:pt x="40" y="70"/>
                </a:lnTo>
                <a:lnTo>
                  <a:pt x="40" y="68"/>
                </a:lnTo>
                <a:lnTo>
                  <a:pt x="42" y="68"/>
                </a:lnTo>
                <a:lnTo>
                  <a:pt x="42" y="66"/>
                </a:lnTo>
                <a:lnTo>
                  <a:pt x="40" y="64"/>
                </a:lnTo>
                <a:lnTo>
                  <a:pt x="38" y="60"/>
                </a:lnTo>
                <a:lnTo>
                  <a:pt x="36" y="60"/>
                </a:lnTo>
                <a:lnTo>
                  <a:pt x="34" y="58"/>
                </a:lnTo>
                <a:lnTo>
                  <a:pt x="34" y="56"/>
                </a:lnTo>
                <a:lnTo>
                  <a:pt x="36" y="54"/>
                </a:lnTo>
                <a:lnTo>
                  <a:pt x="38" y="54"/>
                </a:lnTo>
                <a:lnTo>
                  <a:pt x="42" y="50"/>
                </a:lnTo>
                <a:lnTo>
                  <a:pt x="42" y="46"/>
                </a:lnTo>
                <a:lnTo>
                  <a:pt x="44" y="40"/>
                </a:lnTo>
                <a:lnTo>
                  <a:pt x="56" y="36"/>
                </a:lnTo>
                <a:lnTo>
                  <a:pt x="58" y="34"/>
                </a:lnTo>
                <a:lnTo>
                  <a:pt x="60" y="32"/>
                </a:lnTo>
                <a:lnTo>
                  <a:pt x="66" y="28"/>
                </a:lnTo>
                <a:lnTo>
                  <a:pt x="68" y="28"/>
                </a:lnTo>
                <a:lnTo>
                  <a:pt x="70" y="28"/>
                </a:lnTo>
                <a:lnTo>
                  <a:pt x="72" y="26"/>
                </a:lnTo>
                <a:lnTo>
                  <a:pt x="72" y="22"/>
                </a:lnTo>
                <a:lnTo>
                  <a:pt x="74" y="20"/>
                </a:lnTo>
                <a:lnTo>
                  <a:pt x="76" y="18"/>
                </a:lnTo>
                <a:lnTo>
                  <a:pt x="78" y="18"/>
                </a:lnTo>
                <a:lnTo>
                  <a:pt x="80" y="16"/>
                </a:lnTo>
                <a:lnTo>
                  <a:pt x="82" y="14"/>
                </a:lnTo>
                <a:lnTo>
                  <a:pt x="82" y="12"/>
                </a:lnTo>
                <a:lnTo>
                  <a:pt x="78" y="8"/>
                </a:lnTo>
                <a:lnTo>
                  <a:pt x="72" y="2"/>
                </a:lnTo>
                <a:lnTo>
                  <a:pt x="72" y="0"/>
                </a:lnTo>
                <a:lnTo>
                  <a:pt x="74" y="2"/>
                </a:lnTo>
                <a:lnTo>
                  <a:pt x="76" y="4"/>
                </a:lnTo>
                <a:lnTo>
                  <a:pt x="78" y="4"/>
                </a:lnTo>
                <a:lnTo>
                  <a:pt x="78" y="6"/>
                </a:lnTo>
                <a:lnTo>
                  <a:pt x="80" y="8"/>
                </a:lnTo>
                <a:lnTo>
                  <a:pt x="80" y="10"/>
                </a:lnTo>
                <a:lnTo>
                  <a:pt x="84" y="10"/>
                </a:lnTo>
                <a:lnTo>
                  <a:pt x="84" y="8"/>
                </a:lnTo>
                <a:lnTo>
                  <a:pt x="84" y="6"/>
                </a:lnTo>
                <a:lnTo>
                  <a:pt x="90" y="10"/>
                </a:lnTo>
                <a:lnTo>
                  <a:pt x="106" y="20"/>
                </a:lnTo>
                <a:lnTo>
                  <a:pt x="118" y="26"/>
                </a:lnTo>
                <a:lnTo>
                  <a:pt x="120" y="28"/>
                </a:lnTo>
                <a:lnTo>
                  <a:pt x="120" y="30"/>
                </a:lnTo>
                <a:lnTo>
                  <a:pt x="122" y="30"/>
                </a:lnTo>
                <a:lnTo>
                  <a:pt x="130" y="38"/>
                </a:lnTo>
                <a:lnTo>
                  <a:pt x="136" y="44"/>
                </a:lnTo>
                <a:lnTo>
                  <a:pt x="138" y="46"/>
                </a:lnTo>
                <a:lnTo>
                  <a:pt x="140" y="48"/>
                </a:lnTo>
                <a:lnTo>
                  <a:pt x="142" y="50"/>
                </a:lnTo>
                <a:lnTo>
                  <a:pt x="146" y="52"/>
                </a:lnTo>
                <a:lnTo>
                  <a:pt x="154" y="62"/>
                </a:lnTo>
                <a:lnTo>
                  <a:pt x="156" y="64"/>
                </a:lnTo>
                <a:lnTo>
                  <a:pt x="156" y="76"/>
                </a:lnTo>
                <a:lnTo>
                  <a:pt x="154" y="82"/>
                </a:lnTo>
                <a:lnTo>
                  <a:pt x="154" y="84"/>
                </a:lnTo>
                <a:lnTo>
                  <a:pt x="152" y="86"/>
                </a:lnTo>
                <a:lnTo>
                  <a:pt x="152" y="88"/>
                </a:lnTo>
                <a:lnTo>
                  <a:pt x="150" y="94"/>
                </a:lnTo>
                <a:lnTo>
                  <a:pt x="150" y="96"/>
                </a:lnTo>
                <a:lnTo>
                  <a:pt x="148" y="102"/>
                </a:lnTo>
                <a:lnTo>
                  <a:pt x="148" y="112"/>
                </a:lnTo>
                <a:lnTo>
                  <a:pt x="148" y="114"/>
                </a:lnTo>
                <a:lnTo>
                  <a:pt x="150" y="114"/>
                </a:lnTo>
                <a:lnTo>
                  <a:pt x="150" y="112"/>
                </a:lnTo>
                <a:lnTo>
                  <a:pt x="152" y="110"/>
                </a:lnTo>
                <a:lnTo>
                  <a:pt x="150" y="108"/>
                </a:lnTo>
                <a:lnTo>
                  <a:pt x="150" y="104"/>
                </a:lnTo>
                <a:lnTo>
                  <a:pt x="152" y="100"/>
                </a:lnTo>
                <a:lnTo>
                  <a:pt x="156" y="94"/>
                </a:lnTo>
                <a:lnTo>
                  <a:pt x="156" y="92"/>
                </a:lnTo>
                <a:lnTo>
                  <a:pt x="158" y="90"/>
                </a:lnTo>
                <a:lnTo>
                  <a:pt x="160" y="90"/>
                </a:lnTo>
                <a:lnTo>
                  <a:pt x="164" y="90"/>
                </a:lnTo>
                <a:lnTo>
                  <a:pt x="168" y="90"/>
                </a:lnTo>
                <a:lnTo>
                  <a:pt x="170" y="92"/>
                </a:lnTo>
                <a:lnTo>
                  <a:pt x="172" y="94"/>
                </a:lnTo>
                <a:lnTo>
                  <a:pt x="172" y="92"/>
                </a:lnTo>
                <a:lnTo>
                  <a:pt x="180" y="94"/>
                </a:lnTo>
                <a:lnTo>
                  <a:pt x="182" y="94"/>
                </a:lnTo>
                <a:lnTo>
                  <a:pt x="184" y="96"/>
                </a:lnTo>
                <a:lnTo>
                  <a:pt x="186" y="98"/>
                </a:lnTo>
                <a:lnTo>
                  <a:pt x="188" y="100"/>
                </a:lnTo>
                <a:lnTo>
                  <a:pt x="194" y="106"/>
                </a:lnTo>
                <a:lnTo>
                  <a:pt x="202" y="112"/>
                </a:lnTo>
                <a:lnTo>
                  <a:pt x="204" y="114"/>
                </a:lnTo>
                <a:lnTo>
                  <a:pt x="208" y="122"/>
                </a:lnTo>
                <a:lnTo>
                  <a:pt x="210" y="118"/>
                </a:lnTo>
                <a:lnTo>
                  <a:pt x="216" y="122"/>
                </a:lnTo>
                <a:lnTo>
                  <a:pt x="218" y="122"/>
                </a:lnTo>
                <a:lnTo>
                  <a:pt x="222" y="126"/>
                </a:lnTo>
                <a:lnTo>
                  <a:pt x="224" y="128"/>
                </a:lnTo>
                <a:lnTo>
                  <a:pt x="226" y="130"/>
                </a:lnTo>
                <a:lnTo>
                  <a:pt x="226" y="132"/>
                </a:lnTo>
                <a:lnTo>
                  <a:pt x="228" y="134"/>
                </a:lnTo>
                <a:lnTo>
                  <a:pt x="228" y="140"/>
                </a:lnTo>
                <a:lnTo>
                  <a:pt x="228" y="156"/>
                </a:lnTo>
                <a:lnTo>
                  <a:pt x="228" y="160"/>
                </a:lnTo>
                <a:lnTo>
                  <a:pt x="226" y="160"/>
                </a:lnTo>
                <a:lnTo>
                  <a:pt x="224" y="166"/>
                </a:lnTo>
                <a:lnTo>
                  <a:pt x="222" y="170"/>
                </a:lnTo>
                <a:lnTo>
                  <a:pt x="220" y="172"/>
                </a:lnTo>
                <a:lnTo>
                  <a:pt x="220" y="176"/>
                </a:lnTo>
                <a:lnTo>
                  <a:pt x="222" y="180"/>
                </a:lnTo>
                <a:lnTo>
                  <a:pt x="224" y="178"/>
                </a:lnTo>
                <a:lnTo>
                  <a:pt x="226" y="180"/>
                </a:lnTo>
                <a:lnTo>
                  <a:pt x="226" y="182"/>
                </a:lnTo>
                <a:lnTo>
                  <a:pt x="224" y="184"/>
                </a:lnTo>
                <a:lnTo>
                  <a:pt x="224" y="182"/>
                </a:lnTo>
                <a:lnTo>
                  <a:pt x="222" y="182"/>
                </a:lnTo>
                <a:lnTo>
                  <a:pt x="222" y="184"/>
                </a:lnTo>
                <a:lnTo>
                  <a:pt x="220" y="188"/>
                </a:lnTo>
                <a:lnTo>
                  <a:pt x="220" y="190"/>
                </a:lnTo>
                <a:lnTo>
                  <a:pt x="214" y="192"/>
                </a:lnTo>
                <a:lnTo>
                  <a:pt x="212" y="192"/>
                </a:lnTo>
                <a:lnTo>
                  <a:pt x="204" y="192"/>
                </a:lnTo>
                <a:lnTo>
                  <a:pt x="202" y="192"/>
                </a:lnTo>
                <a:lnTo>
                  <a:pt x="200" y="192"/>
                </a:lnTo>
                <a:lnTo>
                  <a:pt x="192" y="196"/>
                </a:lnTo>
                <a:lnTo>
                  <a:pt x="188" y="200"/>
                </a:lnTo>
                <a:lnTo>
                  <a:pt x="188" y="202"/>
                </a:lnTo>
                <a:lnTo>
                  <a:pt x="188" y="204"/>
                </a:lnTo>
                <a:lnTo>
                  <a:pt x="190" y="206"/>
                </a:lnTo>
                <a:lnTo>
                  <a:pt x="192" y="210"/>
                </a:lnTo>
                <a:lnTo>
                  <a:pt x="192" y="212"/>
                </a:lnTo>
                <a:lnTo>
                  <a:pt x="190" y="220"/>
                </a:lnTo>
                <a:lnTo>
                  <a:pt x="186" y="228"/>
                </a:lnTo>
                <a:lnTo>
                  <a:pt x="186" y="230"/>
                </a:lnTo>
                <a:lnTo>
                  <a:pt x="186" y="232"/>
                </a:lnTo>
                <a:lnTo>
                  <a:pt x="184" y="234"/>
                </a:lnTo>
                <a:lnTo>
                  <a:pt x="182" y="236"/>
                </a:lnTo>
                <a:lnTo>
                  <a:pt x="180" y="238"/>
                </a:lnTo>
                <a:lnTo>
                  <a:pt x="182" y="246"/>
                </a:lnTo>
                <a:lnTo>
                  <a:pt x="182" y="248"/>
                </a:lnTo>
                <a:lnTo>
                  <a:pt x="186" y="250"/>
                </a:lnTo>
                <a:lnTo>
                  <a:pt x="186" y="252"/>
                </a:lnTo>
                <a:lnTo>
                  <a:pt x="188" y="254"/>
                </a:lnTo>
                <a:lnTo>
                  <a:pt x="190" y="258"/>
                </a:lnTo>
                <a:lnTo>
                  <a:pt x="192" y="260"/>
                </a:lnTo>
                <a:lnTo>
                  <a:pt x="192" y="264"/>
                </a:lnTo>
                <a:lnTo>
                  <a:pt x="194" y="266"/>
                </a:lnTo>
                <a:lnTo>
                  <a:pt x="196" y="268"/>
                </a:lnTo>
                <a:lnTo>
                  <a:pt x="198" y="268"/>
                </a:lnTo>
                <a:lnTo>
                  <a:pt x="202" y="272"/>
                </a:lnTo>
                <a:lnTo>
                  <a:pt x="202" y="274"/>
                </a:lnTo>
                <a:lnTo>
                  <a:pt x="204" y="278"/>
                </a:lnTo>
                <a:lnTo>
                  <a:pt x="202" y="280"/>
                </a:lnTo>
                <a:lnTo>
                  <a:pt x="204" y="282"/>
                </a:lnTo>
                <a:lnTo>
                  <a:pt x="206" y="282"/>
                </a:lnTo>
                <a:lnTo>
                  <a:pt x="210" y="282"/>
                </a:lnTo>
                <a:lnTo>
                  <a:pt x="214" y="282"/>
                </a:lnTo>
                <a:lnTo>
                  <a:pt x="222" y="280"/>
                </a:lnTo>
                <a:lnTo>
                  <a:pt x="224" y="284"/>
                </a:lnTo>
                <a:lnTo>
                  <a:pt x="222" y="286"/>
                </a:lnTo>
                <a:lnTo>
                  <a:pt x="222" y="292"/>
                </a:lnTo>
                <a:lnTo>
                  <a:pt x="224" y="294"/>
                </a:lnTo>
                <a:lnTo>
                  <a:pt x="224" y="296"/>
                </a:lnTo>
                <a:lnTo>
                  <a:pt x="226" y="298"/>
                </a:lnTo>
                <a:lnTo>
                  <a:pt x="228" y="300"/>
                </a:lnTo>
                <a:lnTo>
                  <a:pt x="228" y="302"/>
                </a:lnTo>
                <a:lnTo>
                  <a:pt x="228" y="308"/>
                </a:lnTo>
                <a:lnTo>
                  <a:pt x="228" y="312"/>
                </a:lnTo>
                <a:lnTo>
                  <a:pt x="232" y="316"/>
                </a:lnTo>
                <a:lnTo>
                  <a:pt x="242" y="330"/>
                </a:lnTo>
                <a:lnTo>
                  <a:pt x="244" y="334"/>
                </a:lnTo>
                <a:lnTo>
                  <a:pt x="246" y="340"/>
                </a:lnTo>
                <a:lnTo>
                  <a:pt x="248" y="346"/>
                </a:lnTo>
                <a:lnTo>
                  <a:pt x="250" y="348"/>
                </a:lnTo>
                <a:lnTo>
                  <a:pt x="256" y="354"/>
                </a:lnTo>
                <a:lnTo>
                  <a:pt x="258" y="354"/>
                </a:lnTo>
                <a:lnTo>
                  <a:pt x="262" y="354"/>
                </a:lnTo>
                <a:lnTo>
                  <a:pt x="264" y="354"/>
                </a:lnTo>
                <a:lnTo>
                  <a:pt x="266" y="358"/>
                </a:lnTo>
                <a:lnTo>
                  <a:pt x="268" y="360"/>
                </a:lnTo>
                <a:lnTo>
                  <a:pt x="264" y="360"/>
                </a:lnTo>
                <a:lnTo>
                  <a:pt x="262" y="360"/>
                </a:lnTo>
                <a:lnTo>
                  <a:pt x="260" y="360"/>
                </a:lnTo>
                <a:lnTo>
                  <a:pt x="254" y="360"/>
                </a:lnTo>
                <a:lnTo>
                  <a:pt x="252" y="362"/>
                </a:lnTo>
                <a:lnTo>
                  <a:pt x="252" y="364"/>
                </a:lnTo>
                <a:lnTo>
                  <a:pt x="246" y="362"/>
                </a:lnTo>
                <a:lnTo>
                  <a:pt x="238" y="360"/>
                </a:lnTo>
                <a:lnTo>
                  <a:pt x="236" y="358"/>
                </a:lnTo>
                <a:lnTo>
                  <a:pt x="236" y="356"/>
                </a:lnTo>
                <a:lnTo>
                  <a:pt x="234" y="356"/>
                </a:lnTo>
                <a:lnTo>
                  <a:pt x="234" y="354"/>
                </a:lnTo>
                <a:lnTo>
                  <a:pt x="230" y="356"/>
                </a:lnTo>
                <a:lnTo>
                  <a:pt x="228" y="358"/>
                </a:lnTo>
                <a:lnTo>
                  <a:pt x="226" y="358"/>
                </a:lnTo>
                <a:lnTo>
                  <a:pt x="224" y="358"/>
                </a:lnTo>
                <a:lnTo>
                  <a:pt x="222" y="358"/>
                </a:lnTo>
                <a:lnTo>
                  <a:pt x="216" y="362"/>
                </a:lnTo>
                <a:lnTo>
                  <a:pt x="216" y="364"/>
                </a:lnTo>
                <a:lnTo>
                  <a:pt x="214" y="368"/>
                </a:lnTo>
                <a:lnTo>
                  <a:pt x="210" y="372"/>
                </a:lnTo>
                <a:lnTo>
                  <a:pt x="204" y="372"/>
                </a:lnTo>
                <a:lnTo>
                  <a:pt x="202" y="372"/>
                </a:lnTo>
                <a:lnTo>
                  <a:pt x="200" y="372"/>
                </a:lnTo>
                <a:lnTo>
                  <a:pt x="198" y="372"/>
                </a:lnTo>
                <a:lnTo>
                  <a:pt x="192" y="374"/>
                </a:lnTo>
                <a:lnTo>
                  <a:pt x="186" y="378"/>
                </a:lnTo>
                <a:lnTo>
                  <a:pt x="186" y="380"/>
                </a:lnTo>
                <a:lnTo>
                  <a:pt x="184" y="384"/>
                </a:lnTo>
                <a:lnTo>
                  <a:pt x="178" y="384"/>
                </a:lnTo>
                <a:lnTo>
                  <a:pt x="170" y="380"/>
                </a:lnTo>
                <a:lnTo>
                  <a:pt x="164" y="386"/>
                </a:lnTo>
                <a:lnTo>
                  <a:pt x="158" y="386"/>
                </a:lnTo>
                <a:lnTo>
                  <a:pt x="160" y="392"/>
                </a:lnTo>
                <a:lnTo>
                  <a:pt x="158" y="394"/>
                </a:lnTo>
                <a:lnTo>
                  <a:pt x="156" y="396"/>
                </a:lnTo>
                <a:lnTo>
                  <a:pt x="154" y="396"/>
                </a:lnTo>
                <a:lnTo>
                  <a:pt x="148" y="396"/>
                </a:lnTo>
                <a:lnTo>
                  <a:pt x="146" y="396"/>
                </a:lnTo>
                <a:lnTo>
                  <a:pt x="146" y="398"/>
                </a:lnTo>
                <a:lnTo>
                  <a:pt x="144" y="400"/>
                </a:lnTo>
                <a:lnTo>
                  <a:pt x="140" y="402"/>
                </a:lnTo>
                <a:lnTo>
                  <a:pt x="138" y="400"/>
                </a:lnTo>
                <a:lnTo>
                  <a:pt x="136" y="398"/>
                </a:lnTo>
                <a:lnTo>
                  <a:pt x="136" y="396"/>
                </a:lnTo>
                <a:lnTo>
                  <a:pt x="136" y="394"/>
                </a:lnTo>
                <a:lnTo>
                  <a:pt x="134" y="394"/>
                </a:lnTo>
                <a:lnTo>
                  <a:pt x="132" y="394"/>
                </a:lnTo>
                <a:lnTo>
                  <a:pt x="126" y="392"/>
                </a:lnTo>
                <a:lnTo>
                  <a:pt x="118" y="390"/>
                </a:lnTo>
                <a:lnTo>
                  <a:pt x="108" y="380"/>
                </a:lnTo>
                <a:lnTo>
                  <a:pt x="104" y="376"/>
                </a:lnTo>
                <a:lnTo>
                  <a:pt x="102" y="374"/>
                </a:lnTo>
                <a:lnTo>
                  <a:pt x="98" y="372"/>
                </a:lnTo>
                <a:lnTo>
                  <a:pt x="96" y="372"/>
                </a:lnTo>
                <a:lnTo>
                  <a:pt x="94" y="370"/>
                </a:lnTo>
                <a:lnTo>
                  <a:pt x="96" y="368"/>
                </a:lnTo>
                <a:lnTo>
                  <a:pt x="96" y="366"/>
                </a:lnTo>
                <a:lnTo>
                  <a:pt x="92" y="364"/>
                </a:lnTo>
                <a:lnTo>
                  <a:pt x="90" y="364"/>
                </a:lnTo>
                <a:lnTo>
                  <a:pt x="90" y="362"/>
                </a:lnTo>
                <a:lnTo>
                  <a:pt x="90" y="352"/>
                </a:lnTo>
                <a:lnTo>
                  <a:pt x="92" y="344"/>
                </a:lnTo>
                <a:lnTo>
                  <a:pt x="90" y="342"/>
                </a:lnTo>
                <a:lnTo>
                  <a:pt x="88" y="340"/>
                </a:lnTo>
                <a:lnTo>
                  <a:pt x="84" y="338"/>
                </a:lnTo>
                <a:lnTo>
                  <a:pt x="82" y="336"/>
                </a:lnTo>
                <a:lnTo>
                  <a:pt x="82" y="334"/>
                </a:lnTo>
                <a:lnTo>
                  <a:pt x="82" y="332"/>
                </a:lnTo>
                <a:lnTo>
                  <a:pt x="80" y="326"/>
                </a:lnTo>
                <a:lnTo>
                  <a:pt x="80" y="324"/>
                </a:lnTo>
                <a:lnTo>
                  <a:pt x="78" y="318"/>
                </a:lnTo>
                <a:lnTo>
                  <a:pt x="78" y="310"/>
                </a:lnTo>
                <a:lnTo>
                  <a:pt x="78" y="308"/>
                </a:lnTo>
                <a:lnTo>
                  <a:pt x="78" y="300"/>
                </a:lnTo>
                <a:lnTo>
                  <a:pt x="80" y="298"/>
                </a:lnTo>
                <a:lnTo>
                  <a:pt x="80" y="292"/>
                </a:lnTo>
                <a:lnTo>
                  <a:pt x="82" y="288"/>
                </a:lnTo>
                <a:lnTo>
                  <a:pt x="84" y="286"/>
                </a:lnTo>
                <a:lnTo>
                  <a:pt x="84" y="284"/>
                </a:lnTo>
                <a:lnTo>
                  <a:pt x="86" y="282"/>
                </a:lnTo>
                <a:lnTo>
                  <a:pt x="86" y="276"/>
                </a:lnTo>
                <a:lnTo>
                  <a:pt x="84" y="274"/>
                </a:lnTo>
                <a:lnTo>
                  <a:pt x="88" y="268"/>
                </a:lnTo>
                <a:lnTo>
                  <a:pt x="94" y="262"/>
                </a:lnTo>
                <a:lnTo>
                  <a:pt x="98" y="254"/>
                </a:lnTo>
                <a:lnTo>
                  <a:pt x="98" y="248"/>
                </a:lnTo>
                <a:lnTo>
                  <a:pt x="92" y="238"/>
                </a:lnTo>
                <a:lnTo>
                  <a:pt x="90" y="238"/>
                </a:lnTo>
                <a:lnTo>
                  <a:pt x="90" y="236"/>
                </a:lnTo>
                <a:lnTo>
                  <a:pt x="90" y="232"/>
                </a:lnTo>
                <a:lnTo>
                  <a:pt x="94" y="226"/>
                </a:lnTo>
                <a:lnTo>
                  <a:pt x="90" y="224"/>
                </a:lnTo>
                <a:lnTo>
                  <a:pt x="86" y="224"/>
                </a:lnTo>
                <a:lnTo>
                  <a:pt x="78" y="220"/>
                </a:lnTo>
                <a:lnTo>
                  <a:pt x="74" y="222"/>
                </a:lnTo>
                <a:lnTo>
                  <a:pt x="68" y="220"/>
                </a:lnTo>
                <a:lnTo>
                  <a:pt x="66" y="216"/>
                </a:lnTo>
                <a:lnTo>
                  <a:pt x="68" y="216"/>
                </a:lnTo>
                <a:lnTo>
                  <a:pt x="70" y="214"/>
                </a:lnTo>
                <a:lnTo>
                  <a:pt x="72" y="214"/>
                </a:lnTo>
                <a:lnTo>
                  <a:pt x="74" y="208"/>
                </a:lnTo>
                <a:lnTo>
                  <a:pt x="76" y="202"/>
                </a:lnTo>
                <a:lnTo>
                  <a:pt x="76" y="192"/>
                </a:lnTo>
                <a:lnTo>
                  <a:pt x="74" y="188"/>
                </a:lnTo>
                <a:lnTo>
                  <a:pt x="70" y="184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4" name="Freeform 123"/>
          <p:cNvSpPr>
            <a:spLocks/>
          </p:cNvSpPr>
          <p:nvPr/>
        </p:nvSpPr>
        <p:spPr bwMode="auto">
          <a:xfrm>
            <a:off x="4639308" y="1695803"/>
            <a:ext cx="265113" cy="293688"/>
          </a:xfrm>
          <a:custGeom>
            <a:avLst/>
            <a:gdLst/>
            <a:ahLst/>
            <a:cxnLst>
              <a:cxn ang="0">
                <a:pos x="210" y="156"/>
              </a:cxn>
              <a:cxn ang="0">
                <a:pos x="212" y="168"/>
              </a:cxn>
              <a:cxn ang="0">
                <a:pos x="204" y="184"/>
              </a:cxn>
              <a:cxn ang="0">
                <a:pos x="198" y="196"/>
              </a:cxn>
              <a:cxn ang="0">
                <a:pos x="184" y="202"/>
              </a:cxn>
              <a:cxn ang="0">
                <a:pos x="180" y="194"/>
              </a:cxn>
              <a:cxn ang="0">
                <a:pos x="168" y="190"/>
              </a:cxn>
              <a:cxn ang="0">
                <a:pos x="128" y="198"/>
              </a:cxn>
              <a:cxn ang="0">
                <a:pos x="114" y="190"/>
              </a:cxn>
              <a:cxn ang="0">
                <a:pos x="106" y="206"/>
              </a:cxn>
              <a:cxn ang="0">
                <a:pos x="116" y="228"/>
              </a:cxn>
              <a:cxn ang="0">
                <a:pos x="106" y="228"/>
              </a:cxn>
              <a:cxn ang="0">
                <a:pos x="88" y="224"/>
              </a:cxn>
              <a:cxn ang="0">
                <a:pos x="78" y="218"/>
              </a:cxn>
              <a:cxn ang="0">
                <a:pos x="66" y="204"/>
              </a:cxn>
              <a:cxn ang="0">
                <a:pos x="48" y="176"/>
              </a:cxn>
              <a:cxn ang="0">
                <a:pos x="46" y="162"/>
              </a:cxn>
              <a:cxn ang="0">
                <a:pos x="42" y="150"/>
              </a:cxn>
              <a:cxn ang="0">
                <a:pos x="30" y="146"/>
              </a:cxn>
              <a:cxn ang="0">
                <a:pos x="24" y="142"/>
              </a:cxn>
              <a:cxn ang="0">
                <a:pos x="16" y="132"/>
              </a:cxn>
              <a:cxn ang="0">
                <a:pos x="10" y="122"/>
              </a:cxn>
              <a:cxn ang="0">
                <a:pos x="2" y="112"/>
              </a:cxn>
              <a:cxn ang="0">
                <a:pos x="4" y="98"/>
              </a:cxn>
              <a:cxn ang="0">
                <a:pos x="10" y="84"/>
              </a:cxn>
              <a:cxn ang="0">
                <a:pos x="8" y="68"/>
              </a:cxn>
              <a:cxn ang="0">
                <a:pos x="20" y="56"/>
              </a:cxn>
              <a:cxn ang="0">
                <a:pos x="34" y="56"/>
              </a:cxn>
              <a:cxn ang="0">
                <a:pos x="42" y="46"/>
              </a:cxn>
              <a:cxn ang="0">
                <a:pos x="46" y="44"/>
              </a:cxn>
              <a:cxn ang="0">
                <a:pos x="40" y="36"/>
              </a:cxn>
              <a:cxn ang="0">
                <a:pos x="48" y="26"/>
              </a:cxn>
              <a:cxn ang="0">
                <a:pos x="56" y="2"/>
              </a:cxn>
              <a:cxn ang="0">
                <a:pos x="80" y="4"/>
              </a:cxn>
              <a:cxn ang="0">
                <a:pos x="116" y="14"/>
              </a:cxn>
              <a:cxn ang="0">
                <a:pos x="114" y="8"/>
              </a:cxn>
              <a:cxn ang="0">
                <a:pos x="130" y="2"/>
              </a:cxn>
              <a:cxn ang="0">
                <a:pos x="146" y="2"/>
              </a:cxn>
              <a:cxn ang="0">
                <a:pos x="158" y="6"/>
              </a:cxn>
              <a:cxn ang="0">
                <a:pos x="172" y="8"/>
              </a:cxn>
              <a:cxn ang="0">
                <a:pos x="158" y="6"/>
              </a:cxn>
              <a:cxn ang="0">
                <a:pos x="166" y="0"/>
              </a:cxn>
              <a:cxn ang="0">
                <a:pos x="184" y="2"/>
              </a:cxn>
              <a:cxn ang="0">
                <a:pos x="216" y="10"/>
              </a:cxn>
              <a:cxn ang="0">
                <a:pos x="216" y="26"/>
              </a:cxn>
              <a:cxn ang="0">
                <a:pos x="210" y="36"/>
              </a:cxn>
              <a:cxn ang="0">
                <a:pos x="202" y="44"/>
              </a:cxn>
              <a:cxn ang="0">
                <a:pos x="194" y="54"/>
              </a:cxn>
              <a:cxn ang="0">
                <a:pos x="196" y="72"/>
              </a:cxn>
              <a:cxn ang="0">
                <a:pos x="194" y="82"/>
              </a:cxn>
              <a:cxn ang="0">
                <a:pos x="200" y="100"/>
              </a:cxn>
              <a:cxn ang="0">
                <a:pos x="212" y="122"/>
              </a:cxn>
              <a:cxn ang="0">
                <a:pos x="220" y="140"/>
              </a:cxn>
            </a:cxnLst>
            <a:rect l="0" t="0" r="r" b="b"/>
            <a:pathLst>
              <a:path w="220" h="230">
                <a:moveTo>
                  <a:pt x="214" y="148"/>
                </a:moveTo>
                <a:lnTo>
                  <a:pt x="214" y="150"/>
                </a:lnTo>
                <a:lnTo>
                  <a:pt x="210" y="154"/>
                </a:lnTo>
                <a:lnTo>
                  <a:pt x="210" y="156"/>
                </a:lnTo>
                <a:lnTo>
                  <a:pt x="210" y="158"/>
                </a:lnTo>
                <a:lnTo>
                  <a:pt x="210" y="160"/>
                </a:lnTo>
                <a:lnTo>
                  <a:pt x="212" y="162"/>
                </a:lnTo>
                <a:lnTo>
                  <a:pt x="212" y="168"/>
                </a:lnTo>
                <a:lnTo>
                  <a:pt x="210" y="176"/>
                </a:lnTo>
                <a:lnTo>
                  <a:pt x="210" y="178"/>
                </a:lnTo>
                <a:lnTo>
                  <a:pt x="208" y="180"/>
                </a:lnTo>
                <a:lnTo>
                  <a:pt x="204" y="184"/>
                </a:lnTo>
                <a:lnTo>
                  <a:pt x="204" y="186"/>
                </a:lnTo>
                <a:lnTo>
                  <a:pt x="202" y="192"/>
                </a:lnTo>
                <a:lnTo>
                  <a:pt x="200" y="192"/>
                </a:lnTo>
                <a:lnTo>
                  <a:pt x="198" y="196"/>
                </a:lnTo>
                <a:lnTo>
                  <a:pt x="194" y="200"/>
                </a:lnTo>
                <a:lnTo>
                  <a:pt x="188" y="202"/>
                </a:lnTo>
                <a:lnTo>
                  <a:pt x="186" y="202"/>
                </a:lnTo>
                <a:lnTo>
                  <a:pt x="184" y="202"/>
                </a:lnTo>
                <a:lnTo>
                  <a:pt x="182" y="198"/>
                </a:lnTo>
                <a:lnTo>
                  <a:pt x="184" y="198"/>
                </a:lnTo>
                <a:lnTo>
                  <a:pt x="184" y="196"/>
                </a:lnTo>
                <a:lnTo>
                  <a:pt x="180" y="194"/>
                </a:lnTo>
                <a:lnTo>
                  <a:pt x="178" y="196"/>
                </a:lnTo>
                <a:lnTo>
                  <a:pt x="176" y="196"/>
                </a:lnTo>
                <a:lnTo>
                  <a:pt x="174" y="196"/>
                </a:lnTo>
                <a:lnTo>
                  <a:pt x="168" y="190"/>
                </a:lnTo>
                <a:lnTo>
                  <a:pt x="162" y="190"/>
                </a:lnTo>
                <a:lnTo>
                  <a:pt x="160" y="192"/>
                </a:lnTo>
                <a:lnTo>
                  <a:pt x="140" y="196"/>
                </a:lnTo>
                <a:lnTo>
                  <a:pt x="128" y="198"/>
                </a:lnTo>
                <a:lnTo>
                  <a:pt x="120" y="194"/>
                </a:lnTo>
                <a:lnTo>
                  <a:pt x="118" y="192"/>
                </a:lnTo>
                <a:lnTo>
                  <a:pt x="116" y="192"/>
                </a:lnTo>
                <a:lnTo>
                  <a:pt x="114" y="190"/>
                </a:lnTo>
                <a:lnTo>
                  <a:pt x="114" y="192"/>
                </a:lnTo>
                <a:lnTo>
                  <a:pt x="112" y="196"/>
                </a:lnTo>
                <a:lnTo>
                  <a:pt x="108" y="200"/>
                </a:lnTo>
                <a:lnTo>
                  <a:pt x="106" y="206"/>
                </a:lnTo>
                <a:lnTo>
                  <a:pt x="110" y="208"/>
                </a:lnTo>
                <a:lnTo>
                  <a:pt x="118" y="218"/>
                </a:lnTo>
                <a:lnTo>
                  <a:pt x="118" y="226"/>
                </a:lnTo>
                <a:lnTo>
                  <a:pt x="116" y="228"/>
                </a:lnTo>
                <a:lnTo>
                  <a:pt x="114" y="230"/>
                </a:lnTo>
                <a:lnTo>
                  <a:pt x="112" y="230"/>
                </a:lnTo>
                <a:lnTo>
                  <a:pt x="110" y="228"/>
                </a:lnTo>
                <a:lnTo>
                  <a:pt x="106" y="228"/>
                </a:lnTo>
                <a:lnTo>
                  <a:pt x="102" y="226"/>
                </a:lnTo>
                <a:lnTo>
                  <a:pt x="96" y="224"/>
                </a:lnTo>
                <a:lnTo>
                  <a:pt x="90" y="224"/>
                </a:lnTo>
                <a:lnTo>
                  <a:pt x="88" y="224"/>
                </a:lnTo>
                <a:lnTo>
                  <a:pt x="86" y="222"/>
                </a:lnTo>
                <a:lnTo>
                  <a:pt x="84" y="218"/>
                </a:lnTo>
                <a:lnTo>
                  <a:pt x="82" y="218"/>
                </a:lnTo>
                <a:lnTo>
                  <a:pt x="78" y="218"/>
                </a:lnTo>
                <a:lnTo>
                  <a:pt x="76" y="218"/>
                </a:lnTo>
                <a:lnTo>
                  <a:pt x="70" y="212"/>
                </a:lnTo>
                <a:lnTo>
                  <a:pt x="68" y="210"/>
                </a:lnTo>
                <a:lnTo>
                  <a:pt x="66" y="204"/>
                </a:lnTo>
                <a:lnTo>
                  <a:pt x="64" y="198"/>
                </a:lnTo>
                <a:lnTo>
                  <a:pt x="62" y="194"/>
                </a:lnTo>
                <a:lnTo>
                  <a:pt x="52" y="180"/>
                </a:lnTo>
                <a:lnTo>
                  <a:pt x="48" y="176"/>
                </a:lnTo>
                <a:lnTo>
                  <a:pt x="48" y="172"/>
                </a:lnTo>
                <a:lnTo>
                  <a:pt x="48" y="166"/>
                </a:lnTo>
                <a:lnTo>
                  <a:pt x="48" y="164"/>
                </a:lnTo>
                <a:lnTo>
                  <a:pt x="46" y="162"/>
                </a:lnTo>
                <a:lnTo>
                  <a:pt x="44" y="160"/>
                </a:lnTo>
                <a:lnTo>
                  <a:pt x="44" y="158"/>
                </a:lnTo>
                <a:lnTo>
                  <a:pt x="42" y="156"/>
                </a:lnTo>
                <a:lnTo>
                  <a:pt x="42" y="150"/>
                </a:lnTo>
                <a:lnTo>
                  <a:pt x="44" y="148"/>
                </a:lnTo>
                <a:lnTo>
                  <a:pt x="42" y="144"/>
                </a:lnTo>
                <a:lnTo>
                  <a:pt x="34" y="146"/>
                </a:lnTo>
                <a:lnTo>
                  <a:pt x="30" y="146"/>
                </a:lnTo>
                <a:lnTo>
                  <a:pt x="26" y="146"/>
                </a:lnTo>
                <a:lnTo>
                  <a:pt x="24" y="146"/>
                </a:lnTo>
                <a:lnTo>
                  <a:pt x="22" y="144"/>
                </a:lnTo>
                <a:lnTo>
                  <a:pt x="24" y="142"/>
                </a:lnTo>
                <a:lnTo>
                  <a:pt x="22" y="138"/>
                </a:lnTo>
                <a:lnTo>
                  <a:pt x="22" y="136"/>
                </a:lnTo>
                <a:lnTo>
                  <a:pt x="18" y="132"/>
                </a:lnTo>
                <a:lnTo>
                  <a:pt x="16" y="132"/>
                </a:lnTo>
                <a:lnTo>
                  <a:pt x="14" y="130"/>
                </a:lnTo>
                <a:lnTo>
                  <a:pt x="12" y="128"/>
                </a:lnTo>
                <a:lnTo>
                  <a:pt x="12" y="124"/>
                </a:lnTo>
                <a:lnTo>
                  <a:pt x="10" y="122"/>
                </a:lnTo>
                <a:lnTo>
                  <a:pt x="8" y="118"/>
                </a:lnTo>
                <a:lnTo>
                  <a:pt x="6" y="116"/>
                </a:lnTo>
                <a:lnTo>
                  <a:pt x="6" y="114"/>
                </a:lnTo>
                <a:lnTo>
                  <a:pt x="2" y="112"/>
                </a:lnTo>
                <a:lnTo>
                  <a:pt x="2" y="110"/>
                </a:lnTo>
                <a:lnTo>
                  <a:pt x="0" y="102"/>
                </a:lnTo>
                <a:lnTo>
                  <a:pt x="2" y="100"/>
                </a:lnTo>
                <a:lnTo>
                  <a:pt x="4" y="98"/>
                </a:lnTo>
                <a:lnTo>
                  <a:pt x="6" y="96"/>
                </a:lnTo>
                <a:lnTo>
                  <a:pt x="6" y="94"/>
                </a:lnTo>
                <a:lnTo>
                  <a:pt x="6" y="92"/>
                </a:lnTo>
                <a:lnTo>
                  <a:pt x="10" y="84"/>
                </a:lnTo>
                <a:lnTo>
                  <a:pt x="12" y="76"/>
                </a:lnTo>
                <a:lnTo>
                  <a:pt x="12" y="74"/>
                </a:lnTo>
                <a:lnTo>
                  <a:pt x="10" y="70"/>
                </a:lnTo>
                <a:lnTo>
                  <a:pt x="8" y="68"/>
                </a:lnTo>
                <a:lnTo>
                  <a:pt x="8" y="66"/>
                </a:lnTo>
                <a:lnTo>
                  <a:pt x="8" y="64"/>
                </a:lnTo>
                <a:lnTo>
                  <a:pt x="12" y="60"/>
                </a:lnTo>
                <a:lnTo>
                  <a:pt x="20" y="56"/>
                </a:lnTo>
                <a:lnTo>
                  <a:pt x="22" y="56"/>
                </a:lnTo>
                <a:lnTo>
                  <a:pt x="24" y="56"/>
                </a:lnTo>
                <a:lnTo>
                  <a:pt x="32" y="56"/>
                </a:lnTo>
                <a:lnTo>
                  <a:pt x="34" y="56"/>
                </a:lnTo>
                <a:lnTo>
                  <a:pt x="40" y="54"/>
                </a:lnTo>
                <a:lnTo>
                  <a:pt x="40" y="52"/>
                </a:lnTo>
                <a:lnTo>
                  <a:pt x="42" y="48"/>
                </a:lnTo>
                <a:lnTo>
                  <a:pt x="42" y="46"/>
                </a:lnTo>
                <a:lnTo>
                  <a:pt x="44" y="46"/>
                </a:lnTo>
                <a:lnTo>
                  <a:pt x="44" y="48"/>
                </a:lnTo>
                <a:lnTo>
                  <a:pt x="46" y="46"/>
                </a:lnTo>
                <a:lnTo>
                  <a:pt x="46" y="44"/>
                </a:lnTo>
                <a:lnTo>
                  <a:pt x="44" y="42"/>
                </a:lnTo>
                <a:lnTo>
                  <a:pt x="42" y="44"/>
                </a:lnTo>
                <a:lnTo>
                  <a:pt x="40" y="40"/>
                </a:lnTo>
                <a:lnTo>
                  <a:pt x="40" y="36"/>
                </a:lnTo>
                <a:lnTo>
                  <a:pt x="42" y="34"/>
                </a:lnTo>
                <a:lnTo>
                  <a:pt x="44" y="30"/>
                </a:lnTo>
                <a:lnTo>
                  <a:pt x="48" y="28"/>
                </a:lnTo>
                <a:lnTo>
                  <a:pt x="48" y="26"/>
                </a:lnTo>
                <a:lnTo>
                  <a:pt x="48" y="18"/>
                </a:lnTo>
                <a:lnTo>
                  <a:pt x="48" y="14"/>
                </a:lnTo>
                <a:lnTo>
                  <a:pt x="52" y="4"/>
                </a:lnTo>
                <a:lnTo>
                  <a:pt x="56" y="2"/>
                </a:lnTo>
                <a:lnTo>
                  <a:pt x="58" y="2"/>
                </a:lnTo>
                <a:lnTo>
                  <a:pt x="72" y="2"/>
                </a:lnTo>
                <a:lnTo>
                  <a:pt x="78" y="4"/>
                </a:lnTo>
                <a:lnTo>
                  <a:pt x="80" y="4"/>
                </a:lnTo>
                <a:lnTo>
                  <a:pt x="84" y="4"/>
                </a:lnTo>
                <a:lnTo>
                  <a:pt x="96" y="6"/>
                </a:lnTo>
                <a:lnTo>
                  <a:pt x="110" y="10"/>
                </a:lnTo>
                <a:lnTo>
                  <a:pt x="116" y="14"/>
                </a:lnTo>
                <a:lnTo>
                  <a:pt x="116" y="18"/>
                </a:lnTo>
                <a:lnTo>
                  <a:pt x="118" y="16"/>
                </a:lnTo>
                <a:lnTo>
                  <a:pt x="116" y="14"/>
                </a:lnTo>
                <a:lnTo>
                  <a:pt x="114" y="8"/>
                </a:lnTo>
                <a:lnTo>
                  <a:pt x="118" y="4"/>
                </a:lnTo>
                <a:lnTo>
                  <a:pt x="120" y="2"/>
                </a:lnTo>
                <a:lnTo>
                  <a:pt x="122" y="2"/>
                </a:lnTo>
                <a:lnTo>
                  <a:pt x="130" y="2"/>
                </a:lnTo>
                <a:lnTo>
                  <a:pt x="134" y="2"/>
                </a:lnTo>
                <a:lnTo>
                  <a:pt x="142" y="2"/>
                </a:lnTo>
                <a:lnTo>
                  <a:pt x="144" y="2"/>
                </a:lnTo>
                <a:lnTo>
                  <a:pt x="146" y="2"/>
                </a:lnTo>
                <a:lnTo>
                  <a:pt x="150" y="4"/>
                </a:lnTo>
                <a:lnTo>
                  <a:pt x="152" y="6"/>
                </a:lnTo>
                <a:lnTo>
                  <a:pt x="154" y="6"/>
                </a:lnTo>
                <a:lnTo>
                  <a:pt x="158" y="6"/>
                </a:lnTo>
                <a:lnTo>
                  <a:pt x="158" y="10"/>
                </a:lnTo>
                <a:lnTo>
                  <a:pt x="164" y="8"/>
                </a:lnTo>
                <a:lnTo>
                  <a:pt x="166" y="8"/>
                </a:lnTo>
                <a:lnTo>
                  <a:pt x="172" y="8"/>
                </a:lnTo>
                <a:lnTo>
                  <a:pt x="170" y="6"/>
                </a:lnTo>
                <a:lnTo>
                  <a:pt x="166" y="8"/>
                </a:lnTo>
                <a:lnTo>
                  <a:pt x="164" y="8"/>
                </a:lnTo>
                <a:lnTo>
                  <a:pt x="158" y="6"/>
                </a:lnTo>
                <a:lnTo>
                  <a:pt x="156" y="4"/>
                </a:lnTo>
                <a:lnTo>
                  <a:pt x="156" y="2"/>
                </a:lnTo>
                <a:lnTo>
                  <a:pt x="162" y="0"/>
                </a:lnTo>
                <a:lnTo>
                  <a:pt x="166" y="0"/>
                </a:lnTo>
                <a:lnTo>
                  <a:pt x="170" y="0"/>
                </a:lnTo>
                <a:lnTo>
                  <a:pt x="176" y="0"/>
                </a:lnTo>
                <a:lnTo>
                  <a:pt x="180" y="2"/>
                </a:lnTo>
                <a:lnTo>
                  <a:pt x="184" y="2"/>
                </a:lnTo>
                <a:lnTo>
                  <a:pt x="200" y="4"/>
                </a:lnTo>
                <a:lnTo>
                  <a:pt x="202" y="6"/>
                </a:lnTo>
                <a:lnTo>
                  <a:pt x="208" y="6"/>
                </a:lnTo>
                <a:lnTo>
                  <a:pt x="216" y="10"/>
                </a:lnTo>
                <a:lnTo>
                  <a:pt x="218" y="14"/>
                </a:lnTo>
                <a:lnTo>
                  <a:pt x="216" y="18"/>
                </a:lnTo>
                <a:lnTo>
                  <a:pt x="216" y="22"/>
                </a:lnTo>
                <a:lnTo>
                  <a:pt x="216" y="26"/>
                </a:lnTo>
                <a:lnTo>
                  <a:pt x="214" y="28"/>
                </a:lnTo>
                <a:lnTo>
                  <a:pt x="214" y="30"/>
                </a:lnTo>
                <a:lnTo>
                  <a:pt x="212" y="32"/>
                </a:lnTo>
                <a:lnTo>
                  <a:pt x="210" y="36"/>
                </a:lnTo>
                <a:lnTo>
                  <a:pt x="208" y="36"/>
                </a:lnTo>
                <a:lnTo>
                  <a:pt x="206" y="38"/>
                </a:lnTo>
                <a:lnTo>
                  <a:pt x="204" y="40"/>
                </a:lnTo>
                <a:lnTo>
                  <a:pt x="202" y="44"/>
                </a:lnTo>
                <a:lnTo>
                  <a:pt x="200" y="46"/>
                </a:lnTo>
                <a:lnTo>
                  <a:pt x="198" y="48"/>
                </a:lnTo>
                <a:lnTo>
                  <a:pt x="196" y="50"/>
                </a:lnTo>
                <a:lnTo>
                  <a:pt x="194" y="54"/>
                </a:lnTo>
                <a:lnTo>
                  <a:pt x="194" y="62"/>
                </a:lnTo>
                <a:lnTo>
                  <a:pt x="194" y="68"/>
                </a:lnTo>
                <a:lnTo>
                  <a:pt x="194" y="70"/>
                </a:lnTo>
                <a:lnTo>
                  <a:pt x="196" y="72"/>
                </a:lnTo>
                <a:lnTo>
                  <a:pt x="196" y="76"/>
                </a:lnTo>
                <a:lnTo>
                  <a:pt x="196" y="78"/>
                </a:lnTo>
                <a:lnTo>
                  <a:pt x="196" y="80"/>
                </a:lnTo>
                <a:lnTo>
                  <a:pt x="194" y="82"/>
                </a:lnTo>
                <a:lnTo>
                  <a:pt x="196" y="88"/>
                </a:lnTo>
                <a:lnTo>
                  <a:pt x="196" y="90"/>
                </a:lnTo>
                <a:lnTo>
                  <a:pt x="198" y="96"/>
                </a:lnTo>
                <a:lnTo>
                  <a:pt x="200" y="100"/>
                </a:lnTo>
                <a:lnTo>
                  <a:pt x="200" y="106"/>
                </a:lnTo>
                <a:lnTo>
                  <a:pt x="204" y="114"/>
                </a:lnTo>
                <a:lnTo>
                  <a:pt x="210" y="120"/>
                </a:lnTo>
                <a:lnTo>
                  <a:pt x="212" y="122"/>
                </a:lnTo>
                <a:lnTo>
                  <a:pt x="214" y="122"/>
                </a:lnTo>
                <a:lnTo>
                  <a:pt x="220" y="130"/>
                </a:lnTo>
                <a:lnTo>
                  <a:pt x="220" y="132"/>
                </a:lnTo>
                <a:lnTo>
                  <a:pt x="220" y="140"/>
                </a:lnTo>
                <a:lnTo>
                  <a:pt x="216" y="148"/>
                </a:lnTo>
                <a:lnTo>
                  <a:pt x="214" y="148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5" name="Freeform 124"/>
          <p:cNvSpPr>
            <a:spLocks/>
          </p:cNvSpPr>
          <p:nvPr/>
        </p:nvSpPr>
        <p:spPr bwMode="auto">
          <a:xfrm>
            <a:off x="4866315" y="1714853"/>
            <a:ext cx="190500" cy="255588"/>
          </a:xfrm>
          <a:custGeom>
            <a:avLst/>
            <a:gdLst/>
            <a:ahLst/>
            <a:cxnLst>
              <a:cxn ang="0">
                <a:pos x="10" y="182"/>
              </a:cxn>
              <a:cxn ang="0">
                <a:pos x="16" y="172"/>
              </a:cxn>
              <a:cxn ang="0">
                <a:pos x="22" y="164"/>
              </a:cxn>
              <a:cxn ang="0">
                <a:pos x="24" y="148"/>
              </a:cxn>
              <a:cxn ang="0">
                <a:pos x="22" y="142"/>
              </a:cxn>
              <a:cxn ang="0">
                <a:pos x="26" y="134"/>
              </a:cxn>
              <a:cxn ang="0">
                <a:pos x="32" y="118"/>
              </a:cxn>
              <a:cxn ang="0">
                <a:pos x="24" y="108"/>
              </a:cxn>
              <a:cxn ang="0">
                <a:pos x="12" y="92"/>
              </a:cxn>
              <a:cxn ang="0">
                <a:pos x="8" y="76"/>
              </a:cxn>
              <a:cxn ang="0">
                <a:pos x="8" y="66"/>
              </a:cxn>
              <a:cxn ang="0">
                <a:pos x="8" y="58"/>
              </a:cxn>
              <a:cxn ang="0">
                <a:pos x="6" y="48"/>
              </a:cxn>
              <a:cxn ang="0">
                <a:pos x="10" y="34"/>
              </a:cxn>
              <a:cxn ang="0">
                <a:pos x="16" y="26"/>
              </a:cxn>
              <a:cxn ang="0">
                <a:pos x="22" y="22"/>
              </a:cxn>
              <a:cxn ang="0">
                <a:pos x="28" y="16"/>
              </a:cxn>
              <a:cxn ang="0">
                <a:pos x="30" y="4"/>
              </a:cxn>
              <a:cxn ang="0">
                <a:pos x="38" y="0"/>
              </a:cxn>
              <a:cxn ang="0">
                <a:pos x="56" y="6"/>
              </a:cxn>
              <a:cxn ang="0">
                <a:pos x="68" y="12"/>
              </a:cxn>
              <a:cxn ang="0">
                <a:pos x="86" y="14"/>
              </a:cxn>
              <a:cxn ang="0">
                <a:pos x="96" y="20"/>
              </a:cxn>
              <a:cxn ang="0">
                <a:pos x="106" y="32"/>
              </a:cxn>
              <a:cxn ang="0">
                <a:pos x="120" y="42"/>
              </a:cxn>
              <a:cxn ang="0">
                <a:pos x="138" y="56"/>
              </a:cxn>
              <a:cxn ang="0">
                <a:pos x="140" y="62"/>
              </a:cxn>
              <a:cxn ang="0">
                <a:pos x="142" y="72"/>
              </a:cxn>
              <a:cxn ang="0">
                <a:pos x="138" y="76"/>
              </a:cxn>
              <a:cxn ang="0">
                <a:pos x="144" y="72"/>
              </a:cxn>
              <a:cxn ang="0">
                <a:pos x="144" y="66"/>
              </a:cxn>
              <a:cxn ang="0">
                <a:pos x="144" y="58"/>
              </a:cxn>
              <a:cxn ang="0">
                <a:pos x="152" y="64"/>
              </a:cxn>
              <a:cxn ang="0">
                <a:pos x="154" y="70"/>
              </a:cxn>
              <a:cxn ang="0">
                <a:pos x="156" y="78"/>
              </a:cxn>
              <a:cxn ang="0">
                <a:pos x="158" y="84"/>
              </a:cxn>
              <a:cxn ang="0">
                <a:pos x="158" y="90"/>
              </a:cxn>
              <a:cxn ang="0">
                <a:pos x="154" y="94"/>
              </a:cxn>
              <a:cxn ang="0">
                <a:pos x="150" y="102"/>
              </a:cxn>
              <a:cxn ang="0">
                <a:pos x="142" y="110"/>
              </a:cxn>
              <a:cxn ang="0">
                <a:pos x="136" y="126"/>
              </a:cxn>
              <a:cxn ang="0">
                <a:pos x="126" y="136"/>
              </a:cxn>
              <a:cxn ang="0">
                <a:pos x="122" y="146"/>
              </a:cxn>
              <a:cxn ang="0">
                <a:pos x="118" y="154"/>
              </a:cxn>
              <a:cxn ang="0">
                <a:pos x="112" y="170"/>
              </a:cxn>
              <a:cxn ang="0">
                <a:pos x="110" y="176"/>
              </a:cxn>
              <a:cxn ang="0">
                <a:pos x="100" y="188"/>
              </a:cxn>
              <a:cxn ang="0">
                <a:pos x="90" y="196"/>
              </a:cxn>
              <a:cxn ang="0">
                <a:pos x="84" y="194"/>
              </a:cxn>
              <a:cxn ang="0">
                <a:pos x="76" y="194"/>
              </a:cxn>
              <a:cxn ang="0">
                <a:pos x="72" y="188"/>
              </a:cxn>
              <a:cxn ang="0">
                <a:pos x="68" y="188"/>
              </a:cxn>
              <a:cxn ang="0">
                <a:pos x="48" y="188"/>
              </a:cxn>
              <a:cxn ang="0">
                <a:pos x="44" y="186"/>
              </a:cxn>
              <a:cxn ang="0">
                <a:pos x="36" y="194"/>
              </a:cxn>
              <a:cxn ang="0">
                <a:pos x="8" y="194"/>
              </a:cxn>
              <a:cxn ang="0">
                <a:pos x="4" y="188"/>
              </a:cxn>
            </a:cxnLst>
            <a:rect l="0" t="0" r="r" b="b"/>
            <a:pathLst>
              <a:path w="158" h="200">
                <a:moveTo>
                  <a:pt x="0" y="188"/>
                </a:moveTo>
                <a:lnTo>
                  <a:pt x="6" y="186"/>
                </a:lnTo>
                <a:lnTo>
                  <a:pt x="10" y="182"/>
                </a:lnTo>
                <a:lnTo>
                  <a:pt x="12" y="178"/>
                </a:lnTo>
                <a:lnTo>
                  <a:pt x="14" y="178"/>
                </a:lnTo>
                <a:lnTo>
                  <a:pt x="16" y="172"/>
                </a:lnTo>
                <a:lnTo>
                  <a:pt x="16" y="170"/>
                </a:lnTo>
                <a:lnTo>
                  <a:pt x="20" y="166"/>
                </a:lnTo>
                <a:lnTo>
                  <a:pt x="22" y="164"/>
                </a:lnTo>
                <a:lnTo>
                  <a:pt x="22" y="162"/>
                </a:lnTo>
                <a:lnTo>
                  <a:pt x="24" y="154"/>
                </a:lnTo>
                <a:lnTo>
                  <a:pt x="24" y="148"/>
                </a:lnTo>
                <a:lnTo>
                  <a:pt x="22" y="146"/>
                </a:lnTo>
                <a:lnTo>
                  <a:pt x="22" y="144"/>
                </a:lnTo>
                <a:lnTo>
                  <a:pt x="22" y="142"/>
                </a:lnTo>
                <a:lnTo>
                  <a:pt x="22" y="140"/>
                </a:lnTo>
                <a:lnTo>
                  <a:pt x="26" y="136"/>
                </a:lnTo>
                <a:lnTo>
                  <a:pt x="26" y="134"/>
                </a:lnTo>
                <a:lnTo>
                  <a:pt x="28" y="134"/>
                </a:lnTo>
                <a:lnTo>
                  <a:pt x="32" y="126"/>
                </a:lnTo>
                <a:lnTo>
                  <a:pt x="32" y="118"/>
                </a:lnTo>
                <a:lnTo>
                  <a:pt x="32" y="116"/>
                </a:lnTo>
                <a:lnTo>
                  <a:pt x="26" y="108"/>
                </a:lnTo>
                <a:lnTo>
                  <a:pt x="24" y="108"/>
                </a:lnTo>
                <a:lnTo>
                  <a:pt x="22" y="106"/>
                </a:lnTo>
                <a:lnTo>
                  <a:pt x="16" y="100"/>
                </a:lnTo>
                <a:lnTo>
                  <a:pt x="12" y="92"/>
                </a:lnTo>
                <a:lnTo>
                  <a:pt x="12" y="86"/>
                </a:lnTo>
                <a:lnTo>
                  <a:pt x="10" y="82"/>
                </a:lnTo>
                <a:lnTo>
                  <a:pt x="8" y="76"/>
                </a:lnTo>
                <a:lnTo>
                  <a:pt x="8" y="74"/>
                </a:lnTo>
                <a:lnTo>
                  <a:pt x="6" y="68"/>
                </a:lnTo>
                <a:lnTo>
                  <a:pt x="8" y="66"/>
                </a:lnTo>
                <a:lnTo>
                  <a:pt x="8" y="64"/>
                </a:lnTo>
                <a:lnTo>
                  <a:pt x="8" y="62"/>
                </a:lnTo>
                <a:lnTo>
                  <a:pt x="8" y="58"/>
                </a:lnTo>
                <a:lnTo>
                  <a:pt x="6" y="56"/>
                </a:lnTo>
                <a:lnTo>
                  <a:pt x="6" y="54"/>
                </a:lnTo>
                <a:lnTo>
                  <a:pt x="6" y="48"/>
                </a:lnTo>
                <a:lnTo>
                  <a:pt x="6" y="40"/>
                </a:lnTo>
                <a:lnTo>
                  <a:pt x="8" y="36"/>
                </a:lnTo>
                <a:lnTo>
                  <a:pt x="10" y="34"/>
                </a:lnTo>
                <a:lnTo>
                  <a:pt x="12" y="32"/>
                </a:lnTo>
                <a:lnTo>
                  <a:pt x="14" y="30"/>
                </a:lnTo>
                <a:lnTo>
                  <a:pt x="16" y="26"/>
                </a:lnTo>
                <a:lnTo>
                  <a:pt x="18" y="24"/>
                </a:lnTo>
                <a:lnTo>
                  <a:pt x="20" y="22"/>
                </a:lnTo>
                <a:lnTo>
                  <a:pt x="22" y="22"/>
                </a:lnTo>
                <a:lnTo>
                  <a:pt x="24" y="20"/>
                </a:lnTo>
                <a:lnTo>
                  <a:pt x="26" y="18"/>
                </a:lnTo>
                <a:lnTo>
                  <a:pt x="28" y="16"/>
                </a:lnTo>
                <a:lnTo>
                  <a:pt x="30" y="10"/>
                </a:lnTo>
                <a:lnTo>
                  <a:pt x="30" y="8"/>
                </a:lnTo>
                <a:lnTo>
                  <a:pt x="30" y="4"/>
                </a:lnTo>
                <a:lnTo>
                  <a:pt x="32" y="2"/>
                </a:lnTo>
                <a:lnTo>
                  <a:pt x="34" y="0"/>
                </a:lnTo>
                <a:lnTo>
                  <a:pt x="38" y="0"/>
                </a:lnTo>
                <a:lnTo>
                  <a:pt x="44" y="0"/>
                </a:lnTo>
                <a:lnTo>
                  <a:pt x="50" y="2"/>
                </a:lnTo>
                <a:lnTo>
                  <a:pt x="56" y="6"/>
                </a:lnTo>
                <a:lnTo>
                  <a:pt x="58" y="8"/>
                </a:lnTo>
                <a:lnTo>
                  <a:pt x="62" y="10"/>
                </a:lnTo>
                <a:lnTo>
                  <a:pt x="68" y="12"/>
                </a:lnTo>
                <a:lnTo>
                  <a:pt x="74" y="12"/>
                </a:lnTo>
                <a:lnTo>
                  <a:pt x="80" y="14"/>
                </a:lnTo>
                <a:lnTo>
                  <a:pt x="86" y="14"/>
                </a:lnTo>
                <a:lnTo>
                  <a:pt x="88" y="14"/>
                </a:lnTo>
                <a:lnTo>
                  <a:pt x="90" y="18"/>
                </a:lnTo>
                <a:lnTo>
                  <a:pt x="96" y="20"/>
                </a:lnTo>
                <a:lnTo>
                  <a:pt x="96" y="22"/>
                </a:lnTo>
                <a:lnTo>
                  <a:pt x="100" y="26"/>
                </a:lnTo>
                <a:lnTo>
                  <a:pt x="106" y="32"/>
                </a:lnTo>
                <a:lnTo>
                  <a:pt x="108" y="34"/>
                </a:lnTo>
                <a:lnTo>
                  <a:pt x="116" y="40"/>
                </a:lnTo>
                <a:lnTo>
                  <a:pt x="120" y="42"/>
                </a:lnTo>
                <a:lnTo>
                  <a:pt x="124" y="42"/>
                </a:lnTo>
                <a:lnTo>
                  <a:pt x="136" y="54"/>
                </a:lnTo>
                <a:lnTo>
                  <a:pt x="138" y="56"/>
                </a:lnTo>
                <a:lnTo>
                  <a:pt x="140" y="58"/>
                </a:lnTo>
                <a:lnTo>
                  <a:pt x="140" y="60"/>
                </a:lnTo>
                <a:lnTo>
                  <a:pt x="140" y="62"/>
                </a:lnTo>
                <a:lnTo>
                  <a:pt x="142" y="68"/>
                </a:lnTo>
                <a:lnTo>
                  <a:pt x="142" y="70"/>
                </a:lnTo>
                <a:lnTo>
                  <a:pt x="142" y="72"/>
                </a:lnTo>
                <a:lnTo>
                  <a:pt x="140" y="74"/>
                </a:lnTo>
                <a:lnTo>
                  <a:pt x="138" y="74"/>
                </a:lnTo>
                <a:lnTo>
                  <a:pt x="138" y="76"/>
                </a:lnTo>
                <a:lnTo>
                  <a:pt x="140" y="76"/>
                </a:lnTo>
                <a:lnTo>
                  <a:pt x="142" y="74"/>
                </a:lnTo>
                <a:lnTo>
                  <a:pt x="144" y="72"/>
                </a:lnTo>
                <a:lnTo>
                  <a:pt x="144" y="70"/>
                </a:lnTo>
                <a:lnTo>
                  <a:pt x="144" y="68"/>
                </a:lnTo>
                <a:lnTo>
                  <a:pt x="144" y="66"/>
                </a:lnTo>
                <a:lnTo>
                  <a:pt x="144" y="64"/>
                </a:lnTo>
                <a:lnTo>
                  <a:pt x="144" y="60"/>
                </a:lnTo>
                <a:lnTo>
                  <a:pt x="144" y="58"/>
                </a:lnTo>
                <a:lnTo>
                  <a:pt x="146" y="58"/>
                </a:lnTo>
                <a:lnTo>
                  <a:pt x="150" y="60"/>
                </a:lnTo>
                <a:lnTo>
                  <a:pt x="152" y="64"/>
                </a:lnTo>
                <a:lnTo>
                  <a:pt x="152" y="68"/>
                </a:lnTo>
                <a:lnTo>
                  <a:pt x="154" y="68"/>
                </a:lnTo>
                <a:lnTo>
                  <a:pt x="154" y="70"/>
                </a:lnTo>
                <a:lnTo>
                  <a:pt x="154" y="72"/>
                </a:lnTo>
                <a:lnTo>
                  <a:pt x="154" y="76"/>
                </a:lnTo>
                <a:lnTo>
                  <a:pt x="156" y="78"/>
                </a:lnTo>
                <a:lnTo>
                  <a:pt x="158" y="80"/>
                </a:lnTo>
                <a:lnTo>
                  <a:pt x="158" y="82"/>
                </a:lnTo>
                <a:lnTo>
                  <a:pt x="158" y="84"/>
                </a:lnTo>
                <a:lnTo>
                  <a:pt x="158" y="86"/>
                </a:lnTo>
                <a:lnTo>
                  <a:pt x="158" y="88"/>
                </a:lnTo>
                <a:lnTo>
                  <a:pt x="158" y="90"/>
                </a:lnTo>
                <a:lnTo>
                  <a:pt x="158" y="92"/>
                </a:lnTo>
                <a:lnTo>
                  <a:pt x="156" y="92"/>
                </a:lnTo>
                <a:lnTo>
                  <a:pt x="154" y="94"/>
                </a:lnTo>
                <a:lnTo>
                  <a:pt x="152" y="96"/>
                </a:lnTo>
                <a:lnTo>
                  <a:pt x="152" y="100"/>
                </a:lnTo>
                <a:lnTo>
                  <a:pt x="150" y="102"/>
                </a:lnTo>
                <a:lnTo>
                  <a:pt x="146" y="106"/>
                </a:lnTo>
                <a:lnTo>
                  <a:pt x="144" y="108"/>
                </a:lnTo>
                <a:lnTo>
                  <a:pt x="142" y="110"/>
                </a:lnTo>
                <a:lnTo>
                  <a:pt x="140" y="114"/>
                </a:lnTo>
                <a:lnTo>
                  <a:pt x="140" y="116"/>
                </a:lnTo>
                <a:lnTo>
                  <a:pt x="136" y="126"/>
                </a:lnTo>
                <a:lnTo>
                  <a:pt x="132" y="130"/>
                </a:lnTo>
                <a:lnTo>
                  <a:pt x="128" y="136"/>
                </a:lnTo>
                <a:lnTo>
                  <a:pt x="126" y="136"/>
                </a:lnTo>
                <a:lnTo>
                  <a:pt x="122" y="142"/>
                </a:lnTo>
                <a:lnTo>
                  <a:pt x="122" y="144"/>
                </a:lnTo>
                <a:lnTo>
                  <a:pt x="122" y="146"/>
                </a:lnTo>
                <a:lnTo>
                  <a:pt x="122" y="148"/>
                </a:lnTo>
                <a:lnTo>
                  <a:pt x="120" y="152"/>
                </a:lnTo>
                <a:lnTo>
                  <a:pt x="118" y="154"/>
                </a:lnTo>
                <a:lnTo>
                  <a:pt x="116" y="160"/>
                </a:lnTo>
                <a:lnTo>
                  <a:pt x="114" y="166"/>
                </a:lnTo>
                <a:lnTo>
                  <a:pt x="112" y="170"/>
                </a:lnTo>
                <a:lnTo>
                  <a:pt x="112" y="172"/>
                </a:lnTo>
                <a:lnTo>
                  <a:pt x="112" y="174"/>
                </a:lnTo>
                <a:lnTo>
                  <a:pt x="110" y="176"/>
                </a:lnTo>
                <a:lnTo>
                  <a:pt x="110" y="180"/>
                </a:lnTo>
                <a:lnTo>
                  <a:pt x="104" y="184"/>
                </a:lnTo>
                <a:lnTo>
                  <a:pt x="100" y="188"/>
                </a:lnTo>
                <a:lnTo>
                  <a:pt x="94" y="194"/>
                </a:lnTo>
                <a:lnTo>
                  <a:pt x="92" y="194"/>
                </a:lnTo>
                <a:lnTo>
                  <a:pt x="90" y="196"/>
                </a:lnTo>
                <a:lnTo>
                  <a:pt x="88" y="196"/>
                </a:lnTo>
                <a:lnTo>
                  <a:pt x="84" y="196"/>
                </a:lnTo>
                <a:lnTo>
                  <a:pt x="84" y="194"/>
                </a:lnTo>
                <a:lnTo>
                  <a:pt x="82" y="194"/>
                </a:lnTo>
                <a:lnTo>
                  <a:pt x="80" y="194"/>
                </a:lnTo>
                <a:lnTo>
                  <a:pt x="76" y="194"/>
                </a:lnTo>
                <a:lnTo>
                  <a:pt x="74" y="194"/>
                </a:lnTo>
                <a:lnTo>
                  <a:pt x="76" y="190"/>
                </a:lnTo>
                <a:lnTo>
                  <a:pt x="72" y="188"/>
                </a:lnTo>
                <a:lnTo>
                  <a:pt x="70" y="186"/>
                </a:lnTo>
                <a:lnTo>
                  <a:pt x="68" y="186"/>
                </a:lnTo>
                <a:lnTo>
                  <a:pt x="68" y="188"/>
                </a:lnTo>
                <a:lnTo>
                  <a:pt x="62" y="192"/>
                </a:lnTo>
                <a:lnTo>
                  <a:pt x="58" y="192"/>
                </a:lnTo>
                <a:lnTo>
                  <a:pt x="48" y="188"/>
                </a:lnTo>
                <a:lnTo>
                  <a:pt x="48" y="186"/>
                </a:lnTo>
                <a:lnTo>
                  <a:pt x="46" y="184"/>
                </a:lnTo>
                <a:lnTo>
                  <a:pt x="44" y="186"/>
                </a:lnTo>
                <a:lnTo>
                  <a:pt x="38" y="190"/>
                </a:lnTo>
                <a:lnTo>
                  <a:pt x="38" y="192"/>
                </a:lnTo>
                <a:lnTo>
                  <a:pt x="36" y="194"/>
                </a:lnTo>
                <a:lnTo>
                  <a:pt x="26" y="200"/>
                </a:lnTo>
                <a:lnTo>
                  <a:pt x="16" y="198"/>
                </a:lnTo>
                <a:lnTo>
                  <a:pt x="8" y="194"/>
                </a:lnTo>
                <a:lnTo>
                  <a:pt x="6" y="192"/>
                </a:lnTo>
                <a:lnTo>
                  <a:pt x="4" y="190"/>
                </a:lnTo>
                <a:lnTo>
                  <a:pt x="4" y="188"/>
                </a:lnTo>
                <a:lnTo>
                  <a:pt x="2" y="188"/>
                </a:lnTo>
                <a:lnTo>
                  <a:pt x="0" y="188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7" name="Group 125"/>
          <p:cNvGrpSpPr>
            <a:grpSpLocks/>
          </p:cNvGrpSpPr>
          <p:nvPr/>
        </p:nvGrpSpPr>
        <p:grpSpPr bwMode="auto">
          <a:xfrm>
            <a:off x="2706018" y="2110141"/>
            <a:ext cx="158750" cy="101600"/>
            <a:chOff x="1346" y="980"/>
            <a:chExt cx="132" cy="80"/>
          </a:xfrm>
        </p:grpSpPr>
        <p:sp>
          <p:nvSpPr>
            <p:cNvPr id="17" name="Freeform 126"/>
            <p:cNvSpPr>
              <a:spLocks/>
            </p:cNvSpPr>
            <p:nvPr/>
          </p:nvSpPr>
          <p:spPr bwMode="auto">
            <a:xfrm>
              <a:off x="1350" y="980"/>
              <a:ext cx="42" cy="6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8" y="4"/>
                </a:cxn>
                <a:cxn ang="0">
                  <a:pos x="18" y="6"/>
                </a:cxn>
                <a:cxn ang="0">
                  <a:pos x="20" y="6"/>
                </a:cxn>
                <a:cxn ang="0">
                  <a:pos x="20" y="8"/>
                </a:cxn>
                <a:cxn ang="0">
                  <a:pos x="22" y="10"/>
                </a:cxn>
                <a:cxn ang="0">
                  <a:pos x="22" y="12"/>
                </a:cxn>
                <a:cxn ang="0">
                  <a:pos x="22" y="14"/>
                </a:cxn>
                <a:cxn ang="0">
                  <a:pos x="22" y="18"/>
                </a:cxn>
                <a:cxn ang="0">
                  <a:pos x="22" y="20"/>
                </a:cxn>
                <a:cxn ang="0">
                  <a:pos x="26" y="22"/>
                </a:cxn>
                <a:cxn ang="0">
                  <a:pos x="28" y="24"/>
                </a:cxn>
                <a:cxn ang="0">
                  <a:pos x="30" y="24"/>
                </a:cxn>
                <a:cxn ang="0">
                  <a:pos x="32" y="26"/>
                </a:cxn>
                <a:cxn ang="0">
                  <a:pos x="32" y="28"/>
                </a:cxn>
                <a:cxn ang="0">
                  <a:pos x="34" y="30"/>
                </a:cxn>
                <a:cxn ang="0">
                  <a:pos x="36" y="36"/>
                </a:cxn>
                <a:cxn ang="0">
                  <a:pos x="34" y="36"/>
                </a:cxn>
                <a:cxn ang="0">
                  <a:pos x="38" y="40"/>
                </a:cxn>
                <a:cxn ang="0">
                  <a:pos x="40" y="42"/>
                </a:cxn>
                <a:cxn ang="0">
                  <a:pos x="40" y="44"/>
                </a:cxn>
                <a:cxn ang="0">
                  <a:pos x="42" y="46"/>
                </a:cxn>
                <a:cxn ang="0">
                  <a:pos x="40" y="56"/>
                </a:cxn>
                <a:cxn ang="0">
                  <a:pos x="36" y="58"/>
                </a:cxn>
                <a:cxn ang="0">
                  <a:pos x="24" y="62"/>
                </a:cxn>
                <a:cxn ang="0">
                  <a:pos x="22" y="62"/>
                </a:cxn>
                <a:cxn ang="0">
                  <a:pos x="20" y="62"/>
                </a:cxn>
                <a:cxn ang="0">
                  <a:pos x="16" y="62"/>
                </a:cxn>
                <a:cxn ang="0">
                  <a:pos x="14" y="62"/>
                </a:cxn>
                <a:cxn ang="0">
                  <a:pos x="12" y="62"/>
                </a:cxn>
                <a:cxn ang="0">
                  <a:pos x="10" y="62"/>
                </a:cxn>
                <a:cxn ang="0">
                  <a:pos x="8" y="60"/>
                </a:cxn>
                <a:cxn ang="0">
                  <a:pos x="6" y="58"/>
                </a:cxn>
                <a:cxn ang="0">
                  <a:pos x="6" y="56"/>
                </a:cxn>
                <a:cxn ang="0">
                  <a:pos x="6" y="54"/>
                </a:cxn>
                <a:cxn ang="0">
                  <a:pos x="6" y="52"/>
                </a:cxn>
                <a:cxn ang="0">
                  <a:pos x="8" y="50"/>
                </a:cxn>
                <a:cxn ang="0">
                  <a:pos x="16" y="44"/>
                </a:cxn>
                <a:cxn ang="0">
                  <a:pos x="20" y="42"/>
                </a:cxn>
                <a:cxn ang="0">
                  <a:pos x="22" y="42"/>
                </a:cxn>
                <a:cxn ang="0">
                  <a:pos x="24" y="44"/>
                </a:cxn>
                <a:cxn ang="0">
                  <a:pos x="28" y="38"/>
                </a:cxn>
                <a:cxn ang="0">
                  <a:pos x="26" y="36"/>
                </a:cxn>
                <a:cxn ang="0">
                  <a:pos x="24" y="36"/>
                </a:cxn>
                <a:cxn ang="0">
                  <a:pos x="14" y="22"/>
                </a:cxn>
                <a:cxn ang="0">
                  <a:pos x="10" y="18"/>
                </a:cxn>
                <a:cxn ang="0">
                  <a:pos x="12" y="16"/>
                </a:cxn>
                <a:cxn ang="0">
                  <a:pos x="10" y="12"/>
                </a:cxn>
                <a:cxn ang="0">
                  <a:pos x="10" y="8"/>
                </a:cxn>
                <a:cxn ang="0">
                  <a:pos x="8" y="6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6"/>
                </a:cxn>
              </a:cxnLst>
              <a:rect l="0" t="0" r="r" b="b"/>
              <a:pathLst>
                <a:path w="42" h="62">
                  <a:moveTo>
                    <a:pt x="0" y="6"/>
                  </a:moveTo>
                  <a:lnTo>
                    <a:pt x="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20" y="6"/>
                  </a:lnTo>
                  <a:lnTo>
                    <a:pt x="20" y="8"/>
                  </a:lnTo>
                  <a:lnTo>
                    <a:pt x="22" y="10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2" y="18"/>
                  </a:lnTo>
                  <a:lnTo>
                    <a:pt x="22" y="20"/>
                  </a:lnTo>
                  <a:lnTo>
                    <a:pt x="26" y="22"/>
                  </a:lnTo>
                  <a:lnTo>
                    <a:pt x="28" y="24"/>
                  </a:lnTo>
                  <a:lnTo>
                    <a:pt x="30" y="24"/>
                  </a:lnTo>
                  <a:lnTo>
                    <a:pt x="32" y="26"/>
                  </a:lnTo>
                  <a:lnTo>
                    <a:pt x="32" y="28"/>
                  </a:lnTo>
                  <a:lnTo>
                    <a:pt x="34" y="30"/>
                  </a:lnTo>
                  <a:lnTo>
                    <a:pt x="36" y="36"/>
                  </a:lnTo>
                  <a:lnTo>
                    <a:pt x="34" y="36"/>
                  </a:lnTo>
                  <a:lnTo>
                    <a:pt x="38" y="40"/>
                  </a:lnTo>
                  <a:lnTo>
                    <a:pt x="40" y="42"/>
                  </a:lnTo>
                  <a:lnTo>
                    <a:pt x="40" y="44"/>
                  </a:lnTo>
                  <a:lnTo>
                    <a:pt x="42" y="46"/>
                  </a:lnTo>
                  <a:lnTo>
                    <a:pt x="40" y="56"/>
                  </a:lnTo>
                  <a:lnTo>
                    <a:pt x="36" y="58"/>
                  </a:lnTo>
                  <a:lnTo>
                    <a:pt x="24" y="62"/>
                  </a:lnTo>
                  <a:lnTo>
                    <a:pt x="22" y="62"/>
                  </a:lnTo>
                  <a:lnTo>
                    <a:pt x="20" y="62"/>
                  </a:lnTo>
                  <a:lnTo>
                    <a:pt x="16" y="62"/>
                  </a:lnTo>
                  <a:lnTo>
                    <a:pt x="14" y="62"/>
                  </a:lnTo>
                  <a:lnTo>
                    <a:pt x="12" y="62"/>
                  </a:lnTo>
                  <a:lnTo>
                    <a:pt x="10" y="62"/>
                  </a:lnTo>
                  <a:lnTo>
                    <a:pt x="8" y="60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6" y="52"/>
                  </a:lnTo>
                  <a:lnTo>
                    <a:pt x="8" y="50"/>
                  </a:lnTo>
                  <a:lnTo>
                    <a:pt x="16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4" y="44"/>
                  </a:lnTo>
                  <a:lnTo>
                    <a:pt x="28" y="38"/>
                  </a:lnTo>
                  <a:lnTo>
                    <a:pt x="26" y="36"/>
                  </a:lnTo>
                  <a:lnTo>
                    <a:pt x="24" y="36"/>
                  </a:lnTo>
                  <a:lnTo>
                    <a:pt x="14" y="22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0" y="12"/>
                  </a:lnTo>
                  <a:lnTo>
                    <a:pt x="10" y="8"/>
                  </a:lnTo>
                  <a:lnTo>
                    <a:pt x="8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4E0DD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" name="Freeform 127"/>
            <p:cNvSpPr>
              <a:spLocks/>
            </p:cNvSpPr>
            <p:nvPr/>
          </p:nvSpPr>
          <p:spPr bwMode="auto">
            <a:xfrm>
              <a:off x="1390" y="994"/>
              <a:ext cx="18" cy="12"/>
            </a:xfrm>
            <a:custGeom>
              <a:avLst/>
              <a:gdLst/>
              <a:ahLst/>
              <a:cxnLst>
                <a:cxn ang="0">
                  <a:pos x="14" y="12"/>
                </a:cxn>
                <a:cxn ang="0">
                  <a:pos x="10" y="10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10" y="2"/>
                </a:cxn>
                <a:cxn ang="0">
                  <a:pos x="12" y="4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18" y="8"/>
                </a:cxn>
                <a:cxn ang="0">
                  <a:pos x="16" y="12"/>
                </a:cxn>
                <a:cxn ang="0">
                  <a:pos x="14" y="12"/>
                </a:cxn>
              </a:cxnLst>
              <a:rect l="0" t="0" r="r" b="b"/>
              <a:pathLst>
                <a:path w="18" h="12">
                  <a:moveTo>
                    <a:pt x="14" y="12"/>
                  </a:moveTo>
                  <a:lnTo>
                    <a:pt x="10" y="10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2" y="10"/>
                  </a:lnTo>
                  <a:lnTo>
                    <a:pt x="0" y="8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10" y="2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8" y="8"/>
                  </a:lnTo>
                  <a:lnTo>
                    <a:pt x="16" y="12"/>
                  </a:lnTo>
                  <a:lnTo>
                    <a:pt x="14" y="12"/>
                  </a:lnTo>
                  <a:close/>
                </a:path>
              </a:pathLst>
            </a:custGeom>
            <a:solidFill>
              <a:srgbClr val="C4E0DD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" name="Freeform 128"/>
            <p:cNvSpPr>
              <a:spLocks/>
            </p:cNvSpPr>
            <p:nvPr/>
          </p:nvSpPr>
          <p:spPr bwMode="auto">
            <a:xfrm>
              <a:off x="1346" y="1000"/>
              <a:ext cx="16" cy="14"/>
            </a:xfrm>
            <a:custGeom>
              <a:avLst/>
              <a:gdLst/>
              <a:ahLst/>
              <a:cxnLst>
                <a:cxn ang="0">
                  <a:pos x="10" y="14"/>
                </a:cxn>
                <a:cxn ang="0">
                  <a:pos x="8" y="14"/>
                </a:cxn>
                <a:cxn ang="0">
                  <a:pos x="4" y="10"/>
                </a:cxn>
                <a:cxn ang="0">
                  <a:pos x="2" y="8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6" y="4"/>
                </a:cxn>
                <a:cxn ang="0">
                  <a:pos x="14" y="10"/>
                </a:cxn>
                <a:cxn ang="0">
                  <a:pos x="14" y="12"/>
                </a:cxn>
                <a:cxn ang="0">
                  <a:pos x="10" y="14"/>
                </a:cxn>
              </a:cxnLst>
              <a:rect l="0" t="0" r="r" b="b"/>
              <a:pathLst>
                <a:path w="16" h="14">
                  <a:moveTo>
                    <a:pt x="10" y="14"/>
                  </a:moveTo>
                  <a:lnTo>
                    <a:pt x="8" y="14"/>
                  </a:lnTo>
                  <a:lnTo>
                    <a:pt x="4" y="10"/>
                  </a:lnTo>
                  <a:lnTo>
                    <a:pt x="2" y="8"/>
                  </a:lnTo>
                  <a:lnTo>
                    <a:pt x="0" y="4"/>
                  </a:lnTo>
                  <a:lnTo>
                    <a:pt x="2" y="2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0" y="14"/>
                  </a:lnTo>
                  <a:close/>
                </a:path>
              </a:pathLst>
            </a:custGeom>
            <a:solidFill>
              <a:srgbClr val="C4E0DD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" name="Freeform 129"/>
            <p:cNvSpPr>
              <a:spLocks/>
            </p:cNvSpPr>
            <p:nvPr/>
          </p:nvSpPr>
          <p:spPr bwMode="auto">
            <a:xfrm>
              <a:off x="1408" y="1014"/>
              <a:ext cx="18" cy="14"/>
            </a:xfrm>
            <a:custGeom>
              <a:avLst/>
              <a:gdLst/>
              <a:ahLst/>
              <a:cxnLst>
                <a:cxn ang="0">
                  <a:pos x="10" y="14"/>
                </a:cxn>
                <a:cxn ang="0">
                  <a:pos x="6" y="14"/>
                </a:cxn>
                <a:cxn ang="0">
                  <a:pos x="0" y="10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10" y="0"/>
                </a:cxn>
                <a:cxn ang="0">
                  <a:pos x="14" y="0"/>
                </a:cxn>
                <a:cxn ang="0">
                  <a:pos x="18" y="2"/>
                </a:cxn>
                <a:cxn ang="0">
                  <a:pos x="18" y="4"/>
                </a:cxn>
                <a:cxn ang="0">
                  <a:pos x="18" y="8"/>
                </a:cxn>
                <a:cxn ang="0">
                  <a:pos x="18" y="10"/>
                </a:cxn>
                <a:cxn ang="0">
                  <a:pos x="16" y="14"/>
                </a:cxn>
                <a:cxn ang="0">
                  <a:pos x="10" y="14"/>
                </a:cxn>
              </a:cxnLst>
              <a:rect l="0" t="0" r="r" b="b"/>
              <a:pathLst>
                <a:path w="18" h="14">
                  <a:moveTo>
                    <a:pt x="10" y="14"/>
                  </a:moveTo>
                  <a:lnTo>
                    <a:pt x="6" y="14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16" y="14"/>
                  </a:lnTo>
                  <a:lnTo>
                    <a:pt x="10" y="14"/>
                  </a:lnTo>
                  <a:close/>
                </a:path>
              </a:pathLst>
            </a:custGeom>
            <a:solidFill>
              <a:srgbClr val="C4E0DD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" name="Freeform 130"/>
            <p:cNvSpPr>
              <a:spLocks/>
            </p:cNvSpPr>
            <p:nvPr/>
          </p:nvSpPr>
          <p:spPr bwMode="auto">
            <a:xfrm>
              <a:off x="1456" y="1024"/>
              <a:ext cx="22" cy="14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0" y="14"/>
                </a:cxn>
                <a:cxn ang="0">
                  <a:pos x="2" y="12"/>
                </a:cxn>
                <a:cxn ang="0">
                  <a:pos x="4" y="10"/>
                </a:cxn>
                <a:cxn ang="0">
                  <a:pos x="6" y="10"/>
                </a:cxn>
                <a:cxn ang="0">
                  <a:pos x="6" y="8"/>
                </a:cxn>
                <a:cxn ang="0">
                  <a:pos x="8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22" y="0"/>
                </a:cxn>
                <a:cxn ang="0">
                  <a:pos x="20" y="2"/>
                </a:cxn>
                <a:cxn ang="0">
                  <a:pos x="20" y="4"/>
                </a:cxn>
                <a:cxn ang="0">
                  <a:pos x="18" y="6"/>
                </a:cxn>
                <a:cxn ang="0">
                  <a:pos x="12" y="12"/>
                </a:cxn>
                <a:cxn ang="0">
                  <a:pos x="10" y="14"/>
                </a:cxn>
                <a:cxn ang="0">
                  <a:pos x="6" y="14"/>
                </a:cxn>
              </a:cxnLst>
              <a:rect l="0" t="0" r="r" b="b"/>
              <a:pathLst>
                <a:path w="22" h="14">
                  <a:moveTo>
                    <a:pt x="6" y="14"/>
                  </a:moveTo>
                  <a:lnTo>
                    <a:pt x="0" y="14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8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0" y="2"/>
                  </a:lnTo>
                  <a:lnTo>
                    <a:pt x="20" y="4"/>
                  </a:lnTo>
                  <a:lnTo>
                    <a:pt x="18" y="6"/>
                  </a:lnTo>
                  <a:lnTo>
                    <a:pt x="12" y="12"/>
                  </a:lnTo>
                  <a:lnTo>
                    <a:pt x="10" y="14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rgbClr val="C4E0DD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" name="Freeform 131"/>
            <p:cNvSpPr>
              <a:spLocks/>
            </p:cNvSpPr>
            <p:nvPr/>
          </p:nvSpPr>
          <p:spPr bwMode="auto">
            <a:xfrm>
              <a:off x="1408" y="1054"/>
              <a:ext cx="8" cy="6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6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6" y="6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C4E0DD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8" name="Group 132"/>
          <p:cNvGrpSpPr>
            <a:grpSpLocks/>
          </p:cNvGrpSpPr>
          <p:nvPr/>
        </p:nvGrpSpPr>
        <p:grpSpPr bwMode="auto">
          <a:xfrm>
            <a:off x="3143877" y="2018067"/>
            <a:ext cx="376238" cy="447675"/>
            <a:chOff x="1924" y="908"/>
            <a:chExt cx="312" cy="35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24" name="Freeform 133"/>
            <p:cNvSpPr>
              <a:spLocks/>
            </p:cNvSpPr>
            <p:nvPr/>
          </p:nvSpPr>
          <p:spPr bwMode="auto">
            <a:xfrm>
              <a:off x="1924" y="908"/>
              <a:ext cx="312" cy="350"/>
            </a:xfrm>
            <a:custGeom>
              <a:avLst/>
              <a:gdLst/>
              <a:ahLst/>
              <a:cxnLst>
                <a:cxn ang="0">
                  <a:pos x="114" y="334"/>
                </a:cxn>
                <a:cxn ang="0">
                  <a:pos x="100" y="348"/>
                </a:cxn>
                <a:cxn ang="0">
                  <a:pos x="80" y="330"/>
                </a:cxn>
                <a:cxn ang="0">
                  <a:pos x="66" y="322"/>
                </a:cxn>
                <a:cxn ang="0">
                  <a:pos x="44" y="314"/>
                </a:cxn>
                <a:cxn ang="0">
                  <a:pos x="28" y="318"/>
                </a:cxn>
                <a:cxn ang="0">
                  <a:pos x="30" y="308"/>
                </a:cxn>
                <a:cxn ang="0">
                  <a:pos x="34" y="294"/>
                </a:cxn>
                <a:cxn ang="0">
                  <a:pos x="42" y="274"/>
                </a:cxn>
                <a:cxn ang="0">
                  <a:pos x="46" y="260"/>
                </a:cxn>
                <a:cxn ang="0">
                  <a:pos x="60" y="242"/>
                </a:cxn>
                <a:cxn ang="0">
                  <a:pos x="68" y="212"/>
                </a:cxn>
                <a:cxn ang="0">
                  <a:pos x="66" y="188"/>
                </a:cxn>
                <a:cxn ang="0">
                  <a:pos x="60" y="200"/>
                </a:cxn>
                <a:cxn ang="0">
                  <a:pos x="58" y="218"/>
                </a:cxn>
                <a:cxn ang="0">
                  <a:pos x="56" y="204"/>
                </a:cxn>
                <a:cxn ang="0">
                  <a:pos x="40" y="226"/>
                </a:cxn>
                <a:cxn ang="0">
                  <a:pos x="12" y="206"/>
                </a:cxn>
                <a:cxn ang="0">
                  <a:pos x="12" y="194"/>
                </a:cxn>
                <a:cxn ang="0">
                  <a:pos x="10" y="168"/>
                </a:cxn>
                <a:cxn ang="0">
                  <a:pos x="14" y="150"/>
                </a:cxn>
                <a:cxn ang="0">
                  <a:pos x="14" y="128"/>
                </a:cxn>
                <a:cxn ang="0">
                  <a:pos x="26" y="114"/>
                </a:cxn>
                <a:cxn ang="0">
                  <a:pos x="36" y="112"/>
                </a:cxn>
                <a:cxn ang="0">
                  <a:pos x="36" y="88"/>
                </a:cxn>
                <a:cxn ang="0">
                  <a:pos x="52" y="70"/>
                </a:cxn>
                <a:cxn ang="0">
                  <a:pos x="52" y="56"/>
                </a:cxn>
                <a:cxn ang="0">
                  <a:pos x="50" y="42"/>
                </a:cxn>
                <a:cxn ang="0">
                  <a:pos x="62" y="30"/>
                </a:cxn>
                <a:cxn ang="0">
                  <a:pos x="76" y="24"/>
                </a:cxn>
                <a:cxn ang="0">
                  <a:pos x="98" y="20"/>
                </a:cxn>
                <a:cxn ang="0">
                  <a:pos x="114" y="6"/>
                </a:cxn>
                <a:cxn ang="0">
                  <a:pos x="132" y="12"/>
                </a:cxn>
                <a:cxn ang="0">
                  <a:pos x="150" y="22"/>
                </a:cxn>
                <a:cxn ang="0">
                  <a:pos x="168" y="34"/>
                </a:cxn>
                <a:cxn ang="0">
                  <a:pos x="180" y="36"/>
                </a:cxn>
                <a:cxn ang="0">
                  <a:pos x="192" y="42"/>
                </a:cxn>
                <a:cxn ang="0">
                  <a:pos x="204" y="60"/>
                </a:cxn>
                <a:cxn ang="0">
                  <a:pos x="232" y="64"/>
                </a:cxn>
                <a:cxn ang="0">
                  <a:pos x="248" y="56"/>
                </a:cxn>
                <a:cxn ang="0">
                  <a:pos x="284" y="76"/>
                </a:cxn>
                <a:cxn ang="0">
                  <a:pos x="306" y="82"/>
                </a:cxn>
                <a:cxn ang="0">
                  <a:pos x="298" y="86"/>
                </a:cxn>
                <a:cxn ang="0">
                  <a:pos x="300" y="96"/>
                </a:cxn>
                <a:cxn ang="0">
                  <a:pos x="312" y="112"/>
                </a:cxn>
                <a:cxn ang="0">
                  <a:pos x="306" y="130"/>
                </a:cxn>
                <a:cxn ang="0">
                  <a:pos x="294" y="160"/>
                </a:cxn>
                <a:cxn ang="0">
                  <a:pos x="248" y="206"/>
                </a:cxn>
                <a:cxn ang="0">
                  <a:pos x="172" y="240"/>
                </a:cxn>
                <a:cxn ang="0">
                  <a:pos x="152" y="258"/>
                </a:cxn>
                <a:cxn ang="0">
                  <a:pos x="148" y="264"/>
                </a:cxn>
                <a:cxn ang="0">
                  <a:pos x="142" y="270"/>
                </a:cxn>
                <a:cxn ang="0">
                  <a:pos x="138" y="286"/>
                </a:cxn>
                <a:cxn ang="0">
                  <a:pos x="128" y="310"/>
                </a:cxn>
                <a:cxn ang="0">
                  <a:pos x="128" y="326"/>
                </a:cxn>
              </a:cxnLst>
              <a:rect l="0" t="0" r="r" b="b"/>
              <a:pathLst>
                <a:path w="312" h="350">
                  <a:moveTo>
                    <a:pt x="124" y="326"/>
                  </a:moveTo>
                  <a:lnTo>
                    <a:pt x="124" y="328"/>
                  </a:lnTo>
                  <a:lnTo>
                    <a:pt x="122" y="328"/>
                  </a:lnTo>
                  <a:lnTo>
                    <a:pt x="120" y="328"/>
                  </a:lnTo>
                  <a:lnTo>
                    <a:pt x="118" y="330"/>
                  </a:lnTo>
                  <a:lnTo>
                    <a:pt x="116" y="332"/>
                  </a:lnTo>
                  <a:lnTo>
                    <a:pt x="114" y="334"/>
                  </a:lnTo>
                  <a:lnTo>
                    <a:pt x="114" y="338"/>
                  </a:lnTo>
                  <a:lnTo>
                    <a:pt x="112" y="342"/>
                  </a:lnTo>
                  <a:lnTo>
                    <a:pt x="108" y="348"/>
                  </a:lnTo>
                  <a:lnTo>
                    <a:pt x="108" y="350"/>
                  </a:lnTo>
                  <a:lnTo>
                    <a:pt x="106" y="350"/>
                  </a:lnTo>
                  <a:lnTo>
                    <a:pt x="104" y="348"/>
                  </a:lnTo>
                  <a:lnTo>
                    <a:pt x="100" y="348"/>
                  </a:lnTo>
                  <a:lnTo>
                    <a:pt x="98" y="348"/>
                  </a:lnTo>
                  <a:lnTo>
                    <a:pt x="96" y="348"/>
                  </a:lnTo>
                  <a:lnTo>
                    <a:pt x="94" y="348"/>
                  </a:lnTo>
                  <a:lnTo>
                    <a:pt x="90" y="344"/>
                  </a:lnTo>
                  <a:lnTo>
                    <a:pt x="86" y="338"/>
                  </a:lnTo>
                  <a:lnTo>
                    <a:pt x="84" y="336"/>
                  </a:lnTo>
                  <a:lnTo>
                    <a:pt x="80" y="330"/>
                  </a:lnTo>
                  <a:lnTo>
                    <a:pt x="80" y="326"/>
                  </a:lnTo>
                  <a:lnTo>
                    <a:pt x="80" y="324"/>
                  </a:lnTo>
                  <a:lnTo>
                    <a:pt x="74" y="320"/>
                  </a:lnTo>
                  <a:lnTo>
                    <a:pt x="74" y="318"/>
                  </a:lnTo>
                  <a:lnTo>
                    <a:pt x="72" y="318"/>
                  </a:lnTo>
                  <a:lnTo>
                    <a:pt x="72" y="320"/>
                  </a:lnTo>
                  <a:lnTo>
                    <a:pt x="66" y="322"/>
                  </a:lnTo>
                  <a:lnTo>
                    <a:pt x="64" y="320"/>
                  </a:lnTo>
                  <a:lnTo>
                    <a:pt x="54" y="314"/>
                  </a:lnTo>
                  <a:lnTo>
                    <a:pt x="52" y="312"/>
                  </a:lnTo>
                  <a:lnTo>
                    <a:pt x="50" y="312"/>
                  </a:lnTo>
                  <a:lnTo>
                    <a:pt x="48" y="310"/>
                  </a:lnTo>
                  <a:lnTo>
                    <a:pt x="46" y="312"/>
                  </a:lnTo>
                  <a:lnTo>
                    <a:pt x="44" y="314"/>
                  </a:lnTo>
                  <a:lnTo>
                    <a:pt x="42" y="314"/>
                  </a:lnTo>
                  <a:lnTo>
                    <a:pt x="40" y="316"/>
                  </a:lnTo>
                  <a:lnTo>
                    <a:pt x="36" y="320"/>
                  </a:lnTo>
                  <a:lnTo>
                    <a:pt x="34" y="322"/>
                  </a:lnTo>
                  <a:lnTo>
                    <a:pt x="32" y="320"/>
                  </a:lnTo>
                  <a:lnTo>
                    <a:pt x="30" y="318"/>
                  </a:lnTo>
                  <a:lnTo>
                    <a:pt x="28" y="318"/>
                  </a:lnTo>
                  <a:lnTo>
                    <a:pt x="28" y="316"/>
                  </a:lnTo>
                  <a:lnTo>
                    <a:pt x="32" y="312"/>
                  </a:lnTo>
                  <a:lnTo>
                    <a:pt x="34" y="310"/>
                  </a:lnTo>
                  <a:lnTo>
                    <a:pt x="36" y="306"/>
                  </a:lnTo>
                  <a:lnTo>
                    <a:pt x="34" y="306"/>
                  </a:lnTo>
                  <a:lnTo>
                    <a:pt x="32" y="306"/>
                  </a:lnTo>
                  <a:lnTo>
                    <a:pt x="30" y="308"/>
                  </a:lnTo>
                  <a:lnTo>
                    <a:pt x="30" y="306"/>
                  </a:lnTo>
                  <a:lnTo>
                    <a:pt x="28" y="304"/>
                  </a:lnTo>
                  <a:lnTo>
                    <a:pt x="28" y="302"/>
                  </a:lnTo>
                  <a:lnTo>
                    <a:pt x="28" y="298"/>
                  </a:lnTo>
                  <a:lnTo>
                    <a:pt x="30" y="294"/>
                  </a:lnTo>
                  <a:lnTo>
                    <a:pt x="32" y="294"/>
                  </a:lnTo>
                  <a:lnTo>
                    <a:pt x="34" y="294"/>
                  </a:lnTo>
                  <a:lnTo>
                    <a:pt x="36" y="296"/>
                  </a:lnTo>
                  <a:lnTo>
                    <a:pt x="38" y="296"/>
                  </a:lnTo>
                  <a:lnTo>
                    <a:pt x="46" y="290"/>
                  </a:lnTo>
                  <a:lnTo>
                    <a:pt x="46" y="288"/>
                  </a:lnTo>
                  <a:lnTo>
                    <a:pt x="44" y="280"/>
                  </a:lnTo>
                  <a:lnTo>
                    <a:pt x="44" y="276"/>
                  </a:lnTo>
                  <a:lnTo>
                    <a:pt x="42" y="274"/>
                  </a:lnTo>
                  <a:lnTo>
                    <a:pt x="42" y="268"/>
                  </a:lnTo>
                  <a:lnTo>
                    <a:pt x="40" y="264"/>
                  </a:lnTo>
                  <a:lnTo>
                    <a:pt x="36" y="262"/>
                  </a:lnTo>
                  <a:lnTo>
                    <a:pt x="36" y="260"/>
                  </a:lnTo>
                  <a:lnTo>
                    <a:pt x="38" y="260"/>
                  </a:lnTo>
                  <a:lnTo>
                    <a:pt x="40" y="260"/>
                  </a:lnTo>
                  <a:lnTo>
                    <a:pt x="46" y="260"/>
                  </a:lnTo>
                  <a:lnTo>
                    <a:pt x="54" y="256"/>
                  </a:lnTo>
                  <a:lnTo>
                    <a:pt x="56" y="252"/>
                  </a:lnTo>
                  <a:lnTo>
                    <a:pt x="58" y="250"/>
                  </a:lnTo>
                  <a:lnTo>
                    <a:pt x="58" y="248"/>
                  </a:lnTo>
                  <a:lnTo>
                    <a:pt x="58" y="246"/>
                  </a:lnTo>
                  <a:lnTo>
                    <a:pt x="60" y="244"/>
                  </a:lnTo>
                  <a:lnTo>
                    <a:pt x="60" y="242"/>
                  </a:lnTo>
                  <a:lnTo>
                    <a:pt x="62" y="236"/>
                  </a:lnTo>
                  <a:lnTo>
                    <a:pt x="64" y="230"/>
                  </a:lnTo>
                  <a:lnTo>
                    <a:pt x="66" y="222"/>
                  </a:lnTo>
                  <a:lnTo>
                    <a:pt x="68" y="220"/>
                  </a:lnTo>
                  <a:lnTo>
                    <a:pt x="70" y="220"/>
                  </a:lnTo>
                  <a:lnTo>
                    <a:pt x="70" y="216"/>
                  </a:lnTo>
                  <a:lnTo>
                    <a:pt x="68" y="212"/>
                  </a:lnTo>
                  <a:lnTo>
                    <a:pt x="66" y="214"/>
                  </a:lnTo>
                  <a:lnTo>
                    <a:pt x="66" y="212"/>
                  </a:lnTo>
                  <a:lnTo>
                    <a:pt x="62" y="206"/>
                  </a:lnTo>
                  <a:lnTo>
                    <a:pt x="64" y="204"/>
                  </a:lnTo>
                  <a:lnTo>
                    <a:pt x="62" y="198"/>
                  </a:lnTo>
                  <a:lnTo>
                    <a:pt x="64" y="190"/>
                  </a:lnTo>
                  <a:lnTo>
                    <a:pt x="66" y="188"/>
                  </a:lnTo>
                  <a:lnTo>
                    <a:pt x="68" y="186"/>
                  </a:lnTo>
                  <a:lnTo>
                    <a:pt x="64" y="188"/>
                  </a:lnTo>
                  <a:lnTo>
                    <a:pt x="60" y="192"/>
                  </a:lnTo>
                  <a:lnTo>
                    <a:pt x="60" y="194"/>
                  </a:lnTo>
                  <a:lnTo>
                    <a:pt x="60" y="196"/>
                  </a:lnTo>
                  <a:lnTo>
                    <a:pt x="60" y="198"/>
                  </a:lnTo>
                  <a:lnTo>
                    <a:pt x="60" y="200"/>
                  </a:lnTo>
                  <a:lnTo>
                    <a:pt x="62" y="200"/>
                  </a:lnTo>
                  <a:lnTo>
                    <a:pt x="62" y="202"/>
                  </a:lnTo>
                  <a:lnTo>
                    <a:pt x="62" y="208"/>
                  </a:lnTo>
                  <a:lnTo>
                    <a:pt x="62" y="210"/>
                  </a:lnTo>
                  <a:lnTo>
                    <a:pt x="60" y="216"/>
                  </a:lnTo>
                  <a:lnTo>
                    <a:pt x="60" y="218"/>
                  </a:lnTo>
                  <a:lnTo>
                    <a:pt x="58" y="218"/>
                  </a:lnTo>
                  <a:lnTo>
                    <a:pt x="56" y="220"/>
                  </a:lnTo>
                  <a:lnTo>
                    <a:pt x="54" y="220"/>
                  </a:lnTo>
                  <a:lnTo>
                    <a:pt x="52" y="218"/>
                  </a:lnTo>
                  <a:lnTo>
                    <a:pt x="54" y="210"/>
                  </a:lnTo>
                  <a:lnTo>
                    <a:pt x="54" y="206"/>
                  </a:lnTo>
                  <a:lnTo>
                    <a:pt x="56" y="206"/>
                  </a:lnTo>
                  <a:lnTo>
                    <a:pt x="56" y="204"/>
                  </a:lnTo>
                  <a:lnTo>
                    <a:pt x="54" y="204"/>
                  </a:lnTo>
                  <a:lnTo>
                    <a:pt x="52" y="208"/>
                  </a:lnTo>
                  <a:lnTo>
                    <a:pt x="50" y="212"/>
                  </a:lnTo>
                  <a:lnTo>
                    <a:pt x="48" y="214"/>
                  </a:lnTo>
                  <a:lnTo>
                    <a:pt x="44" y="218"/>
                  </a:lnTo>
                  <a:lnTo>
                    <a:pt x="42" y="220"/>
                  </a:lnTo>
                  <a:lnTo>
                    <a:pt x="40" y="226"/>
                  </a:lnTo>
                  <a:lnTo>
                    <a:pt x="38" y="226"/>
                  </a:lnTo>
                  <a:lnTo>
                    <a:pt x="30" y="222"/>
                  </a:lnTo>
                  <a:lnTo>
                    <a:pt x="24" y="214"/>
                  </a:lnTo>
                  <a:lnTo>
                    <a:pt x="20" y="210"/>
                  </a:lnTo>
                  <a:lnTo>
                    <a:pt x="18" y="208"/>
                  </a:lnTo>
                  <a:lnTo>
                    <a:pt x="14" y="206"/>
                  </a:lnTo>
                  <a:lnTo>
                    <a:pt x="12" y="206"/>
                  </a:lnTo>
                  <a:lnTo>
                    <a:pt x="10" y="206"/>
                  </a:lnTo>
                  <a:lnTo>
                    <a:pt x="6" y="204"/>
                  </a:lnTo>
                  <a:lnTo>
                    <a:pt x="2" y="198"/>
                  </a:lnTo>
                  <a:lnTo>
                    <a:pt x="0" y="196"/>
                  </a:lnTo>
                  <a:lnTo>
                    <a:pt x="4" y="198"/>
                  </a:lnTo>
                  <a:lnTo>
                    <a:pt x="8" y="196"/>
                  </a:lnTo>
                  <a:lnTo>
                    <a:pt x="12" y="194"/>
                  </a:lnTo>
                  <a:lnTo>
                    <a:pt x="12" y="192"/>
                  </a:lnTo>
                  <a:lnTo>
                    <a:pt x="14" y="190"/>
                  </a:lnTo>
                  <a:lnTo>
                    <a:pt x="14" y="184"/>
                  </a:lnTo>
                  <a:lnTo>
                    <a:pt x="14" y="182"/>
                  </a:lnTo>
                  <a:lnTo>
                    <a:pt x="12" y="174"/>
                  </a:lnTo>
                  <a:lnTo>
                    <a:pt x="12" y="172"/>
                  </a:lnTo>
                  <a:lnTo>
                    <a:pt x="10" y="168"/>
                  </a:lnTo>
                  <a:lnTo>
                    <a:pt x="8" y="166"/>
                  </a:lnTo>
                  <a:lnTo>
                    <a:pt x="8" y="164"/>
                  </a:lnTo>
                  <a:lnTo>
                    <a:pt x="8" y="162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12" y="158"/>
                  </a:lnTo>
                  <a:lnTo>
                    <a:pt x="14" y="150"/>
                  </a:lnTo>
                  <a:lnTo>
                    <a:pt x="10" y="146"/>
                  </a:lnTo>
                  <a:lnTo>
                    <a:pt x="8" y="142"/>
                  </a:lnTo>
                  <a:lnTo>
                    <a:pt x="6" y="140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8" y="128"/>
                  </a:lnTo>
                  <a:lnTo>
                    <a:pt x="14" y="128"/>
                  </a:lnTo>
                  <a:lnTo>
                    <a:pt x="16" y="128"/>
                  </a:lnTo>
                  <a:lnTo>
                    <a:pt x="20" y="128"/>
                  </a:lnTo>
                  <a:lnTo>
                    <a:pt x="22" y="128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6" y="118"/>
                  </a:lnTo>
                  <a:lnTo>
                    <a:pt x="26" y="114"/>
                  </a:lnTo>
                  <a:lnTo>
                    <a:pt x="30" y="110"/>
                  </a:lnTo>
                  <a:lnTo>
                    <a:pt x="32" y="110"/>
                  </a:lnTo>
                  <a:lnTo>
                    <a:pt x="32" y="112"/>
                  </a:lnTo>
                  <a:lnTo>
                    <a:pt x="34" y="112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36" y="112"/>
                  </a:lnTo>
                  <a:lnTo>
                    <a:pt x="34" y="112"/>
                  </a:lnTo>
                  <a:lnTo>
                    <a:pt x="32" y="110"/>
                  </a:lnTo>
                  <a:lnTo>
                    <a:pt x="32" y="108"/>
                  </a:lnTo>
                  <a:lnTo>
                    <a:pt x="28" y="100"/>
                  </a:lnTo>
                  <a:lnTo>
                    <a:pt x="26" y="98"/>
                  </a:lnTo>
                  <a:lnTo>
                    <a:pt x="34" y="90"/>
                  </a:lnTo>
                  <a:lnTo>
                    <a:pt x="36" y="88"/>
                  </a:lnTo>
                  <a:lnTo>
                    <a:pt x="38" y="86"/>
                  </a:lnTo>
                  <a:lnTo>
                    <a:pt x="40" y="86"/>
                  </a:lnTo>
                  <a:lnTo>
                    <a:pt x="46" y="80"/>
                  </a:lnTo>
                  <a:lnTo>
                    <a:pt x="48" y="78"/>
                  </a:lnTo>
                  <a:lnTo>
                    <a:pt x="50" y="76"/>
                  </a:lnTo>
                  <a:lnTo>
                    <a:pt x="52" y="72"/>
                  </a:lnTo>
                  <a:lnTo>
                    <a:pt x="52" y="70"/>
                  </a:lnTo>
                  <a:lnTo>
                    <a:pt x="52" y="66"/>
                  </a:lnTo>
                  <a:lnTo>
                    <a:pt x="52" y="64"/>
                  </a:lnTo>
                  <a:lnTo>
                    <a:pt x="52" y="62"/>
                  </a:lnTo>
                  <a:lnTo>
                    <a:pt x="52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4" y="48"/>
                  </a:lnTo>
                  <a:lnTo>
                    <a:pt x="54" y="46"/>
                  </a:lnTo>
                  <a:lnTo>
                    <a:pt x="52" y="44"/>
                  </a:lnTo>
                  <a:lnTo>
                    <a:pt x="50" y="42"/>
                  </a:lnTo>
                  <a:lnTo>
                    <a:pt x="48" y="40"/>
                  </a:lnTo>
                  <a:lnTo>
                    <a:pt x="48" y="38"/>
                  </a:lnTo>
                  <a:lnTo>
                    <a:pt x="48" y="36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4"/>
                  </a:lnTo>
                  <a:lnTo>
                    <a:pt x="62" y="30"/>
                  </a:lnTo>
                  <a:lnTo>
                    <a:pt x="64" y="30"/>
                  </a:lnTo>
                  <a:lnTo>
                    <a:pt x="64" y="28"/>
                  </a:lnTo>
                  <a:lnTo>
                    <a:pt x="66" y="26"/>
                  </a:lnTo>
                  <a:lnTo>
                    <a:pt x="68" y="26"/>
                  </a:lnTo>
                  <a:lnTo>
                    <a:pt x="72" y="24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78" y="24"/>
                  </a:lnTo>
                  <a:lnTo>
                    <a:pt x="82" y="22"/>
                  </a:lnTo>
                  <a:lnTo>
                    <a:pt x="84" y="20"/>
                  </a:lnTo>
                  <a:lnTo>
                    <a:pt x="92" y="20"/>
                  </a:lnTo>
                  <a:lnTo>
                    <a:pt x="94" y="20"/>
                  </a:lnTo>
                  <a:lnTo>
                    <a:pt x="96" y="20"/>
                  </a:lnTo>
                  <a:lnTo>
                    <a:pt x="98" y="20"/>
                  </a:lnTo>
                  <a:lnTo>
                    <a:pt x="100" y="18"/>
                  </a:lnTo>
                  <a:lnTo>
                    <a:pt x="102" y="16"/>
                  </a:lnTo>
                  <a:lnTo>
                    <a:pt x="104" y="14"/>
                  </a:lnTo>
                  <a:lnTo>
                    <a:pt x="108" y="14"/>
                  </a:lnTo>
                  <a:lnTo>
                    <a:pt x="112" y="12"/>
                  </a:lnTo>
                  <a:lnTo>
                    <a:pt x="114" y="10"/>
                  </a:lnTo>
                  <a:lnTo>
                    <a:pt x="114" y="6"/>
                  </a:lnTo>
                  <a:lnTo>
                    <a:pt x="118" y="0"/>
                  </a:lnTo>
                  <a:lnTo>
                    <a:pt x="126" y="8"/>
                  </a:lnTo>
                  <a:lnTo>
                    <a:pt x="128" y="8"/>
                  </a:lnTo>
                  <a:lnTo>
                    <a:pt x="128" y="10"/>
                  </a:lnTo>
                  <a:lnTo>
                    <a:pt x="130" y="10"/>
                  </a:lnTo>
                  <a:lnTo>
                    <a:pt x="132" y="14"/>
                  </a:lnTo>
                  <a:lnTo>
                    <a:pt x="132" y="12"/>
                  </a:lnTo>
                  <a:lnTo>
                    <a:pt x="138" y="14"/>
                  </a:lnTo>
                  <a:lnTo>
                    <a:pt x="138" y="16"/>
                  </a:lnTo>
                  <a:lnTo>
                    <a:pt x="144" y="20"/>
                  </a:lnTo>
                  <a:lnTo>
                    <a:pt x="146" y="20"/>
                  </a:lnTo>
                  <a:lnTo>
                    <a:pt x="146" y="22"/>
                  </a:lnTo>
                  <a:lnTo>
                    <a:pt x="148" y="22"/>
                  </a:lnTo>
                  <a:lnTo>
                    <a:pt x="150" y="22"/>
                  </a:lnTo>
                  <a:lnTo>
                    <a:pt x="152" y="26"/>
                  </a:lnTo>
                  <a:lnTo>
                    <a:pt x="156" y="28"/>
                  </a:lnTo>
                  <a:lnTo>
                    <a:pt x="158" y="28"/>
                  </a:lnTo>
                  <a:lnTo>
                    <a:pt x="160" y="30"/>
                  </a:lnTo>
                  <a:lnTo>
                    <a:pt x="162" y="28"/>
                  </a:lnTo>
                  <a:lnTo>
                    <a:pt x="166" y="30"/>
                  </a:lnTo>
                  <a:lnTo>
                    <a:pt x="168" y="34"/>
                  </a:lnTo>
                  <a:lnTo>
                    <a:pt x="170" y="34"/>
                  </a:lnTo>
                  <a:lnTo>
                    <a:pt x="172" y="34"/>
                  </a:lnTo>
                  <a:lnTo>
                    <a:pt x="174" y="34"/>
                  </a:lnTo>
                  <a:lnTo>
                    <a:pt x="178" y="32"/>
                  </a:lnTo>
                  <a:lnTo>
                    <a:pt x="180" y="32"/>
                  </a:lnTo>
                  <a:lnTo>
                    <a:pt x="182" y="34"/>
                  </a:lnTo>
                  <a:lnTo>
                    <a:pt x="180" y="36"/>
                  </a:lnTo>
                  <a:lnTo>
                    <a:pt x="182" y="38"/>
                  </a:lnTo>
                  <a:lnTo>
                    <a:pt x="184" y="38"/>
                  </a:lnTo>
                  <a:lnTo>
                    <a:pt x="184" y="40"/>
                  </a:lnTo>
                  <a:lnTo>
                    <a:pt x="186" y="42"/>
                  </a:lnTo>
                  <a:lnTo>
                    <a:pt x="188" y="42"/>
                  </a:lnTo>
                  <a:lnTo>
                    <a:pt x="190" y="42"/>
                  </a:lnTo>
                  <a:lnTo>
                    <a:pt x="192" y="42"/>
                  </a:lnTo>
                  <a:lnTo>
                    <a:pt x="192" y="44"/>
                  </a:lnTo>
                  <a:lnTo>
                    <a:pt x="192" y="46"/>
                  </a:lnTo>
                  <a:lnTo>
                    <a:pt x="192" y="48"/>
                  </a:lnTo>
                  <a:lnTo>
                    <a:pt x="194" y="56"/>
                  </a:lnTo>
                  <a:lnTo>
                    <a:pt x="196" y="56"/>
                  </a:lnTo>
                  <a:lnTo>
                    <a:pt x="200" y="58"/>
                  </a:lnTo>
                  <a:lnTo>
                    <a:pt x="204" y="60"/>
                  </a:lnTo>
                  <a:lnTo>
                    <a:pt x="206" y="60"/>
                  </a:lnTo>
                  <a:lnTo>
                    <a:pt x="212" y="58"/>
                  </a:lnTo>
                  <a:lnTo>
                    <a:pt x="214" y="62"/>
                  </a:lnTo>
                  <a:lnTo>
                    <a:pt x="224" y="64"/>
                  </a:lnTo>
                  <a:lnTo>
                    <a:pt x="226" y="64"/>
                  </a:lnTo>
                  <a:lnTo>
                    <a:pt x="228" y="64"/>
                  </a:lnTo>
                  <a:lnTo>
                    <a:pt x="232" y="64"/>
                  </a:lnTo>
                  <a:lnTo>
                    <a:pt x="232" y="62"/>
                  </a:lnTo>
                  <a:lnTo>
                    <a:pt x="238" y="64"/>
                  </a:lnTo>
                  <a:lnTo>
                    <a:pt x="238" y="66"/>
                  </a:lnTo>
                  <a:lnTo>
                    <a:pt x="240" y="66"/>
                  </a:lnTo>
                  <a:lnTo>
                    <a:pt x="246" y="64"/>
                  </a:lnTo>
                  <a:lnTo>
                    <a:pt x="248" y="64"/>
                  </a:lnTo>
                  <a:lnTo>
                    <a:pt x="248" y="56"/>
                  </a:lnTo>
                  <a:lnTo>
                    <a:pt x="256" y="56"/>
                  </a:lnTo>
                  <a:lnTo>
                    <a:pt x="262" y="58"/>
                  </a:lnTo>
                  <a:lnTo>
                    <a:pt x="268" y="60"/>
                  </a:lnTo>
                  <a:lnTo>
                    <a:pt x="270" y="60"/>
                  </a:lnTo>
                  <a:lnTo>
                    <a:pt x="272" y="64"/>
                  </a:lnTo>
                  <a:lnTo>
                    <a:pt x="276" y="70"/>
                  </a:lnTo>
                  <a:lnTo>
                    <a:pt x="284" y="76"/>
                  </a:lnTo>
                  <a:lnTo>
                    <a:pt x="286" y="76"/>
                  </a:lnTo>
                  <a:lnTo>
                    <a:pt x="288" y="76"/>
                  </a:lnTo>
                  <a:lnTo>
                    <a:pt x="294" y="76"/>
                  </a:lnTo>
                  <a:lnTo>
                    <a:pt x="296" y="78"/>
                  </a:lnTo>
                  <a:lnTo>
                    <a:pt x="302" y="82"/>
                  </a:lnTo>
                  <a:lnTo>
                    <a:pt x="304" y="82"/>
                  </a:lnTo>
                  <a:lnTo>
                    <a:pt x="306" y="82"/>
                  </a:lnTo>
                  <a:lnTo>
                    <a:pt x="308" y="82"/>
                  </a:lnTo>
                  <a:lnTo>
                    <a:pt x="308" y="84"/>
                  </a:lnTo>
                  <a:lnTo>
                    <a:pt x="310" y="84"/>
                  </a:lnTo>
                  <a:lnTo>
                    <a:pt x="308" y="86"/>
                  </a:lnTo>
                  <a:lnTo>
                    <a:pt x="306" y="86"/>
                  </a:lnTo>
                  <a:lnTo>
                    <a:pt x="302" y="88"/>
                  </a:lnTo>
                  <a:lnTo>
                    <a:pt x="298" y="86"/>
                  </a:lnTo>
                  <a:lnTo>
                    <a:pt x="296" y="84"/>
                  </a:lnTo>
                  <a:lnTo>
                    <a:pt x="292" y="84"/>
                  </a:lnTo>
                  <a:lnTo>
                    <a:pt x="292" y="88"/>
                  </a:lnTo>
                  <a:lnTo>
                    <a:pt x="294" y="88"/>
                  </a:lnTo>
                  <a:lnTo>
                    <a:pt x="298" y="90"/>
                  </a:lnTo>
                  <a:lnTo>
                    <a:pt x="300" y="94"/>
                  </a:lnTo>
                  <a:lnTo>
                    <a:pt x="300" y="96"/>
                  </a:lnTo>
                  <a:lnTo>
                    <a:pt x="302" y="98"/>
                  </a:lnTo>
                  <a:lnTo>
                    <a:pt x="302" y="100"/>
                  </a:lnTo>
                  <a:lnTo>
                    <a:pt x="304" y="102"/>
                  </a:lnTo>
                  <a:lnTo>
                    <a:pt x="306" y="104"/>
                  </a:lnTo>
                  <a:lnTo>
                    <a:pt x="310" y="106"/>
                  </a:lnTo>
                  <a:lnTo>
                    <a:pt x="312" y="108"/>
                  </a:lnTo>
                  <a:lnTo>
                    <a:pt x="312" y="112"/>
                  </a:lnTo>
                  <a:lnTo>
                    <a:pt x="310" y="112"/>
                  </a:lnTo>
                  <a:lnTo>
                    <a:pt x="310" y="114"/>
                  </a:lnTo>
                  <a:lnTo>
                    <a:pt x="310" y="118"/>
                  </a:lnTo>
                  <a:lnTo>
                    <a:pt x="310" y="122"/>
                  </a:lnTo>
                  <a:lnTo>
                    <a:pt x="312" y="130"/>
                  </a:lnTo>
                  <a:lnTo>
                    <a:pt x="308" y="130"/>
                  </a:lnTo>
                  <a:lnTo>
                    <a:pt x="306" y="130"/>
                  </a:lnTo>
                  <a:lnTo>
                    <a:pt x="304" y="130"/>
                  </a:lnTo>
                  <a:lnTo>
                    <a:pt x="302" y="128"/>
                  </a:lnTo>
                  <a:lnTo>
                    <a:pt x="302" y="134"/>
                  </a:lnTo>
                  <a:lnTo>
                    <a:pt x="300" y="136"/>
                  </a:lnTo>
                  <a:lnTo>
                    <a:pt x="300" y="140"/>
                  </a:lnTo>
                  <a:lnTo>
                    <a:pt x="298" y="146"/>
                  </a:lnTo>
                  <a:lnTo>
                    <a:pt x="294" y="160"/>
                  </a:lnTo>
                  <a:lnTo>
                    <a:pt x="294" y="162"/>
                  </a:lnTo>
                  <a:lnTo>
                    <a:pt x="292" y="164"/>
                  </a:lnTo>
                  <a:lnTo>
                    <a:pt x="286" y="170"/>
                  </a:lnTo>
                  <a:lnTo>
                    <a:pt x="282" y="174"/>
                  </a:lnTo>
                  <a:lnTo>
                    <a:pt x="272" y="186"/>
                  </a:lnTo>
                  <a:lnTo>
                    <a:pt x="266" y="194"/>
                  </a:lnTo>
                  <a:lnTo>
                    <a:pt x="248" y="206"/>
                  </a:lnTo>
                  <a:lnTo>
                    <a:pt x="236" y="218"/>
                  </a:lnTo>
                  <a:lnTo>
                    <a:pt x="222" y="222"/>
                  </a:lnTo>
                  <a:lnTo>
                    <a:pt x="214" y="224"/>
                  </a:lnTo>
                  <a:lnTo>
                    <a:pt x="204" y="228"/>
                  </a:lnTo>
                  <a:lnTo>
                    <a:pt x="192" y="232"/>
                  </a:lnTo>
                  <a:lnTo>
                    <a:pt x="174" y="240"/>
                  </a:lnTo>
                  <a:lnTo>
                    <a:pt x="172" y="240"/>
                  </a:lnTo>
                  <a:lnTo>
                    <a:pt x="170" y="240"/>
                  </a:lnTo>
                  <a:lnTo>
                    <a:pt x="166" y="242"/>
                  </a:lnTo>
                  <a:lnTo>
                    <a:pt x="160" y="250"/>
                  </a:lnTo>
                  <a:lnTo>
                    <a:pt x="160" y="252"/>
                  </a:lnTo>
                  <a:lnTo>
                    <a:pt x="156" y="256"/>
                  </a:lnTo>
                  <a:lnTo>
                    <a:pt x="154" y="256"/>
                  </a:lnTo>
                  <a:lnTo>
                    <a:pt x="152" y="258"/>
                  </a:lnTo>
                  <a:lnTo>
                    <a:pt x="152" y="260"/>
                  </a:lnTo>
                  <a:lnTo>
                    <a:pt x="150" y="260"/>
                  </a:lnTo>
                  <a:lnTo>
                    <a:pt x="152" y="262"/>
                  </a:lnTo>
                  <a:lnTo>
                    <a:pt x="154" y="264"/>
                  </a:lnTo>
                  <a:lnTo>
                    <a:pt x="152" y="266"/>
                  </a:lnTo>
                  <a:lnTo>
                    <a:pt x="148" y="268"/>
                  </a:lnTo>
                  <a:lnTo>
                    <a:pt x="148" y="264"/>
                  </a:lnTo>
                  <a:lnTo>
                    <a:pt x="148" y="262"/>
                  </a:lnTo>
                  <a:lnTo>
                    <a:pt x="146" y="262"/>
                  </a:lnTo>
                  <a:lnTo>
                    <a:pt x="146" y="264"/>
                  </a:lnTo>
                  <a:lnTo>
                    <a:pt x="144" y="264"/>
                  </a:lnTo>
                  <a:lnTo>
                    <a:pt x="144" y="266"/>
                  </a:lnTo>
                  <a:lnTo>
                    <a:pt x="144" y="268"/>
                  </a:lnTo>
                  <a:lnTo>
                    <a:pt x="142" y="270"/>
                  </a:lnTo>
                  <a:lnTo>
                    <a:pt x="144" y="272"/>
                  </a:lnTo>
                  <a:lnTo>
                    <a:pt x="142" y="276"/>
                  </a:lnTo>
                  <a:lnTo>
                    <a:pt x="142" y="278"/>
                  </a:lnTo>
                  <a:lnTo>
                    <a:pt x="142" y="280"/>
                  </a:lnTo>
                  <a:lnTo>
                    <a:pt x="140" y="282"/>
                  </a:lnTo>
                  <a:lnTo>
                    <a:pt x="140" y="284"/>
                  </a:lnTo>
                  <a:lnTo>
                    <a:pt x="138" y="286"/>
                  </a:lnTo>
                  <a:lnTo>
                    <a:pt x="134" y="290"/>
                  </a:lnTo>
                  <a:lnTo>
                    <a:pt x="134" y="292"/>
                  </a:lnTo>
                  <a:lnTo>
                    <a:pt x="132" y="294"/>
                  </a:lnTo>
                  <a:lnTo>
                    <a:pt x="132" y="296"/>
                  </a:lnTo>
                  <a:lnTo>
                    <a:pt x="132" y="298"/>
                  </a:lnTo>
                  <a:lnTo>
                    <a:pt x="132" y="300"/>
                  </a:lnTo>
                  <a:lnTo>
                    <a:pt x="128" y="310"/>
                  </a:lnTo>
                  <a:lnTo>
                    <a:pt x="128" y="312"/>
                  </a:lnTo>
                  <a:lnTo>
                    <a:pt x="126" y="312"/>
                  </a:lnTo>
                  <a:lnTo>
                    <a:pt x="126" y="314"/>
                  </a:lnTo>
                  <a:lnTo>
                    <a:pt x="128" y="314"/>
                  </a:lnTo>
                  <a:lnTo>
                    <a:pt x="128" y="318"/>
                  </a:lnTo>
                  <a:lnTo>
                    <a:pt x="128" y="320"/>
                  </a:lnTo>
                  <a:lnTo>
                    <a:pt x="128" y="326"/>
                  </a:lnTo>
                  <a:lnTo>
                    <a:pt x="126" y="326"/>
                  </a:lnTo>
                  <a:lnTo>
                    <a:pt x="124" y="32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" name="Freeform 134"/>
            <p:cNvSpPr>
              <a:spLocks/>
            </p:cNvSpPr>
            <p:nvPr/>
          </p:nvSpPr>
          <p:spPr bwMode="auto">
            <a:xfrm>
              <a:off x="1964" y="1130"/>
              <a:ext cx="20" cy="20"/>
            </a:xfrm>
            <a:custGeom>
              <a:avLst/>
              <a:gdLst/>
              <a:ahLst/>
              <a:cxnLst>
                <a:cxn ang="0">
                  <a:pos x="2" y="20"/>
                </a:cxn>
                <a:cxn ang="0">
                  <a:pos x="0" y="20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2" y="8"/>
                </a:cxn>
                <a:cxn ang="0">
                  <a:pos x="2" y="4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20" y="4"/>
                </a:cxn>
                <a:cxn ang="0">
                  <a:pos x="18" y="4"/>
                </a:cxn>
                <a:cxn ang="0">
                  <a:pos x="18" y="6"/>
                </a:cxn>
                <a:cxn ang="0">
                  <a:pos x="8" y="12"/>
                </a:cxn>
                <a:cxn ang="0">
                  <a:pos x="10" y="16"/>
                </a:cxn>
                <a:cxn ang="0">
                  <a:pos x="8" y="20"/>
                </a:cxn>
                <a:cxn ang="0">
                  <a:pos x="4" y="20"/>
                </a:cxn>
                <a:cxn ang="0">
                  <a:pos x="2" y="20"/>
                </a:cxn>
              </a:cxnLst>
              <a:rect l="0" t="0" r="r" b="b"/>
              <a:pathLst>
                <a:path w="20" h="20">
                  <a:moveTo>
                    <a:pt x="2" y="20"/>
                  </a:moveTo>
                  <a:lnTo>
                    <a:pt x="0" y="20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8"/>
                  </a:lnTo>
                  <a:lnTo>
                    <a:pt x="2" y="4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8" y="12"/>
                  </a:lnTo>
                  <a:lnTo>
                    <a:pt x="10" y="16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2" y="2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6" name="Freeform 135"/>
          <p:cNvSpPr>
            <a:spLocks/>
          </p:cNvSpPr>
          <p:nvPr/>
        </p:nvSpPr>
        <p:spPr bwMode="auto">
          <a:xfrm>
            <a:off x="4309104" y="3461109"/>
            <a:ext cx="509588" cy="587375"/>
          </a:xfrm>
          <a:custGeom>
            <a:avLst/>
            <a:gdLst/>
            <a:ahLst/>
            <a:cxnLst>
              <a:cxn ang="0">
                <a:pos x="234" y="320"/>
              </a:cxn>
              <a:cxn ang="0">
                <a:pos x="214" y="314"/>
              </a:cxn>
              <a:cxn ang="0">
                <a:pos x="194" y="304"/>
              </a:cxn>
              <a:cxn ang="0">
                <a:pos x="176" y="292"/>
              </a:cxn>
              <a:cxn ang="0">
                <a:pos x="156" y="278"/>
              </a:cxn>
              <a:cxn ang="0">
                <a:pos x="124" y="258"/>
              </a:cxn>
              <a:cxn ang="0">
                <a:pos x="100" y="250"/>
              </a:cxn>
              <a:cxn ang="0">
                <a:pos x="80" y="244"/>
              </a:cxn>
              <a:cxn ang="0">
                <a:pos x="58" y="224"/>
              </a:cxn>
              <a:cxn ang="0">
                <a:pos x="38" y="204"/>
              </a:cxn>
              <a:cxn ang="0">
                <a:pos x="28" y="190"/>
              </a:cxn>
              <a:cxn ang="0">
                <a:pos x="16" y="170"/>
              </a:cxn>
              <a:cxn ang="0">
                <a:pos x="4" y="152"/>
              </a:cxn>
              <a:cxn ang="0">
                <a:pos x="24" y="90"/>
              </a:cxn>
              <a:cxn ang="0">
                <a:pos x="32" y="54"/>
              </a:cxn>
              <a:cxn ang="0">
                <a:pos x="74" y="14"/>
              </a:cxn>
              <a:cxn ang="0">
                <a:pos x="144" y="0"/>
              </a:cxn>
              <a:cxn ang="0">
                <a:pos x="208" y="14"/>
              </a:cxn>
              <a:cxn ang="0">
                <a:pos x="240" y="46"/>
              </a:cxn>
              <a:cxn ang="0">
                <a:pos x="242" y="64"/>
              </a:cxn>
              <a:cxn ang="0">
                <a:pos x="252" y="82"/>
              </a:cxn>
              <a:cxn ang="0">
                <a:pos x="246" y="122"/>
              </a:cxn>
              <a:cxn ang="0">
                <a:pos x="240" y="154"/>
              </a:cxn>
              <a:cxn ang="0">
                <a:pos x="250" y="158"/>
              </a:cxn>
              <a:cxn ang="0">
                <a:pos x="280" y="164"/>
              </a:cxn>
              <a:cxn ang="0">
                <a:pos x="302" y="166"/>
              </a:cxn>
              <a:cxn ang="0">
                <a:pos x="318" y="158"/>
              </a:cxn>
              <a:cxn ang="0">
                <a:pos x="330" y="170"/>
              </a:cxn>
              <a:cxn ang="0">
                <a:pos x="354" y="178"/>
              </a:cxn>
              <a:cxn ang="0">
                <a:pos x="358" y="190"/>
              </a:cxn>
              <a:cxn ang="0">
                <a:pos x="358" y="212"/>
              </a:cxn>
              <a:cxn ang="0">
                <a:pos x="360" y="236"/>
              </a:cxn>
              <a:cxn ang="0">
                <a:pos x="364" y="252"/>
              </a:cxn>
              <a:cxn ang="0">
                <a:pos x="374" y="268"/>
              </a:cxn>
              <a:cxn ang="0">
                <a:pos x="392" y="262"/>
              </a:cxn>
              <a:cxn ang="0">
                <a:pos x="420" y="272"/>
              </a:cxn>
              <a:cxn ang="0">
                <a:pos x="420" y="290"/>
              </a:cxn>
              <a:cxn ang="0">
                <a:pos x="416" y="302"/>
              </a:cxn>
              <a:cxn ang="0">
                <a:pos x="408" y="324"/>
              </a:cxn>
              <a:cxn ang="0">
                <a:pos x="402" y="340"/>
              </a:cxn>
              <a:cxn ang="0">
                <a:pos x="396" y="366"/>
              </a:cxn>
              <a:cxn ang="0">
                <a:pos x="390" y="390"/>
              </a:cxn>
              <a:cxn ang="0">
                <a:pos x="374" y="414"/>
              </a:cxn>
              <a:cxn ang="0">
                <a:pos x="358" y="428"/>
              </a:cxn>
              <a:cxn ang="0">
                <a:pos x="340" y="438"/>
              </a:cxn>
              <a:cxn ang="0">
                <a:pos x="324" y="450"/>
              </a:cxn>
              <a:cxn ang="0">
                <a:pos x="310" y="446"/>
              </a:cxn>
              <a:cxn ang="0">
                <a:pos x="296" y="460"/>
              </a:cxn>
              <a:cxn ang="0">
                <a:pos x="286" y="452"/>
              </a:cxn>
              <a:cxn ang="0">
                <a:pos x="276" y="454"/>
              </a:cxn>
              <a:cxn ang="0">
                <a:pos x="266" y="454"/>
              </a:cxn>
              <a:cxn ang="0">
                <a:pos x="252" y="450"/>
              </a:cxn>
              <a:cxn ang="0">
                <a:pos x="232" y="442"/>
              </a:cxn>
              <a:cxn ang="0">
                <a:pos x="194" y="438"/>
              </a:cxn>
              <a:cxn ang="0">
                <a:pos x="186" y="434"/>
              </a:cxn>
              <a:cxn ang="0">
                <a:pos x="202" y="418"/>
              </a:cxn>
              <a:cxn ang="0">
                <a:pos x="214" y="386"/>
              </a:cxn>
              <a:cxn ang="0">
                <a:pos x="230" y="368"/>
              </a:cxn>
              <a:cxn ang="0">
                <a:pos x="248" y="346"/>
              </a:cxn>
            </a:cxnLst>
            <a:rect l="0" t="0" r="r" b="b"/>
            <a:pathLst>
              <a:path w="422" h="460">
                <a:moveTo>
                  <a:pt x="244" y="332"/>
                </a:moveTo>
                <a:lnTo>
                  <a:pt x="242" y="330"/>
                </a:lnTo>
                <a:lnTo>
                  <a:pt x="240" y="328"/>
                </a:lnTo>
                <a:lnTo>
                  <a:pt x="240" y="326"/>
                </a:lnTo>
                <a:lnTo>
                  <a:pt x="234" y="322"/>
                </a:lnTo>
                <a:lnTo>
                  <a:pt x="234" y="320"/>
                </a:lnTo>
                <a:lnTo>
                  <a:pt x="232" y="320"/>
                </a:lnTo>
                <a:lnTo>
                  <a:pt x="230" y="320"/>
                </a:lnTo>
                <a:lnTo>
                  <a:pt x="226" y="318"/>
                </a:lnTo>
                <a:lnTo>
                  <a:pt x="222" y="316"/>
                </a:lnTo>
                <a:lnTo>
                  <a:pt x="218" y="314"/>
                </a:lnTo>
                <a:lnTo>
                  <a:pt x="214" y="314"/>
                </a:lnTo>
                <a:lnTo>
                  <a:pt x="210" y="312"/>
                </a:lnTo>
                <a:lnTo>
                  <a:pt x="206" y="308"/>
                </a:lnTo>
                <a:lnTo>
                  <a:pt x="202" y="306"/>
                </a:lnTo>
                <a:lnTo>
                  <a:pt x="200" y="306"/>
                </a:lnTo>
                <a:lnTo>
                  <a:pt x="198" y="306"/>
                </a:lnTo>
                <a:lnTo>
                  <a:pt x="194" y="304"/>
                </a:lnTo>
                <a:lnTo>
                  <a:pt x="188" y="302"/>
                </a:lnTo>
                <a:lnTo>
                  <a:pt x="184" y="298"/>
                </a:lnTo>
                <a:lnTo>
                  <a:pt x="182" y="298"/>
                </a:lnTo>
                <a:lnTo>
                  <a:pt x="182" y="296"/>
                </a:lnTo>
                <a:lnTo>
                  <a:pt x="180" y="294"/>
                </a:lnTo>
                <a:lnTo>
                  <a:pt x="176" y="292"/>
                </a:lnTo>
                <a:lnTo>
                  <a:pt x="174" y="292"/>
                </a:lnTo>
                <a:lnTo>
                  <a:pt x="164" y="286"/>
                </a:lnTo>
                <a:lnTo>
                  <a:pt x="162" y="286"/>
                </a:lnTo>
                <a:lnTo>
                  <a:pt x="162" y="284"/>
                </a:lnTo>
                <a:lnTo>
                  <a:pt x="160" y="282"/>
                </a:lnTo>
                <a:lnTo>
                  <a:pt x="156" y="278"/>
                </a:lnTo>
                <a:lnTo>
                  <a:pt x="154" y="274"/>
                </a:lnTo>
                <a:lnTo>
                  <a:pt x="146" y="270"/>
                </a:lnTo>
                <a:lnTo>
                  <a:pt x="132" y="260"/>
                </a:lnTo>
                <a:lnTo>
                  <a:pt x="128" y="258"/>
                </a:lnTo>
                <a:lnTo>
                  <a:pt x="126" y="258"/>
                </a:lnTo>
                <a:lnTo>
                  <a:pt x="124" y="258"/>
                </a:lnTo>
                <a:lnTo>
                  <a:pt x="122" y="258"/>
                </a:lnTo>
                <a:lnTo>
                  <a:pt x="122" y="260"/>
                </a:lnTo>
                <a:lnTo>
                  <a:pt x="116" y="258"/>
                </a:lnTo>
                <a:lnTo>
                  <a:pt x="108" y="256"/>
                </a:lnTo>
                <a:lnTo>
                  <a:pt x="100" y="252"/>
                </a:lnTo>
                <a:lnTo>
                  <a:pt x="100" y="250"/>
                </a:lnTo>
                <a:lnTo>
                  <a:pt x="94" y="250"/>
                </a:lnTo>
                <a:lnTo>
                  <a:pt x="92" y="250"/>
                </a:lnTo>
                <a:lnTo>
                  <a:pt x="86" y="248"/>
                </a:lnTo>
                <a:lnTo>
                  <a:pt x="82" y="246"/>
                </a:lnTo>
                <a:lnTo>
                  <a:pt x="80" y="246"/>
                </a:lnTo>
                <a:lnTo>
                  <a:pt x="80" y="244"/>
                </a:lnTo>
                <a:lnTo>
                  <a:pt x="78" y="242"/>
                </a:lnTo>
                <a:lnTo>
                  <a:pt x="76" y="234"/>
                </a:lnTo>
                <a:lnTo>
                  <a:pt x="72" y="232"/>
                </a:lnTo>
                <a:lnTo>
                  <a:pt x="66" y="228"/>
                </a:lnTo>
                <a:lnTo>
                  <a:pt x="64" y="226"/>
                </a:lnTo>
                <a:lnTo>
                  <a:pt x="58" y="224"/>
                </a:lnTo>
                <a:lnTo>
                  <a:pt x="52" y="216"/>
                </a:lnTo>
                <a:lnTo>
                  <a:pt x="50" y="216"/>
                </a:lnTo>
                <a:lnTo>
                  <a:pt x="46" y="216"/>
                </a:lnTo>
                <a:lnTo>
                  <a:pt x="44" y="214"/>
                </a:lnTo>
                <a:lnTo>
                  <a:pt x="44" y="210"/>
                </a:lnTo>
                <a:lnTo>
                  <a:pt x="38" y="204"/>
                </a:lnTo>
                <a:lnTo>
                  <a:pt x="36" y="204"/>
                </a:lnTo>
                <a:lnTo>
                  <a:pt x="32" y="200"/>
                </a:lnTo>
                <a:lnTo>
                  <a:pt x="30" y="198"/>
                </a:lnTo>
                <a:lnTo>
                  <a:pt x="32" y="198"/>
                </a:lnTo>
                <a:lnTo>
                  <a:pt x="30" y="194"/>
                </a:lnTo>
                <a:lnTo>
                  <a:pt x="28" y="190"/>
                </a:lnTo>
                <a:lnTo>
                  <a:pt x="24" y="186"/>
                </a:lnTo>
                <a:lnTo>
                  <a:pt x="20" y="176"/>
                </a:lnTo>
                <a:lnTo>
                  <a:pt x="20" y="174"/>
                </a:lnTo>
                <a:lnTo>
                  <a:pt x="18" y="172"/>
                </a:lnTo>
                <a:lnTo>
                  <a:pt x="16" y="172"/>
                </a:lnTo>
                <a:lnTo>
                  <a:pt x="16" y="170"/>
                </a:lnTo>
                <a:lnTo>
                  <a:pt x="14" y="170"/>
                </a:lnTo>
                <a:lnTo>
                  <a:pt x="12" y="170"/>
                </a:lnTo>
                <a:lnTo>
                  <a:pt x="6" y="164"/>
                </a:lnTo>
                <a:lnTo>
                  <a:pt x="2" y="160"/>
                </a:lnTo>
                <a:lnTo>
                  <a:pt x="0" y="158"/>
                </a:lnTo>
                <a:lnTo>
                  <a:pt x="4" y="152"/>
                </a:lnTo>
                <a:lnTo>
                  <a:pt x="8" y="138"/>
                </a:lnTo>
                <a:lnTo>
                  <a:pt x="10" y="132"/>
                </a:lnTo>
                <a:lnTo>
                  <a:pt x="10" y="130"/>
                </a:lnTo>
                <a:lnTo>
                  <a:pt x="16" y="114"/>
                </a:lnTo>
                <a:lnTo>
                  <a:pt x="24" y="94"/>
                </a:lnTo>
                <a:lnTo>
                  <a:pt x="24" y="90"/>
                </a:lnTo>
                <a:lnTo>
                  <a:pt x="24" y="80"/>
                </a:lnTo>
                <a:lnTo>
                  <a:pt x="24" y="76"/>
                </a:lnTo>
                <a:lnTo>
                  <a:pt x="24" y="70"/>
                </a:lnTo>
                <a:lnTo>
                  <a:pt x="24" y="68"/>
                </a:lnTo>
                <a:lnTo>
                  <a:pt x="28" y="62"/>
                </a:lnTo>
                <a:lnTo>
                  <a:pt x="32" y="54"/>
                </a:lnTo>
                <a:lnTo>
                  <a:pt x="44" y="42"/>
                </a:lnTo>
                <a:lnTo>
                  <a:pt x="46" y="32"/>
                </a:lnTo>
                <a:lnTo>
                  <a:pt x="52" y="22"/>
                </a:lnTo>
                <a:lnTo>
                  <a:pt x="54" y="18"/>
                </a:lnTo>
                <a:lnTo>
                  <a:pt x="58" y="16"/>
                </a:lnTo>
                <a:lnTo>
                  <a:pt x="74" y="14"/>
                </a:lnTo>
                <a:lnTo>
                  <a:pt x="102" y="10"/>
                </a:lnTo>
                <a:lnTo>
                  <a:pt x="112" y="10"/>
                </a:lnTo>
                <a:lnTo>
                  <a:pt x="118" y="8"/>
                </a:lnTo>
                <a:lnTo>
                  <a:pt x="122" y="6"/>
                </a:lnTo>
                <a:lnTo>
                  <a:pt x="142" y="2"/>
                </a:lnTo>
                <a:lnTo>
                  <a:pt x="144" y="0"/>
                </a:lnTo>
                <a:lnTo>
                  <a:pt x="146" y="0"/>
                </a:lnTo>
                <a:lnTo>
                  <a:pt x="166" y="2"/>
                </a:lnTo>
                <a:lnTo>
                  <a:pt x="174" y="4"/>
                </a:lnTo>
                <a:lnTo>
                  <a:pt x="188" y="4"/>
                </a:lnTo>
                <a:lnTo>
                  <a:pt x="192" y="4"/>
                </a:lnTo>
                <a:lnTo>
                  <a:pt x="208" y="14"/>
                </a:lnTo>
                <a:lnTo>
                  <a:pt x="220" y="22"/>
                </a:lnTo>
                <a:lnTo>
                  <a:pt x="234" y="30"/>
                </a:lnTo>
                <a:lnTo>
                  <a:pt x="236" y="30"/>
                </a:lnTo>
                <a:lnTo>
                  <a:pt x="240" y="32"/>
                </a:lnTo>
                <a:lnTo>
                  <a:pt x="240" y="42"/>
                </a:lnTo>
                <a:lnTo>
                  <a:pt x="240" y="46"/>
                </a:lnTo>
                <a:lnTo>
                  <a:pt x="240" y="48"/>
                </a:lnTo>
                <a:lnTo>
                  <a:pt x="238" y="50"/>
                </a:lnTo>
                <a:lnTo>
                  <a:pt x="238" y="54"/>
                </a:lnTo>
                <a:lnTo>
                  <a:pt x="238" y="56"/>
                </a:lnTo>
                <a:lnTo>
                  <a:pt x="240" y="60"/>
                </a:lnTo>
                <a:lnTo>
                  <a:pt x="242" y="64"/>
                </a:lnTo>
                <a:lnTo>
                  <a:pt x="244" y="70"/>
                </a:lnTo>
                <a:lnTo>
                  <a:pt x="246" y="76"/>
                </a:lnTo>
                <a:lnTo>
                  <a:pt x="246" y="82"/>
                </a:lnTo>
                <a:lnTo>
                  <a:pt x="248" y="78"/>
                </a:lnTo>
                <a:lnTo>
                  <a:pt x="248" y="80"/>
                </a:lnTo>
                <a:lnTo>
                  <a:pt x="252" y="82"/>
                </a:lnTo>
                <a:lnTo>
                  <a:pt x="250" y="88"/>
                </a:lnTo>
                <a:lnTo>
                  <a:pt x="252" y="96"/>
                </a:lnTo>
                <a:lnTo>
                  <a:pt x="250" y="116"/>
                </a:lnTo>
                <a:lnTo>
                  <a:pt x="248" y="118"/>
                </a:lnTo>
                <a:lnTo>
                  <a:pt x="246" y="120"/>
                </a:lnTo>
                <a:lnTo>
                  <a:pt x="246" y="122"/>
                </a:lnTo>
                <a:lnTo>
                  <a:pt x="244" y="124"/>
                </a:lnTo>
                <a:lnTo>
                  <a:pt x="244" y="132"/>
                </a:lnTo>
                <a:lnTo>
                  <a:pt x="244" y="140"/>
                </a:lnTo>
                <a:lnTo>
                  <a:pt x="242" y="150"/>
                </a:lnTo>
                <a:lnTo>
                  <a:pt x="240" y="152"/>
                </a:lnTo>
                <a:lnTo>
                  <a:pt x="240" y="154"/>
                </a:lnTo>
                <a:lnTo>
                  <a:pt x="240" y="156"/>
                </a:lnTo>
                <a:lnTo>
                  <a:pt x="244" y="158"/>
                </a:lnTo>
                <a:lnTo>
                  <a:pt x="246" y="160"/>
                </a:lnTo>
                <a:lnTo>
                  <a:pt x="248" y="160"/>
                </a:lnTo>
                <a:lnTo>
                  <a:pt x="250" y="160"/>
                </a:lnTo>
                <a:lnTo>
                  <a:pt x="250" y="158"/>
                </a:lnTo>
                <a:lnTo>
                  <a:pt x="258" y="160"/>
                </a:lnTo>
                <a:lnTo>
                  <a:pt x="260" y="162"/>
                </a:lnTo>
                <a:lnTo>
                  <a:pt x="270" y="164"/>
                </a:lnTo>
                <a:lnTo>
                  <a:pt x="274" y="164"/>
                </a:lnTo>
                <a:lnTo>
                  <a:pt x="278" y="164"/>
                </a:lnTo>
                <a:lnTo>
                  <a:pt x="280" y="164"/>
                </a:lnTo>
                <a:lnTo>
                  <a:pt x="282" y="164"/>
                </a:lnTo>
                <a:lnTo>
                  <a:pt x="290" y="166"/>
                </a:lnTo>
                <a:lnTo>
                  <a:pt x="296" y="168"/>
                </a:lnTo>
                <a:lnTo>
                  <a:pt x="300" y="168"/>
                </a:lnTo>
                <a:lnTo>
                  <a:pt x="302" y="168"/>
                </a:lnTo>
                <a:lnTo>
                  <a:pt x="302" y="166"/>
                </a:lnTo>
                <a:lnTo>
                  <a:pt x="306" y="166"/>
                </a:lnTo>
                <a:lnTo>
                  <a:pt x="308" y="168"/>
                </a:lnTo>
                <a:lnTo>
                  <a:pt x="312" y="164"/>
                </a:lnTo>
                <a:lnTo>
                  <a:pt x="314" y="162"/>
                </a:lnTo>
                <a:lnTo>
                  <a:pt x="316" y="160"/>
                </a:lnTo>
                <a:lnTo>
                  <a:pt x="318" y="158"/>
                </a:lnTo>
                <a:lnTo>
                  <a:pt x="322" y="158"/>
                </a:lnTo>
                <a:lnTo>
                  <a:pt x="322" y="160"/>
                </a:lnTo>
                <a:lnTo>
                  <a:pt x="322" y="162"/>
                </a:lnTo>
                <a:lnTo>
                  <a:pt x="324" y="164"/>
                </a:lnTo>
                <a:lnTo>
                  <a:pt x="326" y="166"/>
                </a:lnTo>
                <a:lnTo>
                  <a:pt x="330" y="170"/>
                </a:lnTo>
                <a:lnTo>
                  <a:pt x="332" y="170"/>
                </a:lnTo>
                <a:lnTo>
                  <a:pt x="338" y="170"/>
                </a:lnTo>
                <a:lnTo>
                  <a:pt x="340" y="170"/>
                </a:lnTo>
                <a:lnTo>
                  <a:pt x="342" y="170"/>
                </a:lnTo>
                <a:lnTo>
                  <a:pt x="348" y="172"/>
                </a:lnTo>
                <a:lnTo>
                  <a:pt x="354" y="178"/>
                </a:lnTo>
                <a:lnTo>
                  <a:pt x="354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6" y="188"/>
                </a:lnTo>
                <a:lnTo>
                  <a:pt x="358" y="190"/>
                </a:lnTo>
                <a:lnTo>
                  <a:pt x="360" y="190"/>
                </a:lnTo>
                <a:lnTo>
                  <a:pt x="358" y="196"/>
                </a:lnTo>
                <a:lnTo>
                  <a:pt x="358" y="198"/>
                </a:lnTo>
                <a:lnTo>
                  <a:pt x="358" y="200"/>
                </a:lnTo>
                <a:lnTo>
                  <a:pt x="358" y="202"/>
                </a:lnTo>
                <a:lnTo>
                  <a:pt x="358" y="212"/>
                </a:lnTo>
                <a:lnTo>
                  <a:pt x="358" y="216"/>
                </a:lnTo>
                <a:lnTo>
                  <a:pt x="360" y="218"/>
                </a:lnTo>
                <a:lnTo>
                  <a:pt x="360" y="228"/>
                </a:lnTo>
                <a:lnTo>
                  <a:pt x="360" y="230"/>
                </a:lnTo>
                <a:lnTo>
                  <a:pt x="362" y="232"/>
                </a:lnTo>
                <a:lnTo>
                  <a:pt x="360" y="236"/>
                </a:lnTo>
                <a:lnTo>
                  <a:pt x="360" y="244"/>
                </a:lnTo>
                <a:lnTo>
                  <a:pt x="360" y="246"/>
                </a:lnTo>
                <a:lnTo>
                  <a:pt x="362" y="246"/>
                </a:lnTo>
                <a:lnTo>
                  <a:pt x="362" y="248"/>
                </a:lnTo>
                <a:lnTo>
                  <a:pt x="364" y="250"/>
                </a:lnTo>
                <a:lnTo>
                  <a:pt x="364" y="252"/>
                </a:lnTo>
                <a:lnTo>
                  <a:pt x="364" y="254"/>
                </a:lnTo>
                <a:lnTo>
                  <a:pt x="364" y="260"/>
                </a:lnTo>
                <a:lnTo>
                  <a:pt x="364" y="262"/>
                </a:lnTo>
                <a:lnTo>
                  <a:pt x="364" y="264"/>
                </a:lnTo>
                <a:lnTo>
                  <a:pt x="366" y="266"/>
                </a:lnTo>
                <a:lnTo>
                  <a:pt x="374" y="268"/>
                </a:lnTo>
                <a:lnTo>
                  <a:pt x="376" y="268"/>
                </a:lnTo>
                <a:lnTo>
                  <a:pt x="378" y="268"/>
                </a:lnTo>
                <a:lnTo>
                  <a:pt x="382" y="266"/>
                </a:lnTo>
                <a:lnTo>
                  <a:pt x="388" y="266"/>
                </a:lnTo>
                <a:lnTo>
                  <a:pt x="390" y="264"/>
                </a:lnTo>
                <a:lnTo>
                  <a:pt x="392" y="262"/>
                </a:lnTo>
                <a:lnTo>
                  <a:pt x="404" y="256"/>
                </a:lnTo>
                <a:lnTo>
                  <a:pt x="408" y="260"/>
                </a:lnTo>
                <a:lnTo>
                  <a:pt x="414" y="264"/>
                </a:lnTo>
                <a:lnTo>
                  <a:pt x="420" y="270"/>
                </a:lnTo>
                <a:lnTo>
                  <a:pt x="422" y="272"/>
                </a:lnTo>
                <a:lnTo>
                  <a:pt x="420" y="272"/>
                </a:lnTo>
                <a:lnTo>
                  <a:pt x="418" y="274"/>
                </a:lnTo>
                <a:lnTo>
                  <a:pt x="418" y="276"/>
                </a:lnTo>
                <a:lnTo>
                  <a:pt x="418" y="282"/>
                </a:lnTo>
                <a:lnTo>
                  <a:pt x="420" y="284"/>
                </a:lnTo>
                <a:lnTo>
                  <a:pt x="420" y="288"/>
                </a:lnTo>
                <a:lnTo>
                  <a:pt x="420" y="290"/>
                </a:lnTo>
                <a:lnTo>
                  <a:pt x="418" y="292"/>
                </a:lnTo>
                <a:lnTo>
                  <a:pt x="416" y="292"/>
                </a:lnTo>
                <a:lnTo>
                  <a:pt x="416" y="294"/>
                </a:lnTo>
                <a:lnTo>
                  <a:pt x="416" y="296"/>
                </a:lnTo>
                <a:lnTo>
                  <a:pt x="416" y="298"/>
                </a:lnTo>
                <a:lnTo>
                  <a:pt x="416" y="302"/>
                </a:lnTo>
                <a:lnTo>
                  <a:pt x="416" y="304"/>
                </a:lnTo>
                <a:lnTo>
                  <a:pt x="416" y="306"/>
                </a:lnTo>
                <a:lnTo>
                  <a:pt x="414" y="306"/>
                </a:lnTo>
                <a:lnTo>
                  <a:pt x="412" y="312"/>
                </a:lnTo>
                <a:lnTo>
                  <a:pt x="410" y="314"/>
                </a:lnTo>
                <a:lnTo>
                  <a:pt x="408" y="324"/>
                </a:lnTo>
                <a:lnTo>
                  <a:pt x="406" y="326"/>
                </a:lnTo>
                <a:lnTo>
                  <a:pt x="406" y="328"/>
                </a:lnTo>
                <a:lnTo>
                  <a:pt x="408" y="330"/>
                </a:lnTo>
                <a:lnTo>
                  <a:pt x="408" y="332"/>
                </a:lnTo>
                <a:lnTo>
                  <a:pt x="404" y="338"/>
                </a:lnTo>
                <a:lnTo>
                  <a:pt x="402" y="340"/>
                </a:lnTo>
                <a:lnTo>
                  <a:pt x="400" y="342"/>
                </a:lnTo>
                <a:lnTo>
                  <a:pt x="396" y="346"/>
                </a:lnTo>
                <a:lnTo>
                  <a:pt x="396" y="350"/>
                </a:lnTo>
                <a:lnTo>
                  <a:pt x="396" y="354"/>
                </a:lnTo>
                <a:lnTo>
                  <a:pt x="396" y="358"/>
                </a:lnTo>
                <a:lnTo>
                  <a:pt x="396" y="366"/>
                </a:lnTo>
                <a:lnTo>
                  <a:pt x="396" y="374"/>
                </a:lnTo>
                <a:lnTo>
                  <a:pt x="392" y="376"/>
                </a:lnTo>
                <a:lnTo>
                  <a:pt x="392" y="386"/>
                </a:lnTo>
                <a:lnTo>
                  <a:pt x="392" y="388"/>
                </a:lnTo>
                <a:lnTo>
                  <a:pt x="392" y="390"/>
                </a:lnTo>
                <a:lnTo>
                  <a:pt x="390" y="390"/>
                </a:lnTo>
                <a:lnTo>
                  <a:pt x="390" y="394"/>
                </a:lnTo>
                <a:lnTo>
                  <a:pt x="388" y="400"/>
                </a:lnTo>
                <a:lnTo>
                  <a:pt x="378" y="414"/>
                </a:lnTo>
                <a:lnTo>
                  <a:pt x="378" y="412"/>
                </a:lnTo>
                <a:lnTo>
                  <a:pt x="376" y="414"/>
                </a:lnTo>
                <a:lnTo>
                  <a:pt x="374" y="414"/>
                </a:lnTo>
                <a:lnTo>
                  <a:pt x="374" y="418"/>
                </a:lnTo>
                <a:lnTo>
                  <a:pt x="372" y="420"/>
                </a:lnTo>
                <a:lnTo>
                  <a:pt x="370" y="420"/>
                </a:lnTo>
                <a:lnTo>
                  <a:pt x="368" y="420"/>
                </a:lnTo>
                <a:lnTo>
                  <a:pt x="364" y="424"/>
                </a:lnTo>
                <a:lnTo>
                  <a:pt x="358" y="428"/>
                </a:lnTo>
                <a:lnTo>
                  <a:pt x="356" y="428"/>
                </a:lnTo>
                <a:lnTo>
                  <a:pt x="350" y="428"/>
                </a:lnTo>
                <a:lnTo>
                  <a:pt x="350" y="430"/>
                </a:lnTo>
                <a:lnTo>
                  <a:pt x="348" y="430"/>
                </a:lnTo>
                <a:lnTo>
                  <a:pt x="340" y="436"/>
                </a:lnTo>
                <a:lnTo>
                  <a:pt x="340" y="438"/>
                </a:lnTo>
                <a:lnTo>
                  <a:pt x="340" y="442"/>
                </a:lnTo>
                <a:lnTo>
                  <a:pt x="340" y="444"/>
                </a:lnTo>
                <a:lnTo>
                  <a:pt x="338" y="448"/>
                </a:lnTo>
                <a:lnTo>
                  <a:pt x="330" y="454"/>
                </a:lnTo>
                <a:lnTo>
                  <a:pt x="324" y="452"/>
                </a:lnTo>
                <a:lnTo>
                  <a:pt x="324" y="450"/>
                </a:lnTo>
                <a:lnTo>
                  <a:pt x="322" y="448"/>
                </a:lnTo>
                <a:lnTo>
                  <a:pt x="320" y="448"/>
                </a:lnTo>
                <a:lnTo>
                  <a:pt x="316" y="446"/>
                </a:lnTo>
                <a:lnTo>
                  <a:pt x="314" y="446"/>
                </a:lnTo>
                <a:lnTo>
                  <a:pt x="312" y="446"/>
                </a:lnTo>
                <a:lnTo>
                  <a:pt x="310" y="446"/>
                </a:lnTo>
                <a:lnTo>
                  <a:pt x="304" y="450"/>
                </a:lnTo>
                <a:lnTo>
                  <a:pt x="304" y="452"/>
                </a:lnTo>
                <a:lnTo>
                  <a:pt x="304" y="454"/>
                </a:lnTo>
                <a:lnTo>
                  <a:pt x="300" y="460"/>
                </a:lnTo>
                <a:lnTo>
                  <a:pt x="298" y="460"/>
                </a:lnTo>
                <a:lnTo>
                  <a:pt x="296" y="460"/>
                </a:lnTo>
                <a:lnTo>
                  <a:pt x="294" y="458"/>
                </a:lnTo>
                <a:lnTo>
                  <a:pt x="292" y="454"/>
                </a:lnTo>
                <a:lnTo>
                  <a:pt x="290" y="454"/>
                </a:lnTo>
                <a:lnTo>
                  <a:pt x="290" y="452"/>
                </a:lnTo>
                <a:lnTo>
                  <a:pt x="288" y="452"/>
                </a:lnTo>
                <a:lnTo>
                  <a:pt x="286" y="452"/>
                </a:lnTo>
                <a:lnTo>
                  <a:pt x="284" y="452"/>
                </a:lnTo>
                <a:lnTo>
                  <a:pt x="284" y="454"/>
                </a:lnTo>
                <a:lnTo>
                  <a:pt x="282" y="454"/>
                </a:lnTo>
                <a:lnTo>
                  <a:pt x="280" y="454"/>
                </a:lnTo>
                <a:lnTo>
                  <a:pt x="278" y="454"/>
                </a:lnTo>
                <a:lnTo>
                  <a:pt x="276" y="454"/>
                </a:lnTo>
                <a:lnTo>
                  <a:pt x="276" y="452"/>
                </a:lnTo>
                <a:lnTo>
                  <a:pt x="274" y="450"/>
                </a:lnTo>
                <a:lnTo>
                  <a:pt x="272" y="450"/>
                </a:lnTo>
                <a:lnTo>
                  <a:pt x="268" y="450"/>
                </a:lnTo>
                <a:lnTo>
                  <a:pt x="266" y="452"/>
                </a:lnTo>
                <a:lnTo>
                  <a:pt x="266" y="454"/>
                </a:lnTo>
                <a:lnTo>
                  <a:pt x="264" y="454"/>
                </a:lnTo>
                <a:lnTo>
                  <a:pt x="262" y="454"/>
                </a:lnTo>
                <a:lnTo>
                  <a:pt x="258" y="454"/>
                </a:lnTo>
                <a:lnTo>
                  <a:pt x="256" y="452"/>
                </a:lnTo>
                <a:lnTo>
                  <a:pt x="254" y="450"/>
                </a:lnTo>
                <a:lnTo>
                  <a:pt x="252" y="450"/>
                </a:lnTo>
                <a:lnTo>
                  <a:pt x="250" y="450"/>
                </a:lnTo>
                <a:lnTo>
                  <a:pt x="248" y="448"/>
                </a:lnTo>
                <a:lnTo>
                  <a:pt x="236" y="446"/>
                </a:lnTo>
                <a:lnTo>
                  <a:pt x="236" y="444"/>
                </a:lnTo>
                <a:lnTo>
                  <a:pt x="234" y="444"/>
                </a:lnTo>
                <a:lnTo>
                  <a:pt x="232" y="442"/>
                </a:lnTo>
                <a:lnTo>
                  <a:pt x="228" y="440"/>
                </a:lnTo>
                <a:lnTo>
                  <a:pt x="222" y="440"/>
                </a:lnTo>
                <a:lnTo>
                  <a:pt x="218" y="438"/>
                </a:lnTo>
                <a:lnTo>
                  <a:pt x="210" y="438"/>
                </a:lnTo>
                <a:lnTo>
                  <a:pt x="204" y="438"/>
                </a:lnTo>
                <a:lnTo>
                  <a:pt x="194" y="438"/>
                </a:lnTo>
                <a:lnTo>
                  <a:pt x="192" y="438"/>
                </a:lnTo>
                <a:lnTo>
                  <a:pt x="192" y="440"/>
                </a:lnTo>
                <a:lnTo>
                  <a:pt x="190" y="440"/>
                </a:lnTo>
                <a:lnTo>
                  <a:pt x="188" y="440"/>
                </a:lnTo>
                <a:lnTo>
                  <a:pt x="188" y="436"/>
                </a:lnTo>
                <a:lnTo>
                  <a:pt x="186" y="434"/>
                </a:lnTo>
                <a:lnTo>
                  <a:pt x="186" y="432"/>
                </a:lnTo>
                <a:lnTo>
                  <a:pt x="188" y="430"/>
                </a:lnTo>
                <a:lnTo>
                  <a:pt x="190" y="430"/>
                </a:lnTo>
                <a:lnTo>
                  <a:pt x="196" y="422"/>
                </a:lnTo>
                <a:lnTo>
                  <a:pt x="200" y="418"/>
                </a:lnTo>
                <a:lnTo>
                  <a:pt x="202" y="418"/>
                </a:lnTo>
                <a:lnTo>
                  <a:pt x="204" y="418"/>
                </a:lnTo>
                <a:lnTo>
                  <a:pt x="212" y="406"/>
                </a:lnTo>
                <a:lnTo>
                  <a:pt x="212" y="402"/>
                </a:lnTo>
                <a:lnTo>
                  <a:pt x="212" y="400"/>
                </a:lnTo>
                <a:lnTo>
                  <a:pt x="212" y="392"/>
                </a:lnTo>
                <a:lnTo>
                  <a:pt x="214" y="386"/>
                </a:lnTo>
                <a:lnTo>
                  <a:pt x="216" y="384"/>
                </a:lnTo>
                <a:lnTo>
                  <a:pt x="216" y="382"/>
                </a:lnTo>
                <a:lnTo>
                  <a:pt x="220" y="376"/>
                </a:lnTo>
                <a:lnTo>
                  <a:pt x="224" y="376"/>
                </a:lnTo>
                <a:lnTo>
                  <a:pt x="230" y="370"/>
                </a:lnTo>
                <a:lnTo>
                  <a:pt x="230" y="368"/>
                </a:lnTo>
                <a:lnTo>
                  <a:pt x="232" y="364"/>
                </a:lnTo>
                <a:lnTo>
                  <a:pt x="234" y="362"/>
                </a:lnTo>
                <a:lnTo>
                  <a:pt x="234" y="358"/>
                </a:lnTo>
                <a:lnTo>
                  <a:pt x="236" y="358"/>
                </a:lnTo>
                <a:lnTo>
                  <a:pt x="238" y="356"/>
                </a:lnTo>
                <a:lnTo>
                  <a:pt x="248" y="346"/>
                </a:lnTo>
                <a:lnTo>
                  <a:pt x="248" y="342"/>
                </a:lnTo>
                <a:lnTo>
                  <a:pt x="248" y="340"/>
                </a:lnTo>
                <a:lnTo>
                  <a:pt x="246" y="338"/>
                </a:lnTo>
                <a:lnTo>
                  <a:pt x="244" y="332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7" name="Freeform 136"/>
          <p:cNvSpPr>
            <a:spLocks/>
          </p:cNvSpPr>
          <p:nvPr/>
        </p:nvSpPr>
        <p:spPr bwMode="auto">
          <a:xfrm>
            <a:off x="4507540" y="4221592"/>
            <a:ext cx="315912" cy="344487"/>
          </a:xfrm>
          <a:custGeom>
            <a:avLst/>
            <a:gdLst/>
            <a:ahLst/>
            <a:cxnLst>
              <a:cxn ang="0">
                <a:pos x="8" y="170"/>
              </a:cxn>
              <a:cxn ang="0">
                <a:pos x="10" y="162"/>
              </a:cxn>
              <a:cxn ang="0">
                <a:pos x="20" y="158"/>
              </a:cxn>
              <a:cxn ang="0">
                <a:pos x="20" y="144"/>
              </a:cxn>
              <a:cxn ang="0">
                <a:pos x="18" y="128"/>
              </a:cxn>
              <a:cxn ang="0">
                <a:pos x="24" y="118"/>
              </a:cxn>
              <a:cxn ang="0">
                <a:pos x="22" y="108"/>
              </a:cxn>
              <a:cxn ang="0">
                <a:pos x="22" y="96"/>
              </a:cxn>
              <a:cxn ang="0">
                <a:pos x="30" y="90"/>
              </a:cxn>
              <a:cxn ang="0">
                <a:pos x="30" y="74"/>
              </a:cxn>
              <a:cxn ang="0">
                <a:pos x="44" y="50"/>
              </a:cxn>
              <a:cxn ang="0">
                <a:pos x="46" y="28"/>
              </a:cxn>
              <a:cxn ang="0">
                <a:pos x="48" y="18"/>
              </a:cxn>
              <a:cxn ang="0">
                <a:pos x="58" y="6"/>
              </a:cxn>
              <a:cxn ang="0">
                <a:pos x="64" y="8"/>
              </a:cxn>
              <a:cxn ang="0">
                <a:pos x="80" y="10"/>
              </a:cxn>
              <a:cxn ang="0">
                <a:pos x="92" y="0"/>
              </a:cxn>
              <a:cxn ang="0">
                <a:pos x="110" y="14"/>
              </a:cxn>
              <a:cxn ang="0">
                <a:pos x="122" y="26"/>
              </a:cxn>
              <a:cxn ang="0">
                <a:pos x="136" y="44"/>
              </a:cxn>
              <a:cxn ang="0">
                <a:pos x="134" y="56"/>
              </a:cxn>
              <a:cxn ang="0">
                <a:pos x="152" y="46"/>
              </a:cxn>
              <a:cxn ang="0">
                <a:pos x="164" y="56"/>
              </a:cxn>
              <a:cxn ang="0">
                <a:pos x="180" y="72"/>
              </a:cxn>
              <a:cxn ang="0">
                <a:pos x="188" y="80"/>
              </a:cxn>
              <a:cxn ang="0">
                <a:pos x="204" y="88"/>
              </a:cxn>
              <a:cxn ang="0">
                <a:pos x="212" y="100"/>
              </a:cxn>
              <a:cxn ang="0">
                <a:pos x="230" y="112"/>
              </a:cxn>
              <a:cxn ang="0">
                <a:pos x="238" y="134"/>
              </a:cxn>
              <a:cxn ang="0">
                <a:pos x="250" y="146"/>
              </a:cxn>
              <a:cxn ang="0">
                <a:pos x="258" y="158"/>
              </a:cxn>
              <a:cxn ang="0">
                <a:pos x="240" y="172"/>
              </a:cxn>
              <a:cxn ang="0">
                <a:pos x="238" y="182"/>
              </a:cxn>
              <a:cxn ang="0">
                <a:pos x="236" y="194"/>
              </a:cxn>
              <a:cxn ang="0">
                <a:pos x="234" y="204"/>
              </a:cxn>
              <a:cxn ang="0">
                <a:pos x="238" y="210"/>
              </a:cxn>
              <a:cxn ang="0">
                <a:pos x="232" y="222"/>
              </a:cxn>
              <a:cxn ang="0">
                <a:pos x="220" y="238"/>
              </a:cxn>
              <a:cxn ang="0">
                <a:pos x="200" y="254"/>
              </a:cxn>
              <a:cxn ang="0">
                <a:pos x="194" y="256"/>
              </a:cxn>
              <a:cxn ang="0">
                <a:pos x="188" y="260"/>
              </a:cxn>
              <a:cxn ang="0">
                <a:pos x="164" y="270"/>
              </a:cxn>
              <a:cxn ang="0">
                <a:pos x="150" y="266"/>
              </a:cxn>
              <a:cxn ang="0">
                <a:pos x="140" y="264"/>
              </a:cxn>
              <a:cxn ang="0">
                <a:pos x="120" y="260"/>
              </a:cxn>
              <a:cxn ang="0">
                <a:pos x="108" y="264"/>
              </a:cxn>
              <a:cxn ang="0">
                <a:pos x="90" y="260"/>
              </a:cxn>
              <a:cxn ang="0">
                <a:pos x="68" y="250"/>
              </a:cxn>
              <a:cxn ang="0">
                <a:pos x="32" y="236"/>
              </a:cxn>
              <a:cxn ang="0">
                <a:pos x="20" y="228"/>
              </a:cxn>
              <a:cxn ang="0">
                <a:pos x="4" y="208"/>
              </a:cxn>
              <a:cxn ang="0">
                <a:pos x="0" y="200"/>
              </a:cxn>
              <a:cxn ang="0">
                <a:pos x="4" y="180"/>
              </a:cxn>
            </a:cxnLst>
            <a:rect l="0" t="0" r="r" b="b"/>
            <a:pathLst>
              <a:path w="262" h="270">
                <a:moveTo>
                  <a:pt x="4" y="178"/>
                </a:moveTo>
                <a:lnTo>
                  <a:pt x="4" y="174"/>
                </a:lnTo>
                <a:lnTo>
                  <a:pt x="6" y="174"/>
                </a:lnTo>
                <a:lnTo>
                  <a:pt x="6" y="172"/>
                </a:lnTo>
                <a:lnTo>
                  <a:pt x="8" y="170"/>
                </a:lnTo>
                <a:lnTo>
                  <a:pt x="8" y="168"/>
                </a:lnTo>
                <a:lnTo>
                  <a:pt x="8" y="166"/>
                </a:lnTo>
                <a:lnTo>
                  <a:pt x="8" y="164"/>
                </a:lnTo>
                <a:lnTo>
                  <a:pt x="8" y="162"/>
                </a:lnTo>
                <a:lnTo>
                  <a:pt x="10" y="162"/>
                </a:lnTo>
                <a:lnTo>
                  <a:pt x="12" y="162"/>
                </a:lnTo>
                <a:lnTo>
                  <a:pt x="14" y="162"/>
                </a:lnTo>
                <a:lnTo>
                  <a:pt x="16" y="162"/>
                </a:lnTo>
                <a:lnTo>
                  <a:pt x="18" y="162"/>
                </a:lnTo>
                <a:lnTo>
                  <a:pt x="20" y="158"/>
                </a:lnTo>
                <a:lnTo>
                  <a:pt x="24" y="152"/>
                </a:lnTo>
                <a:lnTo>
                  <a:pt x="24" y="150"/>
                </a:lnTo>
                <a:lnTo>
                  <a:pt x="22" y="148"/>
                </a:lnTo>
                <a:lnTo>
                  <a:pt x="20" y="146"/>
                </a:lnTo>
                <a:lnTo>
                  <a:pt x="20" y="144"/>
                </a:lnTo>
                <a:lnTo>
                  <a:pt x="20" y="142"/>
                </a:lnTo>
                <a:lnTo>
                  <a:pt x="20" y="140"/>
                </a:lnTo>
                <a:lnTo>
                  <a:pt x="20" y="138"/>
                </a:lnTo>
                <a:lnTo>
                  <a:pt x="20" y="134"/>
                </a:lnTo>
                <a:lnTo>
                  <a:pt x="18" y="128"/>
                </a:lnTo>
                <a:lnTo>
                  <a:pt x="18" y="126"/>
                </a:lnTo>
                <a:lnTo>
                  <a:pt x="20" y="122"/>
                </a:lnTo>
                <a:lnTo>
                  <a:pt x="22" y="122"/>
                </a:lnTo>
                <a:lnTo>
                  <a:pt x="22" y="120"/>
                </a:lnTo>
                <a:lnTo>
                  <a:pt x="24" y="118"/>
                </a:lnTo>
                <a:lnTo>
                  <a:pt x="24" y="116"/>
                </a:lnTo>
                <a:lnTo>
                  <a:pt x="24" y="114"/>
                </a:lnTo>
                <a:lnTo>
                  <a:pt x="22" y="112"/>
                </a:lnTo>
                <a:lnTo>
                  <a:pt x="22" y="110"/>
                </a:lnTo>
                <a:lnTo>
                  <a:pt x="22" y="108"/>
                </a:lnTo>
                <a:lnTo>
                  <a:pt x="22" y="106"/>
                </a:lnTo>
                <a:lnTo>
                  <a:pt x="24" y="104"/>
                </a:lnTo>
                <a:lnTo>
                  <a:pt x="24" y="100"/>
                </a:lnTo>
                <a:lnTo>
                  <a:pt x="24" y="98"/>
                </a:lnTo>
                <a:lnTo>
                  <a:pt x="22" y="96"/>
                </a:lnTo>
                <a:lnTo>
                  <a:pt x="22" y="94"/>
                </a:lnTo>
                <a:lnTo>
                  <a:pt x="24" y="92"/>
                </a:lnTo>
                <a:lnTo>
                  <a:pt x="26" y="92"/>
                </a:lnTo>
                <a:lnTo>
                  <a:pt x="28" y="92"/>
                </a:lnTo>
                <a:lnTo>
                  <a:pt x="30" y="90"/>
                </a:lnTo>
                <a:lnTo>
                  <a:pt x="34" y="80"/>
                </a:lnTo>
                <a:lnTo>
                  <a:pt x="34" y="78"/>
                </a:lnTo>
                <a:lnTo>
                  <a:pt x="32" y="76"/>
                </a:lnTo>
                <a:lnTo>
                  <a:pt x="32" y="74"/>
                </a:lnTo>
                <a:lnTo>
                  <a:pt x="30" y="74"/>
                </a:lnTo>
                <a:lnTo>
                  <a:pt x="30" y="72"/>
                </a:lnTo>
                <a:lnTo>
                  <a:pt x="32" y="70"/>
                </a:lnTo>
                <a:lnTo>
                  <a:pt x="34" y="70"/>
                </a:lnTo>
                <a:lnTo>
                  <a:pt x="38" y="62"/>
                </a:lnTo>
                <a:lnTo>
                  <a:pt x="44" y="50"/>
                </a:lnTo>
                <a:lnTo>
                  <a:pt x="48" y="42"/>
                </a:lnTo>
                <a:lnTo>
                  <a:pt x="48" y="36"/>
                </a:lnTo>
                <a:lnTo>
                  <a:pt x="48" y="34"/>
                </a:lnTo>
                <a:lnTo>
                  <a:pt x="48" y="32"/>
                </a:lnTo>
                <a:lnTo>
                  <a:pt x="46" y="28"/>
                </a:lnTo>
                <a:lnTo>
                  <a:pt x="44" y="26"/>
                </a:lnTo>
                <a:lnTo>
                  <a:pt x="44" y="24"/>
                </a:lnTo>
                <a:lnTo>
                  <a:pt x="44" y="22"/>
                </a:lnTo>
                <a:lnTo>
                  <a:pt x="46" y="20"/>
                </a:lnTo>
                <a:lnTo>
                  <a:pt x="48" y="18"/>
                </a:lnTo>
                <a:lnTo>
                  <a:pt x="52" y="16"/>
                </a:lnTo>
                <a:lnTo>
                  <a:pt x="56" y="12"/>
                </a:lnTo>
                <a:lnTo>
                  <a:pt x="58" y="10"/>
                </a:lnTo>
                <a:lnTo>
                  <a:pt x="58" y="8"/>
                </a:lnTo>
                <a:lnTo>
                  <a:pt x="58" y="6"/>
                </a:lnTo>
                <a:lnTo>
                  <a:pt x="60" y="4"/>
                </a:lnTo>
                <a:lnTo>
                  <a:pt x="62" y="4"/>
                </a:lnTo>
                <a:lnTo>
                  <a:pt x="62" y="6"/>
                </a:lnTo>
                <a:lnTo>
                  <a:pt x="62" y="8"/>
                </a:lnTo>
                <a:lnTo>
                  <a:pt x="64" y="8"/>
                </a:lnTo>
                <a:lnTo>
                  <a:pt x="72" y="8"/>
                </a:lnTo>
                <a:lnTo>
                  <a:pt x="74" y="8"/>
                </a:lnTo>
                <a:lnTo>
                  <a:pt x="74" y="10"/>
                </a:lnTo>
                <a:lnTo>
                  <a:pt x="78" y="10"/>
                </a:lnTo>
                <a:lnTo>
                  <a:pt x="80" y="10"/>
                </a:lnTo>
                <a:lnTo>
                  <a:pt x="82" y="6"/>
                </a:lnTo>
                <a:lnTo>
                  <a:pt x="82" y="4"/>
                </a:lnTo>
                <a:lnTo>
                  <a:pt x="84" y="2"/>
                </a:lnTo>
                <a:lnTo>
                  <a:pt x="86" y="0"/>
                </a:lnTo>
                <a:lnTo>
                  <a:pt x="92" y="0"/>
                </a:lnTo>
                <a:lnTo>
                  <a:pt x="96" y="0"/>
                </a:lnTo>
                <a:lnTo>
                  <a:pt x="100" y="2"/>
                </a:lnTo>
                <a:lnTo>
                  <a:pt x="106" y="8"/>
                </a:lnTo>
                <a:lnTo>
                  <a:pt x="110" y="12"/>
                </a:lnTo>
                <a:lnTo>
                  <a:pt x="110" y="14"/>
                </a:lnTo>
                <a:lnTo>
                  <a:pt x="112" y="14"/>
                </a:lnTo>
                <a:lnTo>
                  <a:pt x="112" y="16"/>
                </a:lnTo>
                <a:lnTo>
                  <a:pt x="118" y="22"/>
                </a:lnTo>
                <a:lnTo>
                  <a:pt x="120" y="24"/>
                </a:lnTo>
                <a:lnTo>
                  <a:pt x="122" y="26"/>
                </a:lnTo>
                <a:lnTo>
                  <a:pt x="124" y="26"/>
                </a:lnTo>
                <a:lnTo>
                  <a:pt x="130" y="34"/>
                </a:lnTo>
                <a:lnTo>
                  <a:pt x="134" y="42"/>
                </a:lnTo>
                <a:lnTo>
                  <a:pt x="136" y="42"/>
                </a:lnTo>
                <a:lnTo>
                  <a:pt x="136" y="44"/>
                </a:lnTo>
                <a:lnTo>
                  <a:pt x="134" y="46"/>
                </a:lnTo>
                <a:lnTo>
                  <a:pt x="134" y="48"/>
                </a:lnTo>
                <a:lnTo>
                  <a:pt x="134" y="50"/>
                </a:lnTo>
                <a:lnTo>
                  <a:pt x="132" y="56"/>
                </a:lnTo>
                <a:lnTo>
                  <a:pt x="134" y="56"/>
                </a:lnTo>
                <a:lnTo>
                  <a:pt x="138" y="56"/>
                </a:lnTo>
                <a:lnTo>
                  <a:pt x="140" y="56"/>
                </a:lnTo>
                <a:lnTo>
                  <a:pt x="144" y="54"/>
                </a:lnTo>
                <a:lnTo>
                  <a:pt x="150" y="50"/>
                </a:lnTo>
                <a:lnTo>
                  <a:pt x="152" y="46"/>
                </a:lnTo>
                <a:lnTo>
                  <a:pt x="152" y="44"/>
                </a:lnTo>
                <a:lnTo>
                  <a:pt x="154" y="44"/>
                </a:lnTo>
                <a:lnTo>
                  <a:pt x="158" y="46"/>
                </a:lnTo>
                <a:lnTo>
                  <a:pt x="162" y="52"/>
                </a:lnTo>
                <a:lnTo>
                  <a:pt x="164" y="56"/>
                </a:lnTo>
                <a:lnTo>
                  <a:pt x="166" y="58"/>
                </a:lnTo>
                <a:lnTo>
                  <a:pt x="168" y="66"/>
                </a:lnTo>
                <a:lnTo>
                  <a:pt x="170" y="68"/>
                </a:lnTo>
                <a:lnTo>
                  <a:pt x="176" y="72"/>
                </a:lnTo>
                <a:lnTo>
                  <a:pt x="180" y="72"/>
                </a:lnTo>
                <a:lnTo>
                  <a:pt x="182" y="74"/>
                </a:lnTo>
                <a:lnTo>
                  <a:pt x="184" y="76"/>
                </a:lnTo>
                <a:lnTo>
                  <a:pt x="186" y="78"/>
                </a:lnTo>
                <a:lnTo>
                  <a:pt x="188" y="78"/>
                </a:lnTo>
                <a:lnTo>
                  <a:pt x="188" y="80"/>
                </a:lnTo>
                <a:lnTo>
                  <a:pt x="190" y="80"/>
                </a:lnTo>
                <a:lnTo>
                  <a:pt x="192" y="80"/>
                </a:lnTo>
                <a:lnTo>
                  <a:pt x="194" y="80"/>
                </a:lnTo>
                <a:lnTo>
                  <a:pt x="198" y="80"/>
                </a:lnTo>
                <a:lnTo>
                  <a:pt x="204" y="88"/>
                </a:lnTo>
                <a:lnTo>
                  <a:pt x="204" y="94"/>
                </a:lnTo>
                <a:lnTo>
                  <a:pt x="206" y="94"/>
                </a:lnTo>
                <a:lnTo>
                  <a:pt x="208" y="96"/>
                </a:lnTo>
                <a:lnTo>
                  <a:pt x="208" y="98"/>
                </a:lnTo>
                <a:lnTo>
                  <a:pt x="212" y="100"/>
                </a:lnTo>
                <a:lnTo>
                  <a:pt x="216" y="106"/>
                </a:lnTo>
                <a:lnTo>
                  <a:pt x="220" y="106"/>
                </a:lnTo>
                <a:lnTo>
                  <a:pt x="222" y="106"/>
                </a:lnTo>
                <a:lnTo>
                  <a:pt x="228" y="110"/>
                </a:lnTo>
                <a:lnTo>
                  <a:pt x="230" y="112"/>
                </a:lnTo>
                <a:lnTo>
                  <a:pt x="236" y="118"/>
                </a:lnTo>
                <a:lnTo>
                  <a:pt x="238" y="124"/>
                </a:lnTo>
                <a:lnTo>
                  <a:pt x="240" y="128"/>
                </a:lnTo>
                <a:lnTo>
                  <a:pt x="238" y="130"/>
                </a:lnTo>
                <a:lnTo>
                  <a:pt x="238" y="134"/>
                </a:lnTo>
                <a:lnTo>
                  <a:pt x="242" y="136"/>
                </a:lnTo>
                <a:lnTo>
                  <a:pt x="242" y="138"/>
                </a:lnTo>
                <a:lnTo>
                  <a:pt x="244" y="140"/>
                </a:lnTo>
                <a:lnTo>
                  <a:pt x="248" y="146"/>
                </a:lnTo>
                <a:lnTo>
                  <a:pt x="250" y="146"/>
                </a:lnTo>
                <a:lnTo>
                  <a:pt x="254" y="148"/>
                </a:lnTo>
                <a:lnTo>
                  <a:pt x="258" y="150"/>
                </a:lnTo>
                <a:lnTo>
                  <a:pt x="260" y="152"/>
                </a:lnTo>
                <a:lnTo>
                  <a:pt x="262" y="154"/>
                </a:lnTo>
                <a:lnTo>
                  <a:pt x="258" y="158"/>
                </a:lnTo>
                <a:lnTo>
                  <a:pt x="254" y="162"/>
                </a:lnTo>
                <a:lnTo>
                  <a:pt x="250" y="166"/>
                </a:lnTo>
                <a:lnTo>
                  <a:pt x="244" y="172"/>
                </a:lnTo>
                <a:lnTo>
                  <a:pt x="242" y="172"/>
                </a:lnTo>
                <a:lnTo>
                  <a:pt x="240" y="172"/>
                </a:lnTo>
                <a:lnTo>
                  <a:pt x="240" y="174"/>
                </a:lnTo>
                <a:lnTo>
                  <a:pt x="238" y="176"/>
                </a:lnTo>
                <a:lnTo>
                  <a:pt x="238" y="178"/>
                </a:lnTo>
                <a:lnTo>
                  <a:pt x="238" y="180"/>
                </a:lnTo>
                <a:lnTo>
                  <a:pt x="238" y="182"/>
                </a:lnTo>
                <a:lnTo>
                  <a:pt x="238" y="184"/>
                </a:lnTo>
                <a:lnTo>
                  <a:pt x="238" y="186"/>
                </a:lnTo>
                <a:lnTo>
                  <a:pt x="238" y="190"/>
                </a:lnTo>
                <a:lnTo>
                  <a:pt x="238" y="192"/>
                </a:lnTo>
                <a:lnTo>
                  <a:pt x="236" y="194"/>
                </a:lnTo>
                <a:lnTo>
                  <a:pt x="236" y="196"/>
                </a:lnTo>
                <a:lnTo>
                  <a:pt x="236" y="198"/>
                </a:lnTo>
                <a:lnTo>
                  <a:pt x="234" y="200"/>
                </a:lnTo>
                <a:lnTo>
                  <a:pt x="234" y="202"/>
                </a:lnTo>
                <a:lnTo>
                  <a:pt x="234" y="204"/>
                </a:lnTo>
                <a:lnTo>
                  <a:pt x="234" y="206"/>
                </a:lnTo>
                <a:lnTo>
                  <a:pt x="240" y="210"/>
                </a:lnTo>
                <a:lnTo>
                  <a:pt x="242" y="210"/>
                </a:lnTo>
                <a:lnTo>
                  <a:pt x="240" y="210"/>
                </a:lnTo>
                <a:lnTo>
                  <a:pt x="238" y="210"/>
                </a:lnTo>
                <a:lnTo>
                  <a:pt x="238" y="212"/>
                </a:lnTo>
                <a:lnTo>
                  <a:pt x="236" y="214"/>
                </a:lnTo>
                <a:lnTo>
                  <a:pt x="234" y="216"/>
                </a:lnTo>
                <a:lnTo>
                  <a:pt x="234" y="218"/>
                </a:lnTo>
                <a:lnTo>
                  <a:pt x="232" y="222"/>
                </a:lnTo>
                <a:lnTo>
                  <a:pt x="232" y="228"/>
                </a:lnTo>
                <a:lnTo>
                  <a:pt x="230" y="228"/>
                </a:lnTo>
                <a:lnTo>
                  <a:pt x="228" y="228"/>
                </a:lnTo>
                <a:lnTo>
                  <a:pt x="222" y="234"/>
                </a:lnTo>
                <a:lnTo>
                  <a:pt x="220" y="238"/>
                </a:lnTo>
                <a:lnTo>
                  <a:pt x="218" y="242"/>
                </a:lnTo>
                <a:lnTo>
                  <a:pt x="214" y="246"/>
                </a:lnTo>
                <a:lnTo>
                  <a:pt x="210" y="246"/>
                </a:lnTo>
                <a:lnTo>
                  <a:pt x="206" y="250"/>
                </a:lnTo>
                <a:lnTo>
                  <a:pt x="200" y="254"/>
                </a:lnTo>
                <a:lnTo>
                  <a:pt x="198" y="256"/>
                </a:lnTo>
                <a:lnTo>
                  <a:pt x="198" y="258"/>
                </a:lnTo>
                <a:lnTo>
                  <a:pt x="196" y="258"/>
                </a:lnTo>
                <a:lnTo>
                  <a:pt x="194" y="258"/>
                </a:lnTo>
                <a:lnTo>
                  <a:pt x="194" y="256"/>
                </a:lnTo>
                <a:lnTo>
                  <a:pt x="194" y="254"/>
                </a:lnTo>
                <a:lnTo>
                  <a:pt x="190" y="252"/>
                </a:lnTo>
                <a:lnTo>
                  <a:pt x="192" y="258"/>
                </a:lnTo>
                <a:lnTo>
                  <a:pt x="192" y="260"/>
                </a:lnTo>
                <a:lnTo>
                  <a:pt x="188" y="260"/>
                </a:lnTo>
                <a:lnTo>
                  <a:pt x="178" y="264"/>
                </a:lnTo>
                <a:lnTo>
                  <a:pt x="176" y="264"/>
                </a:lnTo>
                <a:lnTo>
                  <a:pt x="170" y="266"/>
                </a:lnTo>
                <a:lnTo>
                  <a:pt x="168" y="268"/>
                </a:lnTo>
                <a:lnTo>
                  <a:pt x="164" y="270"/>
                </a:lnTo>
                <a:lnTo>
                  <a:pt x="160" y="270"/>
                </a:lnTo>
                <a:lnTo>
                  <a:pt x="158" y="270"/>
                </a:lnTo>
                <a:lnTo>
                  <a:pt x="154" y="268"/>
                </a:lnTo>
                <a:lnTo>
                  <a:pt x="152" y="266"/>
                </a:lnTo>
                <a:lnTo>
                  <a:pt x="150" y="266"/>
                </a:lnTo>
                <a:lnTo>
                  <a:pt x="148" y="266"/>
                </a:lnTo>
                <a:lnTo>
                  <a:pt x="144" y="268"/>
                </a:lnTo>
                <a:lnTo>
                  <a:pt x="142" y="266"/>
                </a:lnTo>
                <a:lnTo>
                  <a:pt x="142" y="264"/>
                </a:lnTo>
                <a:lnTo>
                  <a:pt x="140" y="264"/>
                </a:lnTo>
                <a:lnTo>
                  <a:pt x="140" y="262"/>
                </a:lnTo>
                <a:lnTo>
                  <a:pt x="136" y="262"/>
                </a:lnTo>
                <a:lnTo>
                  <a:pt x="128" y="260"/>
                </a:lnTo>
                <a:lnTo>
                  <a:pt x="124" y="260"/>
                </a:lnTo>
                <a:lnTo>
                  <a:pt x="120" y="260"/>
                </a:lnTo>
                <a:lnTo>
                  <a:pt x="118" y="260"/>
                </a:lnTo>
                <a:lnTo>
                  <a:pt x="114" y="262"/>
                </a:lnTo>
                <a:lnTo>
                  <a:pt x="112" y="262"/>
                </a:lnTo>
                <a:lnTo>
                  <a:pt x="110" y="264"/>
                </a:lnTo>
                <a:lnTo>
                  <a:pt x="108" y="264"/>
                </a:lnTo>
                <a:lnTo>
                  <a:pt x="106" y="264"/>
                </a:lnTo>
                <a:lnTo>
                  <a:pt x="102" y="266"/>
                </a:lnTo>
                <a:lnTo>
                  <a:pt x="94" y="264"/>
                </a:lnTo>
                <a:lnTo>
                  <a:pt x="88" y="260"/>
                </a:lnTo>
                <a:lnTo>
                  <a:pt x="90" y="260"/>
                </a:lnTo>
                <a:lnTo>
                  <a:pt x="92" y="258"/>
                </a:lnTo>
                <a:lnTo>
                  <a:pt x="90" y="258"/>
                </a:lnTo>
                <a:lnTo>
                  <a:pt x="82" y="256"/>
                </a:lnTo>
                <a:lnTo>
                  <a:pt x="70" y="252"/>
                </a:lnTo>
                <a:lnTo>
                  <a:pt x="68" y="250"/>
                </a:lnTo>
                <a:lnTo>
                  <a:pt x="60" y="238"/>
                </a:lnTo>
                <a:lnTo>
                  <a:pt x="56" y="238"/>
                </a:lnTo>
                <a:lnTo>
                  <a:pt x="44" y="236"/>
                </a:lnTo>
                <a:lnTo>
                  <a:pt x="38" y="236"/>
                </a:lnTo>
                <a:lnTo>
                  <a:pt x="32" y="236"/>
                </a:lnTo>
                <a:lnTo>
                  <a:pt x="24" y="238"/>
                </a:lnTo>
                <a:lnTo>
                  <a:pt x="24" y="236"/>
                </a:lnTo>
                <a:lnTo>
                  <a:pt x="22" y="232"/>
                </a:lnTo>
                <a:lnTo>
                  <a:pt x="22" y="230"/>
                </a:lnTo>
                <a:lnTo>
                  <a:pt x="20" y="228"/>
                </a:lnTo>
                <a:lnTo>
                  <a:pt x="14" y="220"/>
                </a:lnTo>
                <a:lnTo>
                  <a:pt x="10" y="216"/>
                </a:lnTo>
                <a:lnTo>
                  <a:pt x="8" y="214"/>
                </a:lnTo>
                <a:lnTo>
                  <a:pt x="6" y="210"/>
                </a:lnTo>
                <a:lnTo>
                  <a:pt x="4" y="208"/>
                </a:lnTo>
                <a:lnTo>
                  <a:pt x="2" y="208"/>
                </a:lnTo>
                <a:lnTo>
                  <a:pt x="0" y="206"/>
                </a:lnTo>
                <a:lnTo>
                  <a:pt x="0" y="204"/>
                </a:lnTo>
                <a:lnTo>
                  <a:pt x="0" y="202"/>
                </a:lnTo>
                <a:lnTo>
                  <a:pt x="0" y="200"/>
                </a:lnTo>
                <a:lnTo>
                  <a:pt x="0" y="194"/>
                </a:lnTo>
                <a:lnTo>
                  <a:pt x="2" y="186"/>
                </a:lnTo>
                <a:lnTo>
                  <a:pt x="2" y="184"/>
                </a:lnTo>
                <a:lnTo>
                  <a:pt x="2" y="182"/>
                </a:lnTo>
                <a:lnTo>
                  <a:pt x="4" y="180"/>
                </a:lnTo>
                <a:lnTo>
                  <a:pt x="4" y="178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9" name="Group 137"/>
          <p:cNvGrpSpPr>
            <a:grpSpLocks/>
          </p:cNvGrpSpPr>
          <p:nvPr/>
        </p:nvGrpSpPr>
        <p:grpSpPr bwMode="auto">
          <a:xfrm>
            <a:off x="4224965" y="5682016"/>
            <a:ext cx="158750" cy="76200"/>
            <a:chOff x="2820" y="3778"/>
            <a:chExt cx="132" cy="60"/>
          </a:xfrm>
        </p:grpSpPr>
        <p:sp>
          <p:nvSpPr>
            <p:cNvPr id="29" name="Freeform 138"/>
            <p:cNvSpPr>
              <a:spLocks/>
            </p:cNvSpPr>
            <p:nvPr/>
          </p:nvSpPr>
          <p:spPr bwMode="auto">
            <a:xfrm>
              <a:off x="2876" y="3778"/>
              <a:ext cx="14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2" y="2"/>
                </a:cxn>
                <a:cxn ang="0">
                  <a:pos x="14" y="4"/>
                </a:cxn>
                <a:cxn ang="0">
                  <a:pos x="12" y="6"/>
                </a:cxn>
                <a:cxn ang="0">
                  <a:pos x="10" y="6"/>
                </a:cxn>
                <a:cxn ang="0">
                  <a:pos x="8" y="6"/>
                </a:cxn>
                <a:cxn ang="0">
                  <a:pos x="8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4" h="6">
                  <a:moveTo>
                    <a:pt x="0" y="0"/>
                  </a:moveTo>
                  <a:lnTo>
                    <a:pt x="4" y="0"/>
                  </a:lnTo>
                  <a:lnTo>
                    <a:pt x="8" y="2"/>
                  </a:lnTo>
                  <a:lnTo>
                    <a:pt x="12" y="2"/>
                  </a:lnTo>
                  <a:lnTo>
                    <a:pt x="14" y="4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C5CE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0" name="Freeform 139"/>
            <p:cNvSpPr>
              <a:spLocks/>
            </p:cNvSpPr>
            <p:nvPr/>
          </p:nvSpPr>
          <p:spPr bwMode="auto">
            <a:xfrm>
              <a:off x="2856" y="3778"/>
              <a:ext cx="10" cy="8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6" y="8"/>
                </a:cxn>
                <a:cxn ang="0">
                  <a:pos x="2" y="6"/>
                </a:cxn>
                <a:cxn ang="0">
                  <a:pos x="0" y="6"/>
                </a:cxn>
              </a:cxnLst>
              <a:rect l="0" t="0" r="r" b="b"/>
              <a:pathLst>
                <a:path w="10" h="8">
                  <a:moveTo>
                    <a:pt x="0" y="6"/>
                  </a:moveTo>
                  <a:lnTo>
                    <a:pt x="0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8C5CE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1" name="Freeform 140"/>
            <p:cNvSpPr>
              <a:spLocks/>
            </p:cNvSpPr>
            <p:nvPr/>
          </p:nvSpPr>
          <p:spPr bwMode="auto">
            <a:xfrm>
              <a:off x="2872" y="3782"/>
              <a:ext cx="80" cy="56"/>
            </a:xfrm>
            <a:custGeom>
              <a:avLst/>
              <a:gdLst/>
              <a:ahLst/>
              <a:cxnLst>
                <a:cxn ang="0">
                  <a:pos x="6" y="50"/>
                </a:cxn>
                <a:cxn ang="0">
                  <a:pos x="10" y="30"/>
                </a:cxn>
                <a:cxn ang="0">
                  <a:pos x="26" y="22"/>
                </a:cxn>
                <a:cxn ang="0">
                  <a:pos x="28" y="28"/>
                </a:cxn>
                <a:cxn ang="0">
                  <a:pos x="28" y="18"/>
                </a:cxn>
                <a:cxn ang="0">
                  <a:pos x="28" y="14"/>
                </a:cxn>
                <a:cxn ang="0">
                  <a:pos x="34" y="12"/>
                </a:cxn>
                <a:cxn ang="0">
                  <a:pos x="30" y="6"/>
                </a:cxn>
                <a:cxn ang="0">
                  <a:pos x="38" y="2"/>
                </a:cxn>
                <a:cxn ang="0">
                  <a:pos x="46" y="4"/>
                </a:cxn>
                <a:cxn ang="0">
                  <a:pos x="52" y="2"/>
                </a:cxn>
                <a:cxn ang="0">
                  <a:pos x="60" y="6"/>
                </a:cxn>
                <a:cxn ang="0">
                  <a:pos x="54" y="12"/>
                </a:cxn>
                <a:cxn ang="0">
                  <a:pos x="50" y="10"/>
                </a:cxn>
                <a:cxn ang="0">
                  <a:pos x="54" y="18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0" y="14"/>
                </a:cxn>
                <a:cxn ang="0">
                  <a:pos x="64" y="8"/>
                </a:cxn>
                <a:cxn ang="0">
                  <a:pos x="78" y="10"/>
                </a:cxn>
                <a:cxn ang="0">
                  <a:pos x="78" y="18"/>
                </a:cxn>
                <a:cxn ang="0">
                  <a:pos x="72" y="18"/>
                </a:cxn>
                <a:cxn ang="0">
                  <a:pos x="66" y="18"/>
                </a:cxn>
                <a:cxn ang="0">
                  <a:pos x="72" y="20"/>
                </a:cxn>
                <a:cxn ang="0">
                  <a:pos x="80" y="22"/>
                </a:cxn>
                <a:cxn ang="0">
                  <a:pos x="70" y="28"/>
                </a:cxn>
                <a:cxn ang="0">
                  <a:pos x="62" y="28"/>
                </a:cxn>
                <a:cxn ang="0">
                  <a:pos x="62" y="30"/>
                </a:cxn>
                <a:cxn ang="0">
                  <a:pos x="56" y="32"/>
                </a:cxn>
                <a:cxn ang="0">
                  <a:pos x="52" y="36"/>
                </a:cxn>
                <a:cxn ang="0">
                  <a:pos x="34" y="32"/>
                </a:cxn>
                <a:cxn ang="0">
                  <a:pos x="32" y="28"/>
                </a:cxn>
                <a:cxn ang="0">
                  <a:pos x="32" y="32"/>
                </a:cxn>
                <a:cxn ang="0">
                  <a:pos x="44" y="38"/>
                </a:cxn>
                <a:cxn ang="0">
                  <a:pos x="40" y="44"/>
                </a:cxn>
                <a:cxn ang="0">
                  <a:pos x="34" y="42"/>
                </a:cxn>
                <a:cxn ang="0">
                  <a:pos x="28" y="42"/>
                </a:cxn>
                <a:cxn ang="0">
                  <a:pos x="20" y="38"/>
                </a:cxn>
                <a:cxn ang="0">
                  <a:pos x="20" y="38"/>
                </a:cxn>
                <a:cxn ang="0">
                  <a:pos x="24" y="42"/>
                </a:cxn>
                <a:cxn ang="0">
                  <a:pos x="24" y="52"/>
                </a:cxn>
                <a:cxn ang="0">
                  <a:pos x="16" y="46"/>
                </a:cxn>
                <a:cxn ang="0">
                  <a:pos x="10" y="50"/>
                </a:cxn>
                <a:cxn ang="0">
                  <a:pos x="12" y="56"/>
                </a:cxn>
              </a:cxnLst>
              <a:rect l="0" t="0" r="r" b="b"/>
              <a:pathLst>
                <a:path w="80" h="56">
                  <a:moveTo>
                    <a:pt x="12" y="56"/>
                  </a:moveTo>
                  <a:lnTo>
                    <a:pt x="10" y="56"/>
                  </a:lnTo>
                  <a:lnTo>
                    <a:pt x="6" y="50"/>
                  </a:lnTo>
                  <a:lnTo>
                    <a:pt x="0" y="44"/>
                  </a:lnTo>
                  <a:lnTo>
                    <a:pt x="8" y="34"/>
                  </a:lnTo>
                  <a:lnTo>
                    <a:pt x="10" y="30"/>
                  </a:lnTo>
                  <a:lnTo>
                    <a:pt x="20" y="24"/>
                  </a:lnTo>
                  <a:lnTo>
                    <a:pt x="22" y="22"/>
                  </a:lnTo>
                  <a:lnTo>
                    <a:pt x="26" y="22"/>
                  </a:lnTo>
                  <a:lnTo>
                    <a:pt x="28" y="22"/>
                  </a:lnTo>
                  <a:lnTo>
                    <a:pt x="30" y="26"/>
                  </a:lnTo>
                  <a:lnTo>
                    <a:pt x="28" y="28"/>
                  </a:lnTo>
                  <a:lnTo>
                    <a:pt x="30" y="28"/>
                  </a:lnTo>
                  <a:lnTo>
                    <a:pt x="30" y="22"/>
                  </a:lnTo>
                  <a:lnTo>
                    <a:pt x="28" y="18"/>
                  </a:lnTo>
                  <a:lnTo>
                    <a:pt x="26" y="16"/>
                  </a:lnTo>
                  <a:lnTo>
                    <a:pt x="28" y="12"/>
                  </a:lnTo>
                  <a:lnTo>
                    <a:pt x="28" y="14"/>
                  </a:lnTo>
                  <a:lnTo>
                    <a:pt x="30" y="16"/>
                  </a:lnTo>
                  <a:lnTo>
                    <a:pt x="32" y="16"/>
                  </a:lnTo>
                  <a:lnTo>
                    <a:pt x="34" y="12"/>
                  </a:lnTo>
                  <a:lnTo>
                    <a:pt x="32" y="10"/>
                  </a:lnTo>
                  <a:lnTo>
                    <a:pt x="30" y="10"/>
                  </a:lnTo>
                  <a:lnTo>
                    <a:pt x="30" y="6"/>
                  </a:lnTo>
                  <a:lnTo>
                    <a:pt x="34" y="6"/>
                  </a:lnTo>
                  <a:lnTo>
                    <a:pt x="40" y="6"/>
                  </a:lnTo>
                  <a:lnTo>
                    <a:pt x="38" y="2"/>
                  </a:lnTo>
                  <a:lnTo>
                    <a:pt x="40" y="0"/>
                  </a:lnTo>
                  <a:lnTo>
                    <a:pt x="44" y="2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6" y="2"/>
                  </a:lnTo>
                  <a:lnTo>
                    <a:pt x="58" y="4"/>
                  </a:lnTo>
                  <a:lnTo>
                    <a:pt x="60" y="6"/>
                  </a:lnTo>
                  <a:lnTo>
                    <a:pt x="60" y="10"/>
                  </a:lnTo>
                  <a:lnTo>
                    <a:pt x="58" y="10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0" y="10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4" y="18"/>
                  </a:lnTo>
                  <a:lnTo>
                    <a:pt x="56" y="18"/>
                  </a:lnTo>
                  <a:lnTo>
                    <a:pt x="58" y="18"/>
                  </a:lnTo>
                  <a:lnTo>
                    <a:pt x="60" y="20"/>
                  </a:lnTo>
                  <a:lnTo>
                    <a:pt x="60" y="22"/>
                  </a:lnTo>
                  <a:lnTo>
                    <a:pt x="62" y="22"/>
                  </a:lnTo>
                  <a:lnTo>
                    <a:pt x="64" y="20"/>
                  </a:lnTo>
                  <a:lnTo>
                    <a:pt x="64" y="18"/>
                  </a:lnTo>
                  <a:lnTo>
                    <a:pt x="62" y="16"/>
                  </a:lnTo>
                  <a:lnTo>
                    <a:pt x="60" y="14"/>
                  </a:lnTo>
                  <a:lnTo>
                    <a:pt x="58" y="14"/>
                  </a:lnTo>
                  <a:lnTo>
                    <a:pt x="62" y="10"/>
                  </a:lnTo>
                  <a:lnTo>
                    <a:pt x="64" y="8"/>
                  </a:lnTo>
                  <a:lnTo>
                    <a:pt x="74" y="8"/>
                  </a:lnTo>
                  <a:lnTo>
                    <a:pt x="76" y="8"/>
                  </a:lnTo>
                  <a:lnTo>
                    <a:pt x="78" y="10"/>
                  </a:lnTo>
                  <a:lnTo>
                    <a:pt x="80" y="16"/>
                  </a:lnTo>
                  <a:lnTo>
                    <a:pt x="80" y="18"/>
                  </a:lnTo>
                  <a:lnTo>
                    <a:pt x="78" y="18"/>
                  </a:lnTo>
                  <a:lnTo>
                    <a:pt x="76" y="18"/>
                  </a:lnTo>
                  <a:lnTo>
                    <a:pt x="74" y="18"/>
                  </a:lnTo>
                  <a:lnTo>
                    <a:pt x="72" y="18"/>
                  </a:lnTo>
                  <a:lnTo>
                    <a:pt x="72" y="16"/>
                  </a:lnTo>
                  <a:lnTo>
                    <a:pt x="70" y="16"/>
                  </a:lnTo>
                  <a:lnTo>
                    <a:pt x="66" y="18"/>
                  </a:lnTo>
                  <a:lnTo>
                    <a:pt x="68" y="20"/>
                  </a:lnTo>
                  <a:lnTo>
                    <a:pt x="70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8" y="22"/>
                  </a:lnTo>
                  <a:lnTo>
                    <a:pt x="80" y="22"/>
                  </a:lnTo>
                  <a:lnTo>
                    <a:pt x="80" y="26"/>
                  </a:lnTo>
                  <a:lnTo>
                    <a:pt x="76" y="28"/>
                  </a:lnTo>
                  <a:lnTo>
                    <a:pt x="70" y="28"/>
                  </a:lnTo>
                  <a:lnTo>
                    <a:pt x="68" y="28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0" y="28"/>
                  </a:lnTo>
                  <a:lnTo>
                    <a:pt x="60" y="30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54" y="32"/>
                  </a:lnTo>
                  <a:lnTo>
                    <a:pt x="56" y="32"/>
                  </a:lnTo>
                  <a:lnTo>
                    <a:pt x="58" y="32"/>
                  </a:lnTo>
                  <a:lnTo>
                    <a:pt x="60" y="32"/>
                  </a:lnTo>
                  <a:lnTo>
                    <a:pt x="52" y="36"/>
                  </a:lnTo>
                  <a:lnTo>
                    <a:pt x="44" y="36"/>
                  </a:lnTo>
                  <a:lnTo>
                    <a:pt x="38" y="34"/>
                  </a:lnTo>
                  <a:lnTo>
                    <a:pt x="34" y="32"/>
                  </a:lnTo>
                  <a:lnTo>
                    <a:pt x="34" y="30"/>
                  </a:lnTo>
                  <a:lnTo>
                    <a:pt x="32" y="30"/>
                  </a:lnTo>
                  <a:lnTo>
                    <a:pt x="32" y="28"/>
                  </a:lnTo>
                  <a:lnTo>
                    <a:pt x="32" y="30"/>
                  </a:lnTo>
                  <a:lnTo>
                    <a:pt x="30" y="32"/>
                  </a:lnTo>
                  <a:lnTo>
                    <a:pt x="32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4" y="38"/>
                  </a:lnTo>
                  <a:lnTo>
                    <a:pt x="44" y="40"/>
                  </a:lnTo>
                  <a:lnTo>
                    <a:pt x="42" y="44"/>
                  </a:lnTo>
                  <a:lnTo>
                    <a:pt x="40" y="44"/>
                  </a:lnTo>
                  <a:lnTo>
                    <a:pt x="38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4"/>
                  </a:lnTo>
                  <a:lnTo>
                    <a:pt x="30" y="44"/>
                  </a:lnTo>
                  <a:lnTo>
                    <a:pt x="28" y="42"/>
                  </a:lnTo>
                  <a:lnTo>
                    <a:pt x="26" y="40"/>
                  </a:lnTo>
                  <a:lnTo>
                    <a:pt x="24" y="38"/>
                  </a:lnTo>
                  <a:lnTo>
                    <a:pt x="20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20" y="38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4" y="42"/>
                  </a:lnTo>
                  <a:lnTo>
                    <a:pt x="26" y="46"/>
                  </a:lnTo>
                  <a:lnTo>
                    <a:pt x="26" y="50"/>
                  </a:lnTo>
                  <a:lnTo>
                    <a:pt x="24" y="52"/>
                  </a:lnTo>
                  <a:lnTo>
                    <a:pt x="20" y="50"/>
                  </a:lnTo>
                  <a:lnTo>
                    <a:pt x="18" y="48"/>
                  </a:lnTo>
                  <a:lnTo>
                    <a:pt x="16" y="46"/>
                  </a:lnTo>
                  <a:lnTo>
                    <a:pt x="12" y="44"/>
                  </a:lnTo>
                  <a:lnTo>
                    <a:pt x="10" y="46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4" y="52"/>
                  </a:lnTo>
                  <a:lnTo>
                    <a:pt x="12" y="56"/>
                  </a:lnTo>
                  <a:close/>
                </a:path>
              </a:pathLst>
            </a:custGeom>
            <a:solidFill>
              <a:srgbClr val="E8C5CE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2" name="Freeform 141"/>
            <p:cNvSpPr>
              <a:spLocks/>
            </p:cNvSpPr>
            <p:nvPr/>
          </p:nvSpPr>
          <p:spPr bwMode="auto">
            <a:xfrm>
              <a:off x="2824" y="3782"/>
              <a:ext cx="74" cy="48"/>
            </a:xfrm>
            <a:custGeom>
              <a:avLst/>
              <a:gdLst/>
              <a:ahLst/>
              <a:cxnLst>
                <a:cxn ang="0">
                  <a:pos x="28" y="24"/>
                </a:cxn>
                <a:cxn ang="0">
                  <a:pos x="32" y="24"/>
                </a:cxn>
                <a:cxn ang="0">
                  <a:pos x="34" y="20"/>
                </a:cxn>
                <a:cxn ang="0">
                  <a:pos x="26" y="20"/>
                </a:cxn>
                <a:cxn ang="0">
                  <a:pos x="20" y="22"/>
                </a:cxn>
                <a:cxn ang="0">
                  <a:pos x="16" y="18"/>
                </a:cxn>
                <a:cxn ang="0">
                  <a:pos x="20" y="18"/>
                </a:cxn>
                <a:cxn ang="0">
                  <a:pos x="24" y="18"/>
                </a:cxn>
                <a:cxn ang="0">
                  <a:pos x="28" y="18"/>
                </a:cxn>
                <a:cxn ang="0">
                  <a:pos x="36" y="18"/>
                </a:cxn>
                <a:cxn ang="0">
                  <a:pos x="26" y="10"/>
                </a:cxn>
                <a:cxn ang="0">
                  <a:pos x="28" y="6"/>
                </a:cxn>
                <a:cxn ang="0">
                  <a:pos x="24" y="4"/>
                </a:cxn>
                <a:cxn ang="0">
                  <a:pos x="20" y="2"/>
                </a:cxn>
                <a:cxn ang="0">
                  <a:pos x="24" y="2"/>
                </a:cxn>
                <a:cxn ang="0">
                  <a:pos x="30" y="6"/>
                </a:cxn>
                <a:cxn ang="0">
                  <a:pos x="34" y="8"/>
                </a:cxn>
                <a:cxn ang="0">
                  <a:pos x="42" y="8"/>
                </a:cxn>
                <a:cxn ang="0">
                  <a:pos x="40" y="4"/>
                </a:cxn>
                <a:cxn ang="0">
                  <a:pos x="48" y="2"/>
                </a:cxn>
                <a:cxn ang="0">
                  <a:pos x="50" y="6"/>
                </a:cxn>
                <a:cxn ang="0">
                  <a:pos x="62" y="8"/>
                </a:cxn>
                <a:cxn ang="0">
                  <a:pos x="66" y="6"/>
                </a:cxn>
                <a:cxn ang="0">
                  <a:pos x="64" y="2"/>
                </a:cxn>
                <a:cxn ang="0">
                  <a:pos x="74" y="6"/>
                </a:cxn>
                <a:cxn ang="0">
                  <a:pos x="64" y="18"/>
                </a:cxn>
                <a:cxn ang="0">
                  <a:pos x="56" y="20"/>
                </a:cxn>
                <a:cxn ang="0">
                  <a:pos x="46" y="32"/>
                </a:cxn>
                <a:cxn ang="0">
                  <a:pos x="36" y="34"/>
                </a:cxn>
                <a:cxn ang="0">
                  <a:pos x="28" y="38"/>
                </a:cxn>
                <a:cxn ang="0">
                  <a:pos x="26" y="42"/>
                </a:cxn>
                <a:cxn ang="0">
                  <a:pos x="14" y="48"/>
                </a:cxn>
                <a:cxn ang="0">
                  <a:pos x="12" y="46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10" y="34"/>
                </a:cxn>
                <a:cxn ang="0">
                  <a:pos x="6" y="32"/>
                </a:cxn>
                <a:cxn ang="0">
                  <a:pos x="12" y="32"/>
                </a:cxn>
                <a:cxn ang="0">
                  <a:pos x="18" y="34"/>
                </a:cxn>
                <a:cxn ang="0">
                  <a:pos x="22" y="34"/>
                </a:cxn>
                <a:cxn ang="0">
                  <a:pos x="22" y="30"/>
                </a:cxn>
                <a:cxn ang="0">
                  <a:pos x="22" y="24"/>
                </a:cxn>
                <a:cxn ang="0">
                  <a:pos x="26" y="22"/>
                </a:cxn>
                <a:cxn ang="0">
                  <a:pos x="26" y="26"/>
                </a:cxn>
              </a:cxnLst>
              <a:rect l="0" t="0" r="r" b="b"/>
              <a:pathLst>
                <a:path w="74" h="48">
                  <a:moveTo>
                    <a:pt x="26" y="28"/>
                  </a:moveTo>
                  <a:lnTo>
                    <a:pt x="28" y="24"/>
                  </a:lnTo>
                  <a:lnTo>
                    <a:pt x="30" y="24"/>
                  </a:lnTo>
                  <a:lnTo>
                    <a:pt x="32" y="24"/>
                  </a:lnTo>
                  <a:lnTo>
                    <a:pt x="34" y="22"/>
                  </a:lnTo>
                  <a:lnTo>
                    <a:pt x="34" y="20"/>
                  </a:lnTo>
                  <a:lnTo>
                    <a:pt x="32" y="18"/>
                  </a:lnTo>
                  <a:lnTo>
                    <a:pt x="26" y="20"/>
                  </a:lnTo>
                  <a:lnTo>
                    <a:pt x="22" y="22"/>
                  </a:lnTo>
                  <a:lnTo>
                    <a:pt x="20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2" y="18"/>
                  </a:lnTo>
                  <a:lnTo>
                    <a:pt x="24" y="18"/>
                  </a:lnTo>
                  <a:lnTo>
                    <a:pt x="26" y="18"/>
                  </a:lnTo>
                  <a:lnTo>
                    <a:pt x="28" y="18"/>
                  </a:lnTo>
                  <a:lnTo>
                    <a:pt x="32" y="18"/>
                  </a:lnTo>
                  <a:lnTo>
                    <a:pt x="36" y="18"/>
                  </a:lnTo>
                  <a:lnTo>
                    <a:pt x="30" y="14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2" y="4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24" y="2"/>
                  </a:lnTo>
                  <a:lnTo>
                    <a:pt x="28" y="4"/>
                  </a:lnTo>
                  <a:lnTo>
                    <a:pt x="30" y="6"/>
                  </a:lnTo>
                  <a:lnTo>
                    <a:pt x="32" y="8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42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2" y="2"/>
                  </a:lnTo>
                  <a:lnTo>
                    <a:pt x="48" y="2"/>
                  </a:lnTo>
                  <a:lnTo>
                    <a:pt x="50" y="4"/>
                  </a:lnTo>
                  <a:lnTo>
                    <a:pt x="50" y="6"/>
                  </a:lnTo>
                  <a:lnTo>
                    <a:pt x="52" y="6"/>
                  </a:lnTo>
                  <a:lnTo>
                    <a:pt x="62" y="8"/>
                  </a:lnTo>
                  <a:lnTo>
                    <a:pt x="64" y="8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74" y="6"/>
                  </a:lnTo>
                  <a:lnTo>
                    <a:pt x="64" y="16"/>
                  </a:lnTo>
                  <a:lnTo>
                    <a:pt x="64" y="18"/>
                  </a:lnTo>
                  <a:lnTo>
                    <a:pt x="62" y="18"/>
                  </a:lnTo>
                  <a:lnTo>
                    <a:pt x="56" y="20"/>
                  </a:lnTo>
                  <a:lnTo>
                    <a:pt x="54" y="24"/>
                  </a:lnTo>
                  <a:lnTo>
                    <a:pt x="46" y="32"/>
                  </a:lnTo>
                  <a:lnTo>
                    <a:pt x="40" y="36"/>
                  </a:lnTo>
                  <a:lnTo>
                    <a:pt x="36" y="34"/>
                  </a:lnTo>
                  <a:lnTo>
                    <a:pt x="32" y="34"/>
                  </a:lnTo>
                  <a:lnTo>
                    <a:pt x="28" y="38"/>
                  </a:lnTo>
                  <a:lnTo>
                    <a:pt x="26" y="40"/>
                  </a:lnTo>
                  <a:lnTo>
                    <a:pt x="26" y="42"/>
                  </a:lnTo>
                  <a:lnTo>
                    <a:pt x="22" y="44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6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4" y="34"/>
                  </a:lnTo>
                  <a:lnTo>
                    <a:pt x="18" y="34"/>
                  </a:lnTo>
                  <a:lnTo>
                    <a:pt x="20" y="34"/>
                  </a:lnTo>
                  <a:lnTo>
                    <a:pt x="22" y="34"/>
                  </a:lnTo>
                  <a:lnTo>
                    <a:pt x="24" y="32"/>
                  </a:lnTo>
                  <a:lnTo>
                    <a:pt x="22" y="30"/>
                  </a:lnTo>
                  <a:lnTo>
                    <a:pt x="22" y="28"/>
                  </a:lnTo>
                  <a:lnTo>
                    <a:pt x="22" y="24"/>
                  </a:lnTo>
                  <a:lnTo>
                    <a:pt x="22" y="22"/>
                  </a:lnTo>
                  <a:lnTo>
                    <a:pt x="26" y="22"/>
                  </a:lnTo>
                  <a:lnTo>
                    <a:pt x="26" y="24"/>
                  </a:lnTo>
                  <a:lnTo>
                    <a:pt x="26" y="26"/>
                  </a:lnTo>
                  <a:lnTo>
                    <a:pt x="26" y="28"/>
                  </a:lnTo>
                  <a:close/>
                </a:path>
              </a:pathLst>
            </a:custGeom>
            <a:solidFill>
              <a:srgbClr val="E8C5CE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3" name="Freeform 142"/>
            <p:cNvSpPr>
              <a:spLocks/>
            </p:cNvSpPr>
            <p:nvPr/>
          </p:nvSpPr>
          <p:spPr bwMode="auto">
            <a:xfrm>
              <a:off x="2820" y="3804"/>
              <a:ext cx="10" cy="10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8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6" y="10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lnTo>
                    <a:pt x="4" y="8"/>
                  </a:lnTo>
                  <a:lnTo>
                    <a:pt x="0" y="6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8" y="4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rgbClr val="E8C5CE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10" name="Group 144"/>
          <p:cNvGrpSpPr>
            <a:grpSpLocks/>
          </p:cNvGrpSpPr>
          <p:nvPr/>
        </p:nvGrpSpPr>
        <p:grpSpPr bwMode="auto">
          <a:xfrm>
            <a:off x="3645534" y="3626203"/>
            <a:ext cx="1193800" cy="2319338"/>
            <a:chOff x="2340" y="2168"/>
            <a:chExt cx="990" cy="1816"/>
          </a:xfrm>
          <a:solidFill>
            <a:srgbClr val="92D050"/>
          </a:solidFill>
        </p:grpSpPr>
        <p:sp>
          <p:nvSpPr>
            <p:cNvPr id="35" name="Freeform 145"/>
            <p:cNvSpPr>
              <a:spLocks/>
            </p:cNvSpPr>
            <p:nvPr/>
          </p:nvSpPr>
          <p:spPr bwMode="auto">
            <a:xfrm>
              <a:off x="2340" y="2168"/>
              <a:ext cx="990" cy="1656"/>
            </a:xfrm>
            <a:custGeom>
              <a:avLst/>
              <a:gdLst/>
              <a:ahLst/>
              <a:cxnLst>
                <a:cxn ang="0">
                  <a:pos x="136" y="726"/>
                </a:cxn>
                <a:cxn ang="0">
                  <a:pos x="174" y="628"/>
                </a:cxn>
                <a:cxn ang="0">
                  <a:pos x="148" y="556"/>
                </a:cxn>
                <a:cxn ang="0">
                  <a:pos x="156" y="472"/>
                </a:cxn>
                <a:cxn ang="0">
                  <a:pos x="178" y="392"/>
                </a:cxn>
                <a:cxn ang="0">
                  <a:pos x="224" y="300"/>
                </a:cxn>
                <a:cxn ang="0">
                  <a:pos x="242" y="248"/>
                </a:cxn>
                <a:cxn ang="0">
                  <a:pos x="244" y="160"/>
                </a:cxn>
                <a:cxn ang="0">
                  <a:pos x="324" y="40"/>
                </a:cxn>
                <a:cxn ang="0">
                  <a:pos x="430" y="18"/>
                </a:cxn>
                <a:cxn ang="0">
                  <a:pos x="478" y="28"/>
                </a:cxn>
                <a:cxn ang="0">
                  <a:pos x="582" y="68"/>
                </a:cxn>
                <a:cxn ang="0">
                  <a:pos x="672" y="130"/>
                </a:cxn>
                <a:cxn ang="0">
                  <a:pos x="764" y="184"/>
                </a:cxn>
                <a:cxn ang="0">
                  <a:pos x="766" y="254"/>
                </a:cxn>
                <a:cxn ang="0">
                  <a:pos x="784" y="314"/>
                </a:cxn>
                <a:cxn ang="0">
                  <a:pos x="840" y="324"/>
                </a:cxn>
                <a:cxn ang="0">
                  <a:pos x="906" y="298"/>
                </a:cxn>
                <a:cxn ang="0">
                  <a:pos x="964" y="224"/>
                </a:cxn>
                <a:cxn ang="0">
                  <a:pos x="978" y="312"/>
                </a:cxn>
                <a:cxn ang="0">
                  <a:pos x="898" y="352"/>
                </a:cxn>
                <a:cxn ang="0">
                  <a:pos x="838" y="410"/>
                </a:cxn>
                <a:cxn ang="0">
                  <a:pos x="774" y="470"/>
                </a:cxn>
                <a:cxn ang="0">
                  <a:pos x="744" y="556"/>
                </a:cxn>
                <a:cxn ang="0">
                  <a:pos x="732" y="624"/>
                </a:cxn>
                <a:cxn ang="0">
                  <a:pos x="712" y="688"/>
                </a:cxn>
                <a:cxn ang="0">
                  <a:pos x="760" y="766"/>
                </a:cxn>
                <a:cxn ang="0">
                  <a:pos x="758" y="862"/>
                </a:cxn>
                <a:cxn ang="0">
                  <a:pos x="658" y="930"/>
                </a:cxn>
                <a:cxn ang="0">
                  <a:pos x="522" y="938"/>
                </a:cxn>
                <a:cxn ang="0">
                  <a:pos x="508" y="956"/>
                </a:cxn>
                <a:cxn ang="0">
                  <a:pos x="498" y="1026"/>
                </a:cxn>
                <a:cxn ang="0">
                  <a:pos x="420" y="1046"/>
                </a:cxn>
                <a:cxn ang="0">
                  <a:pos x="374" y="1082"/>
                </a:cxn>
                <a:cxn ang="0">
                  <a:pos x="414" y="1116"/>
                </a:cxn>
                <a:cxn ang="0">
                  <a:pos x="422" y="1146"/>
                </a:cxn>
                <a:cxn ang="0">
                  <a:pos x="386" y="1148"/>
                </a:cxn>
                <a:cxn ang="0">
                  <a:pos x="356" y="1204"/>
                </a:cxn>
                <a:cxn ang="0">
                  <a:pos x="312" y="1256"/>
                </a:cxn>
                <a:cxn ang="0">
                  <a:pos x="250" y="1328"/>
                </a:cxn>
                <a:cxn ang="0">
                  <a:pos x="322" y="1392"/>
                </a:cxn>
                <a:cxn ang="0">
                  <a:pos x="310" y="1424"/>
                </a:cxn>
                <a:cxn ang="0">
                  <a:pos x="242" y="1476"/>
                </a:cxn>
                <a:cxn ang="0">
                  <a:pos x="224" y="1528"/>
                </a:cxn>
                <a:cxn ang="0">
                  <a:pos x="202" y="1530"/>
                </a:cxn>
                <a:cxn ang="0">
                  <a:pos x="166" y="1582"/>
                </a:cxn>
                <a:cxn ang="0">
                  <a:pos x="158" y="1614"/>
                </a:cxn>
                <a:cxn ang="0">
                  <a:pos x="184" y="1650"/>
                </a:cxn>
                <a:cxn ang="0">
                  <a:pos x="48" y="1608"/>
                </a:cxn>
                <a:cxn ang="0">
                  <a:pos x="36" y="1560"/>
                </a:cxn>
                <a:cxn ang="0">
                  <a:pos x="2" y="1518"/>
                </a:cxn>
                <a:cxn ang="0">
                  <a:pos x="42" y="1452"/>
                </a:cxn>
                <a:cxn ang="0">
                  <a:pos x="50" y="1386"/>
                </a:cxn>
                <a:cxn ang="0">
                  <a:pos x="70" y="1316"/>
                </a:cxn>
                <a:cxn ang="0">
                  <a:pos x="62" y="1248"/>
                </a:cxn>
                <a:cxn ang="0">
                  <a:pos x="100" y="1226"/>
                </a:cxn>
                <a:cxn ang="0">
                  <a:pos x="68" y="1170"/>
                </a:cxn>
                <a:cxn ang="0">
                  <a:pos x="64" y="1100"/>
                </a:cxn>
                <a:cxn ang="0">
                  <a:pos x="72" y="1038"/>
                </a:cxn>
                <a:cxn ang="0">
                  <a:pos x="80" y="970"/>
                </a:cxn>
                <a:cxn ang="0">
                  <a:pos x="120" y="908"/>
                </a:cxn>
                <a:cxn ang="0">
                  <a:pos x="106" y="834"/>
                </a:cxn>
              </a:cxnLst>
              <a:rect l="0" t="0" r="r" b="b"/>
              <a:pathLst>
                <a:path w="990" h="1656">
                  <a:moveTo>
                    <a:pt x="114" y="792"/>
                  </a:moveTo>
                  <a:lnTo>
                    <a:pt x="114" y="794"/>
                  </a:lnTo>
                  <a:lnTo>
                    <a:pt x="116" y="794"/>
                  </a:lnTo>
                  <a:lnTo>
                    <a:pt x="128" y="790"/>
                  </a:lnTo>
                  <a:lnTo>
                    <a:pt x="128" y="788"/>
                  </a:lnTo>
                  <a:lnTo>
                    <a:pt x="126" y="786"/>
                  </a:lnTo>
                  <a:lnTo>
                    <a:pt x="128" y="782"/>
                  </a:lnTo>
                  <a:lnTo>
                    <a:pt x="134" y="776"/>
                  </a:lnTo>
                  <a:lnTo>
                    <a:pt x="136" y="776"/>
                  </a:lnTo>
                  <a:lnTo>
                    <a:pt x="138" y="776"/>
                  </a:lnTo>
                  <a:lnTo>
                    <a:pt x="140" y="776"/>
                  </a:lnTo>
                  <a:lnTo>
                    <a:pt x="140" y="774"/>
                  </a:lnTo>
                  <a:lnTo>
                    <a:pt x="142" y="772"/>
                  </a:lnTo>
                  <a:lnTo>
                    <a:pt x="142" y="766"/>
                  </a:lnTo>
                  <a:lnTo>
                    <a:pt x="142" y="762"/>
                  </a:lnTo>
                  <a:lnTo>
                    <a:pt x="142" y="760"/>
                  </a:lnTo>
                  <a:lnTo>
                    <a:pt x="144" y="758"/>
                  </a:lnTo>
                  <a:lnTo>
                    <a:pt x="144" y="752"/>
                  </a:lnTo>
                  <a:lnTo>
                    <a:pt x="142" y="750"/>
                  </a:lnTo>
                  <a:lnTo>
                    <a:pt x="142" y="748"/>
                  </a:lnTo>
                  <a:lnTo>
                    <a:pt x="142" y="746"/>
                  </a:lnTo>
                  <a:lnTo>
                    <a:pt x="142" y="742"/>
                  </a:lnTo>
                  <a:lnTo>
                    <a:pt x="142" y="732"/>
                  </a:lnTo>
                  <a:lnTo>
                    <a:pt x="136" y="730"/>
                  </a:lnTo>
                  <a:lnTo>
                    <a:pt x="136" y="728"/>
                  </a:lnTo>
                  <a:lnTo>
                    <a:pt x="136" y="726"/>
                  </a:lnTo>
                  <a:lnTo>
                    <a:pt x="136" y="724"/>
                  </a:lnTo>
                  <a:lnTo>
                    <a:pt x="138" y="724"/>
                  </a:lnTo>
                  <a:lnTo>
                    <a:pt x="140" y="724"/>
                  </a:lnTo>
                  <a:lnTo>
                    <a:pt x="144" y="722"/>
                  </a:lnTo>
                  <a:lnTo>
                    <a:pt x="144" y="718"/>
                  </a:lnTo>
                  <a:lnTo>
                    <a:pt x="144" y="716"/>
                  </a:lnTo>
                  <a:lnTo>
                    <a:pt x="144" y="714"/>
                  </a:lnTo>
                  <a:lnTo>
                    <a:pt x="144" y="712"/>
                  </a:lnTo>
                  <a:lnTo>
                    <a:pt x="148" y="706"/>
                  </a:lnTo>
                  <a:lnTo>
                    <a:pt x="152" y="694"/>
                  </a:lnTo>
                  <a:lnTo>
                    <a:pt x="154" y="688"/>
                  </a:lnTo>
                  <a:lnTo>
                    <a:pt x="160" y="680"/>
                  </a:lnTo>
                  <a:lnTo>
                    <a:pt x="160" y="678"/>
                  </a:lnTo>
                  <a:lnTo>
                    <a:pt x="160" y="674"/>
                  </a:lnTo>
                  <a:lnTo>
                    <a:pt x="162" y="674"/>
                  </a:lnTo>
                  <a:lnTo>
                    <a:pt x="164" y="674"/>
                  </a:lnTo>
                  <a:lnTo>
                    <a:pt x="166" y="674"/>
                  </a:lnTo>
                  <a:lnTo>
                    <a:pt x="168" y="674"/>
                  </a:lnTo>
                  <a:lnTo>
                    <a:pt x="172" y="672"/>
                  </a:lnTo>
                  <a:lnTo>
                    <a:pt x="170" y="664"/>
                  </a:lnTo>
                  <a:lnTo>
                    <a:pt x="168" y="654"/>
                  </a:lnTo>
                  <a:lnTo>
                    <a:pt x="168" y="650"/>
                  </a:lnTo>
                  <a:lnTo>
                    <a:pt x="168" y="648"/>
                  </a:lnTo>
                  <a:lnTo>
                    <a:pt x="170" y="636"/>
                  </a:lnTo>
                  <a:lnTo>
                    <a:pt x="172" y="628"/>
                  </a:lnTo>
                  <a:lnTo>
                    <a:pt x="174" y="628"/>
                  </a:lnTo>
                  <a:lnTo>
                    <a:pt x="174" y="626"/>
                  </a:lnTo>
                  <a:lnTo>
                    <a:pt x="172" y="620"/>
                  </a:lnTo>
                  <a:lnTo>
                    <a:pt x="170" y="618"/>
                  </a:lnTo>
                  <a:lnTo>
                    <a:pt x="168" y="618"/>
                  </a:lnTo>
                  <a:lnTo>
                    <a:pt x="166" y="620"/>
                  </a:lnTo>
                  <a:lnTo>
                    <a:pt x="164" y="620"/>
                  </a:lnTo>
                  <a:lnTo>
                    <a:pt x="158" y="616"/>
                  </a:lnTo>
                  <a:lnTo>
                    <a:pt x="158" y="614"/>
                  </a:lnTo>
                  <a:lnTo>
                    <a:pt x="160" y="612"/>
                  </a:lnTo>
                  <a:lnTo>
                    <a:pt x="160" y="610"/>
                  </a:lnTo>
                  <a:lnTo>
                    <a:pt x="158" y="608"/>
                  </a:lnTo>
                  <a:lnTo>
                    <a:pt x="160" y="606"/>
                  </a:lnTo>
                  <a:lnTo>
                    <a:pt x="162" y="602"/>
                  </a:lnTo>
                  <a:lnTo>
                    <a:pt x="164" y="598"/>
                  </a:lnTo>
                  <a:lnTo>
                    <a:pt x="162" y="598"/>
                  </a:lnTo>
                  <a:lnTo>
                    <a:pt x="156" y="592"/>
                  </a:lnTo>
                  <a:lnTo>
                    <a:pt x="156" y="584"/>
                  </a:lnTo>
                  <a:lnTo>
                    <a:pt x="156" y="582"/>
                  </a:lnTo>
                  <a:lnTo>
                    <a:pt x="156" y="580"/>
                  </a:lnTo>
                  <a:lnTo>
                    <a:pt x="156" y="578"/>
                  </a:lnTo>
                  <a:lnTo>
                    <a:pt x="156" y="576"/>
                  </a:lnTo>
                  <a:lnTo>
                    <a:pt x="154" y="570"/>
                  </a:lnTo>
                  <a:lnTo>
                    <a:pt x="154" y="568"/>
                  </a:lnTo>
                  <a:lnTo>
                    <a:pt x="150" y="566"/>
                  </a:lnTo>
                  <a:lnTo>
                    <a:pt x="150" y="564"/>
                  </a:lnTo>
                  <a:lnTo>
                    <a:pt x="148" y="556"/>
                  </a:lnTo>
                  <a:lnTo>
                    <a:pt x="150" y="554"/>
                  </a:lnTo>
                  <a:lnTo>
                    <a:pt x="152" y="554"/>
                  </a:lnTo>
                  <a:lnTo>
                    <a:pt x="154" y="548"/>
                  </a:lnTo>
                  <a:lnTo>
                    <a:pt x="152" y="546"/>
                  </a:lnTo>
                  <a:lnTo>
                    <a:pt x="150" y="544"/>
                  </a:lnTo>
                  <a:lnTo>
                    <a:pt x="148" y="546"/>
                  </a:lnTo>
                  <a:lnTo>
                    <a:pt x="146" y="546"/>
                  </a:lnTo>
                  <a:lnTo>
                    <a:pt x="144" y="544"/>
                  </a:lnTo>
                  <a:lnTo>
                    <a:pt x="144" y="542"/>
                  </a:lnTo>
                  <a:lnTo>
                    <a:pt x="142" y="542"/>
                  </a:lnTo>
                  <a:lnTo>
                    <a:pt x="136" y="528"/>
                  </a:lnTo>
                  <a:lnTo>
                    <a:pt x="136" y="526"/>
                  </a:lnTo>
                  <a:lnTo>
                    <a:pt x="138" y="522"/>
                  </a:lnTo>
                  <a:lnTo>
                    <a:pt x="138" y="514"/>
                  </a:lnTo>
                  <a:lnTo>
                    <a:pt x="140" y="506"/>
                  </a:lnTo>
                  <a:lnTo>
                    <a:pt x="144" y="502"/>
                  </a:lnTo>
                  <a:lnTo>
                    <a:pt x="148" y="502"/>
                  </a:lnTo>
                  <a:lnTo>
                    <a:pt x="152" y="498"/>
                  </a:lnTo>
                  <a:lnTo>
                    <a:pt x="152" y="496"/>
                  </a:lnTo>
                  <a:lnTo>
                    <a:pt x="150" y="494"/>
                  </a:lnTo>
                  <a:lnTo>
                    <a:pt x="150" y="492"/>
                  </a:lnTo>
                  <a:lnTo>
                    <a:pt x="150" y="490"/>
                  </a:lnTo>
                  <a:lnTo>
                    <a:pt x="150" y="488"/>
                  </a:lnTo>
                  <a:lnTo>
                    <a:pt x="154" y="480"/>
                  </a:lnTo>
                  <a:lnTo>
                    <a:pt x="154" y="476"/>
                  </a:lnTo>
                  <a:lnTo>
                    <a:pt x="156" y="472"/>
                  </a:lnTo>
                  <a:lnTo>
                    <a:pt x="160" y="466"/>
                  </a:lnTo>
                  <a:lnTo>
                    <a:pt x="164" y="464"/>
                  </a:lnTo>
                  <a:lnTo>
                    <a:pt x="166" y="464"/>
                  </a:lnTo>
                  <a:lnTo>
                    <a:pt x="170" y="462"/>
                  </a:lnTo>
                  <a:lnTo>
                    <a:pt x="172" y="460"/>
                  </a:lnTo>
                  <a:lnTo>
                    <a:pt x="174" y="454"/>
                  </a:lnTo>
                  <a:lnTo>
                    <a:pt x="174" y="450"/>
                  </a:lnTo>
                  <a:lnTo>
                    <a:pt x="172" y="448"/>
                  </a:lnTo>
                  <a:lnTo>
                    <a:pt x="170" y="442"/>
                  </a:lnTo>
                  <a:lnTo>
                    <a:pt x="172" y="442"/>
                  </a:lnTo>
                  <a:lnTo>
                    <a:pt x="172" y="438"/>
                  </a:lnTo>
                  <a:lnTo>
                    <a:pt x="172" y="432"/>
                  </a:lnTo>
                  <a:lnTo>
                    <a:pt x="172" y="428"/>
                  </a:lnTo>
                  <a:lnTo>
                    <a:pt x="170" y="426"/>
                  </a:lnTo>
                  <a:lnTo>
                    <a:pt x="168" y="424"/>
                  </a:lnTo>
                  <a:lnTo>
                    <a:pt x="170" y="422"/>
                  </a:lnTo>
                  <a:lnTo>
                    <a:pt x="170" y="420"/>
                  </a:lnTo>
                  <a:lnTo>
                    <a:pt x="170" y="418"/>
                  </a:lnTo>
                  <a:lnTo>
                    <a:pt x="168" y="412"/>
                  </a:lnTo>
                  <a:lnTo>
                    <a:pt x="166" y="408"/>
                  </a:lnTo>
                  <a:lnTo>
                    <a:pt x="166" y="404"/>
                  </a:lnTo>
                  <a:lnTo>
                    <a:pt x="170" y="398"/>
                  </a:lnTo>
                  <a:lnTo>
                    <a:pt x="172" y="396"/>
                  </a:lnTo>
                  <a:lnTo>
                    <a:pt x="176" y="396"/>
                  </a:lnTo>
                  <a:lnTo>
                    <a:pt x="178" y="394"/>
                  </a:lnTo>
                  <a:lnTo>
                    <a:pt x="178" y="392"/>
                  </a:lnTo>
                  <a:lnTo>
                    <a:pt x="178" y="390"/>
                  </a:lnTo>
                  <a:lnTo>
                    <a:pt x="180" y="382"/>
                  </a:lnTo>
                  <a:lnTo>
                    <a:pt x="182" y="378"/>
                  </a:lnTo>
                  <a:lnTo>
                    <a:pt x="182" y="376"/>
                  </a:lnTo>
                  <a:lnTo>
                    <a:pt x="180" y="374"/>
                  </a:lnTo>
                  <a:lnTo>
                    <a:pt x="180" y="370"/>
                  </a:lnTo>
                  <a:lnTo>
                    <a:pt x="182" y="366"/>
                  </a:lnTo>
                  <a:lnTo>
                    <a:pt x="184" y="366"/>
                  </a:lnTo>
                  <a:lnTo>
                    <a:pt x="184" y="364"/>
                  </a:lnTo>
                  <a:lnTo>
                    <a:pt x="186" y="356"/>
                  </a:lnTo>
                  <a:lnTo>
                    <a:pt x="188" y="354"/>
                  </a:lnTo>
                  <a:lnTo>
                    <a:pt x="190" y="352"/>
                  </a:lnTo>
                  <a:lnTo>
                    <a:pt x="198" y="344"/>
                  </a:lnTo>
                  <a:lnTo>
                    <a:pt x="200" y="342"/>
                  </a:lnTo>
                  <a:lnTo>
                    <a:pt x="202" y="340"/>
                  </a:lnTo>
                  <a:lnTo>
                    <a:pt x="202" y="338"/>
                  </a:lnTo>
                  <a:lnTo>
                    <a:pt x="204" y="334"/>
                  </a:lnTo>
                  <a:lnTo>
                    <a:pt x="206" y="334"/>
                  </a:lnTo>
                  <a:lnTo>
                    <a:pt x="208" y="334"/>
                  </a:lnTo>
                  <a:lnTo>
                    <a:pt x="210" y="332"/>
                  </a:lnTo>
                  <a:lnTo>
                    <a:pt x="210" y="330"/>
                  </a:lnTo>
                  <a:lnTo>
                    <a:pt x="212" y="322"/>
                  </a:lnTo>
                  <a:lnTo>
                    <a:pt x="212" y="320"/>
                  </a:lnTo>
                  <a:lnTo>
                    <a:pt x="214" y="314"/>
                  </a:lnTo>
                  <a:lnTo>
                    <a:pt x="216" y="314"/>
                  </a:lnTo>
                  <a:lnTo>
                    <a:pt x="224" y="300"/>
                  </a:lnTo>
                  <a:lnTo>
                    <a:pt x="226" y="296"/>
                  </a:lnTo>
                  <a:lnTo>
                    <a:pt x="226" y="294"/>
                  </a:lnTo>
                  <a:lnTo>
                    <a:pt x="226" y="292"/>
                  </a:lnTo>
                  <a:lnTo>
                    <a:pt x="228" y="290"/>
                  </a:lnTo>
                  <a:lnTo>
                    <a:pt x="228" y="288"/>
                  </a:lnTo>
                  <a:lnTo>
                    <a:pt x="230" y="286"/>
                  </a:lnTo>
                  <a:lnTo>
                    <a:pt x="232" y="286"/>
                  </a:lnTo>
                  <a:lnTo>
                    <a:pt x="234" y="288"/>
                  </a:lnTo>
                  <a:lnTo>
                    <a:pt x="236" y="288"/>
                  </a:lnTo>
                  <a:lnTo>
                    <a:pt x="248" y="284"/>
                  </a:lnTo>
                  <a:lnTo>
                    <a:pt x="250" y="284"/>
                  </a:lnTo>
                  <a:lnTo>
                    <a:pt x="252" y="284"/>
                  </a:lnTo>
                  <a:lnTo>
                    <a:pt x="252" y="282"/>
                  </a:lnTo>
                  <a:lnTo>
                    <a:pt x="254" y="276"/>
                  </a:lnTo>
                  <a:lnTo>
                    <a:pt x="254" y="274"/>
                  </a:lnTo>
                  <a:lnTo>
                    <a:pt x="248" y="266"/>
                  </a:lnTo>
                  <a:lnTo>
                    <a:pt x="248" y="264"/>
                  </a:lnTo>
                  <a:lnTo>
                    <a:pt x="246" y="264"/>
                  </a:lnTo>
                  <a:lnTo>
                    <a:pt x="246" y="262"/>
                  </a:lnTo>
                  <a:lnTo>
                    <a:pt x="242" y="258"/>
                  </a:lnTo>
                  <a:lnTo>
                    <a:pt x="242" y="256"/>
                  </a:lnTo>
                  <a:lnTo>
                    <a:pt x="242" y="254"/>
                  </a:lnTo>
                  <a:lnTo>
                    <a:pt x="240" y="254"/>
                  </a:lnTo>
                  <a:lnTo>
                    <a:pt x="240" y="252"/>
                  </a:lnTo>
                  <a:lnTo>
                    <a:pt x="240" y="250"/>
                  </a:lnTo>
                  <a:lnTo>
                    <a:pt x="242" y="248"/>
                  </a:lnTo>
                  <a:lnTo>
                    <a:pt x="242" y="246"/>
                  </a:lnTo>
                  <a:lnTo>
                    <a:pt x="242" y="244"/>
                  </a:lnTo>
                  <a:lnTo>
                    <a:pt x="244" y="242"/>
                  </a:lnTo>
                  <a:lnTo>
                    <a:pt x="244" y="240"/>
                  </a:lnTo>
                  <a:lnTo>
                    <a:pt x="246" y="240"/>
                  </a:lnTo>
                  <a:lnTo>
                    <a:pt x="248" y="236"/>
                  </a:lnTo>
                  <a:lnTo>
                    <a:pt x="250" y="236"/>
                  </a:lnTo>
                  <a:lnTo>
                    <a:pt x="248" y="222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4" y="206"/>
                  </a:lnTo>
                  <a:lnTo>
                    <a:pt x="242" y="200"/>
                  </a:lnTo>
                  <a:lnTo>
                    <a:pt x="242" y="198"/>
                  </a:lnTo>
                  <a:lnTo>
                    <a:pt x="242" y="196"/>
                  </a:lnTo>
                  <a:lnTo>
                    <a:pt x="242" y="192"/>
                  </a:lnTo>
                  <a:lnTo>
                    <a:pt x="244" y="190"/>
                  </a:lnTo>
                  <a:lnTo>
                    <a:pt x="244" y="188"/>
                  </a:lnTo>
                  <a:lnTo>
                    <a:pt x="246" y="186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50" y="180"/>
                  </a:lnTo>
                  <a:lnTo>
                    <a:pt x="254" y="178"/>
                  </a:lnTo>
                  <a:lnTo>
                    <a:pt x="246" y="166"/>
                  </a:lnTo>
                  <a:lnTo>
                    <a:pt x="244" y="166"/>
                  </a:lnTo>
                  <a:lnTo>
                    <a:pt x="244" y="162"/>
                  </a:lnTo>
                  <a:lnTo>
                    <a:pt x="244" y="160"/>
                  </a:lnTo>
                  <a:lnTo>
                    <a:pt x="246" y="158"/>
                  </a:lnTo>
                  <a:lnTo>
                    <a:pt x="246" y="154"/>
                  </a:lnTo>
                  <a:lnTo>
                    <a:pt x="248" y="152"/>
                  </a:lnTo>
                  <a:lnTo>
                    <a:pt x="252" y="146"/>
                  </a:lnTo>
                  <a:lnTo>
                    <a:pt x="254" y="144"/>
                  </a:lnTo>
                  <a:lnTo>
                    <a:pt x="256" y="146"/>
                  </a:lnTo>
                  <a:lnTo>
                    <a:pt x="258" y="142"/>
                  </a:lnTo>
                  <a:lnTo>
                    <a:pt x="260" y="140"/>
                  </a:lnTo>
                  <a:lnTo>
                    <a:pt x="264" y="140"/>
                  </a:lnTo>
                  <a:lnTo>
                    <a:pt x="278" y="132"/>
                  </a:lnTo>
                  <a:lnTo>
                    <a:pt x="292" y="126"/>
                  </a:lnTo>
                  <a:lnTo>
                    <a:pt x="294" y="126"/>
                  </a:lnTo>
                  <a:lnTo>
                    <a:pt x="306" y="120"/>
                  </a:lnTo>
                  <a:lnTo>
                    <a:pt x="312" y="104"/>
                  </a:lnTo>
                  <a:lnTo>
                    <a:pt x="316" y="94"/>
                  </a:lnTo>
                  <a:lnTo>
                    <a:pt x="318" y="86"/>
                  </a:lnTo>
                  <a:lnTo>
                    <a:pt x="318" y="84"/>
                  </a:lnTo>
                  <a:lnTo>
                    <a:pt x="320" y="78"/>
                  </a:lnTo>
                  <a:lnTo>
                    <a:pt x="322" y="72"/>
                  </a:lnTo>
                  <a:lnTo>
                    <a:pt x="326" y="66"/>
                  </a:lnTo>
                  <a:lnTo>
                    <a:pt x="320" y="60"/>
                  </a:lnTo>
                  <a:lnTo>
                    <a:pt x="316" y="56"/>
                  </a:lnTo>
                  <a:lnTo>
                    <a:pt x="320" y="50"/>
                  </a:lnTo>
                  <a:lnTo>
                    <a:pt x="326" y="46"/>
                  </a:lnTo>
                  <a:lnTo>
                    <a:pt x="324" y="42"/>
                  </a:lnTo>
                  <a:lnTo>
                    <a:pt x="324" y="40"/>
                  </a:lnTo>
                  <a:lnTo>
                    <a:pt x="330" y="36"/>
                  </a:lnTo>
                  <a:lnTo>
                    <a:pt x="334" y="36"/>
                  </a:lnTo>
                  <a:lnTo>
                    <a:pt x="338" y="34"/>
                  </a:lnTo>
                  <a:lnTo>
                    <a:pt x="338" y="30"/>
                  </a:lnTo>
                  <a:lnTo>
                    <a:pt x="340" y="24"/>
                  </a:lnTo>
                  <a:lnTo>
                    <a:pt x="342" y="22"/>
                  </a:lnTo>
                  <a:lnTo>
                    <a:pt x="346" y="22"/>
                  </a:lnTo>
                  <a:lnTo>
                    <a:pt x="350" y="20"/>
                  </a:lnTo>
                  <a:lnTo>
                    <a:pt x="352" y="20"/>
                  </a:lnTo>
                  <a:lnTo>
                    <a:pt x="358" y="18"/>
                  </a:lnTo>
                  <a:lnTo>
                    <a:pt x="360" y="18"/>
                  </a:lnTo>
                  <a:lnTo>
                    <a:pt x="362" y="16"/>
                  </a:lnTo>
                  <a:lnTo>
                    <a:pt x="364" y="12"/>
                  </a:lnTo>
                  <a:lnTo>
                    <a:pt x="364" y="10"/>
                  </a:lnTo>
                  <a:lnTo>
                    <a:pt x="364" y="6"/>
                  </a:lnTo>
                  <a:lnTo>
                    <a:pt x="366" y="0"/>
                  </a:lnTo>
                  <a:lnTo>
                    <a:pt x="368" y="0"/>
                  </a:lnTo>
                  <a:lnTo>
                    <a:pt x="374" y="2"/>
                  </a:lnTo>
                  <a:lnTo>
                    <a:pt x="382" y="8"/>
                  </a:lnTo>
                  <a:lnTo>
                    <a:pt x="386" y="12"/>
                  </a:lnTo>
                  <a:lnTo>
                    <a:pt x="388" y="16"/>
                  </a:lnTo>
                  <a:lnTo>
                    <a:pt x="392" y="18"/>
                  </a:lnTo>
                  <a:lnTo>
                    <a:pt x="396" y="18"/>
                  </a:lnTo>
                  <a:lnTo>
                    <a:pt x="398" y="18"/>
                  </a:lnTo>
                  <a:lnTo>
                    <a:pt x="420" y="18"/>
                  </a:lnTo>
                  <a:lnTo>
                    <a:pt x="430" y="18"/>
                  </a:lnTo>
                  <a:lnTo>
                    <a:pt x="444" y="22"/>
                  </a:lnTo>
                  <a:lnTo>
                    <a:pt x="446" y="22"/>
                  </a:lnTo>
                  <a:lnTo>
                    <a:pt x="450" y="24"/>
                  </a:lnTo>
                  <a:lnTo>
                    <a:pt x="452" y="28"/>
                  </a:lnTo>
                  <a:lnTo>
                    <a:pt x="454" y="34"/>
                  </a:lnTo>
                  <a:lnTo>
                    <a:pt x="456" y="40"/>
                  </a:lnTo>
                  <a:lnTo>
                    <a:pt x="458" y="44"/>
                  </a:lnTo>
                  <a:lnTo>
                    <a:pt x="456" y="46"/>
                  </a:lnTo>
                  <a:lnTo>
                    <a:pt x="456" y="48"/>
                  </a:lnTo>
                  <a:lnTo>
                    <a:pt x="458" y="50"/>
                  </a:lnTo>
                  <a:lnTo>
                    <a:pt x="462" y="52"/>
                  </a:lnTo>
                  <a:lnTo>
                    <a:pt x="462" y="54"/>
                  </a:lnTo>
                  <a:lnTo>
                    <a:pt x="462" y="58"/>
                  </a:lnTo>
                  <a:lnTo>
                    <a:pt x="462" y="60"/>
                  </a:lnTo>
                  <a:lnTo>
                    <a:pt x="464" y="60"/>
                  </a:lnTo>
                  <a:lnTo>
                    <a:pt x="464" y="58"/>
                  </a:lnTo>
                  <a:lnTo>
                    <a:pt x="466" y="54"/>
                  </a:lnTo>
                  <a:lnTo>
                    <a:pt x="466" y="52"/>
                  </a:lnTo>
                  <a:lnTo>
                    <a:pt x="466" y="48"/>
                  </a:lnTo>
                  <a:lnTo>
                    <a:pt x="466" y="44"/>
                  </a:lnTo>
                  <a:lnTo>
                    <a:pt x="468" y="44"/>
                  </a:lnTo>
                  <a:lnTo>
                    <a:pt x="468" y="40"/>
                  </a:lnTo>
                  <a:lnTo>
                    <a:pt x="470" y="40"/>
                  </a:lnTo>
                  <a:lnTo>
                    <a:pt x="472" y="38"/>
                  </a:lnTo>
                  <a:lnTo>
                    <a:pt x="474" y="36"/>
                  </a:lnTo>
                  <a:lnTo>
                    <a:pt x="478" y="28"/>
                  </a:lnTo>
                  <a:lnTo>
                    <a:pt x="482" y="18"/>
                  </a:lnTo>
                  <a:lnTo>
                    <a:pt x="484" y="12"/>
                  </a:lnTo>
                  <a:lnTo>
                    <a:pt x="494" y="14"/>
                  </a:lnTo>
                  <a:lnTo>
                    <a:pt x="498" y="14"/>
                  </a:lnTo>
                  <a:lnTo>
                    <a:pt x="502" y="14"/>
                  </a:lnTo>
                  <a:lnTo>
                    <a:pt x="526" y="14"/>
                  </a:lnTo>
                  <a:lnTo>
                    <a:pt x="538" y="14"/>
                  </a:lnTo>
                  <a:lnTo>
                    <a:pt x="542" y="14"/>
                  </a:lnTo>
                  <a:lnTo>
                    <a:pt x="542" y="16"/>
                  </a:lnTo>
                  <a:lnTo>
                    <a:pt x="542" y="18"/>
                  </a:lnTo>
                  <a:lnTo>
                    <a:pt x="542" y="20"/>
                  </a:lnTo>
                  <a:lnTo>
                    <a:pt x="544" y="24"/>
                  </a:lnTo>
                  <a:lnTo>
                    <a:pt x="550" y="28"/>
                  </a:lnTo>
                  <a:lnTo>
                    <a:pt x="552" y="30"/>
                  </a:lnTo>
                  <a:lnTo>
                    <a:pt x="556" y="34"/>
                  </a:lnTo>
                  <a:lnTo>
                    <a:pt x="562" y="40"/>
                  </a:lnTo>
                  <a:lnTo>
                    <a:pt x="564" y="40"/>
                  </a:lnTo>
                  <a:lnTo>
                    <a:pt x="566" y="40"/>
                  </a:lnTo>
                  <a:lnTo>
                    <a:pt x="566" y="42"/>
                  </a:lnTo>
                  <a:lnTo>
                    <a:pt x="568" y="42"/>
                  </a:lnTo>
                  <a:lnTo>
                    <a:pt x="570" y="44"/>
                  </a:lnTo>
                  <a:lnTo>
                    <a:pt x="570" y="46"/>
                  </a:lnTo>
                  <a:lnTo>
                    <a:pt x="574" y="56"/>
                  </a:lnTo>
                  <a:lnTo>
                    <a:pt x="578" y="60"/>
                  </a:lnTo>
                  <a:lnTo>
                    <a:pt x="580" y="64"/>
                  </a:lnTo>
                  <a:lnTo>
                    <a:pt x="582" y="68"/>
                  </a:lnTo>
                  <a:lnTo>
                    <a:pt x="580" y="68"/>
                  </a:lnTo>
                  <a:lnTo>
                    <a:pt x="582" y="70"/>
                  </a:lnTo>
                  <a:lnTo>
                    <a:pt x="586" y="74"/>
                  </a:lnTo>
                  <a:lnTo>
                    <a:pt x="588" y="74"/>
                  </a:lnTo>
                  <a:lnTo>
                    <a:pt x="594" y="80"/>
                  </a:lnTo>
                  <a:lnTo>
                    <a:pt x="594" y="84"/>
                  </a:lnTo>
                  <a:lnTo>
                    <a:pt x="596" y="86"/>
                  </a:lnTo>
                  <a:lnTo>
                    <a:pt x="600" y="86"/>
                  </a:lnTo>
                  <a:lnTo>
                    <a:pt x="602" y="86"/>
                  </a:lnTo>
                  <a:lnTo>
                    <a:pt x="608" y="94"/>
                  </a:lnTo>
                  <a:lnTo>
                    <a:pt x="614" y="96"/>
                  </a:lnTo>
                  <a:lnTo>
                    <a:pt x="616" y="98"/>
                  </a:lnTo>
                  <a:lnTo>
                    <a:pt x="622" y="102"/>
                  </a:lnTo>
                  <a:lnTo>
                    <a:pt x="626" y="104"/>
                  </a:lnTo>
                  <a:lnTo>
                    <a:pt x="628" y="112"/>
                  </a:lnTo>
                  <a:lnTo>
                    <a:pt x="630" y="114"/>
                  </a:lnTo>
                  <a:lnTo>
                    <a:pt x="630" y="116"/>
                  </a:lnTo>
                  <a:lnTo>
                    <a:pt x="632" y="116"/>
                  </a:lnTo>
                  <a:lnTo>
                    <a:pt x="636" y="118"/>
                  </a:lnTo>
                  <a:lnTo>
                    <a:pt x="642" y="120"/>
                  </a:lnTo>
                  <a:lnTo>
                    <a:pt x="644" y="120"/>
                  </a:lnTo>
                  <a:lnTo>
                    <a:pt x="650" y="120"/>
                  </a:lnTo>
                  <a:lnTo>
                    <a:pt x="650" y="122"/>
                  </a:lnTo>
                  <a:lnTo>
                    <a:pt x="658" y="126"/>
                  </a:lnTo>
                  <a:lnTo>
                    <a:pt x="666" y="128"/>
                  </a:lnTo>
                  <a:lnTo>
                    <a:pt x="672" y="130"/>
                  </a:lnTo>
                  <a:lnTo>
                    <a:pt x="672" y="128"/>
                  </a:lnTo>
                  <a:lnTo>
                    <a:pt x="674" y="128"/>
                  </a:lnTo>
                  <a:lnTo>
                    <a:pt x="676" y="128"/>
                  </a:lnTo>
                  <a:lnTo>
                    <a:pt x="678" y="128"/>
                  </a:lnTo>
                  <a:lnTo>
                    <a:pt x="682" y="130"/>
                  </a:lnTo>
                  <a:lnTo>
                    <a:pt x="696" y="140"/>
                  </a:lnTo>
                  <a:lnTo>
                    <a:pt x="704" y="144"/>
                  </a:lnTo>
                  <a:lnTo>
                    <a:pt x="706" y="148"/>
                  </a:lnTo>
                  <a:lnTo>
                    <a:pt x="710" y="152"/>
                  </a:lnTo>
                  <a:lnTo>
                    <a:pt x="712" y="154"/>
                  </a:lnTo>
                  <a:lnTo>
                    <a:pt x="712" y="156"/>
                  </a:lnTo>
                  <a:lnTo>
                    <a:pt x="714" y="156"/>
                  </a:lnTo>
                  <a:lnTo>
                    <a:pt x="724" y="162"/>
                  </a:lnTo>
                  <a:lnTo>
                    <a:pt x="726" y="162"/>
                  </a:lnTo>
                  <a:lnTo>
                    <a:pt x="730" y="164"/>
                  </a:lnTo>
                  <a:lnTo>
                    <a:pt x="732" y="166"/>
                  </a:lnTo>
                  <a:lnTo>
                    <a:pt x="732" y="168"/>
                  </a:lnTo>
                  <a:lnTo>
                    <a:pt x="734" y="168"/>
                  </a:lnTo>
                  <a:lnTo>
                    <a:pt x="738" y="172"/>
                  </a:lnTo>
                  <a:lnTo>
                    <a:pt x="744" y="174"/>
                  </a:lnTo>
                  <a:lnTo>
                    <a:pt x="748" y="176"/>
                  </a:lnTo>
                  <a:lnTo>
                    <a:pt x="750" y="176"/>
                  </a:lnTo>
                  <a:lnTo>
                    <a:pt x="752" y="176"/>
                  </a:lnTo>
                  <a:lnTo>
                    <a:pt x="756" y="178"/>
                  </a:lnTo>
                  <a:lnTo>
                    <a:pt x="760" y="182"/>
                  </a:lnTo>
                  <a:lnTo>
                    <a:pt x="764" y="184"/>
                  </a:lnTo>
                  <a:lnTo>
                    <a:pt x="768" y="184"/>
                  </a:lnTo>
                  <a:lnTo>
                    <a:pt x="772" y="186"/>
                  </a:lnTo>
                  <a:lnTo>
                    <a:pt x="776" y="188"/>
                  </a:lnTo>
                  <a:lnTo>
                    <a:pt x="780" y="190"/>
                  </a:lnTo>
                  <a:lnTo>
                    <a:pt x="782" y="190"/>
                  </a:lnTo>
                  <a:lnTo>
                    <a:pt x="784" y="190"/>
                  </a:lnTo>
                  <a:lnTo>
                    <a:pt x="784" y="192"/>
                  </a:lnTo>
                  <a:lnTo>
                    <a:pt x="790" y="196"/>
                  </a:lnTo>
                  <a:lnTo>
                    <a:pt x="790" y="198"/>
                  </a:lnTo>
                  <a:lnTo>
                    <a:pt x="792" y="200"/>
                  </a:lnTo>
                  <a:lnTo>
                    <a:pt x="794" y="202"/>
                  </a:lnTo>
                  <a:lnTo>
                    <a:pt x="796" y="208"/>
                  </a:lnTo>
                  <a:lnTo>
                    <a:pt x="798" y="210"/>
                  </a:lnTo>
                  <a:lnTo>
                    <a:pt x="798" y="212"/>
                  </a:lnTo>
                  <a:lnTo>
                    <a:pt x="798" y="216"/>
                  </a:lnTo>
                  <a:lnTo>
                    <a:pt x="788" y="226"/>
                  </a:lnTo>
                  <a:lnTo>
                    <a:pt x="786" y="228"/>
                  </a:lnTo>
                  <a:lnTo>
                    <a:pt x="784" y="228"/>
                  </a:lnTo>
                  <a:lnTo>
                    <a:pt x="784" y="232"/>
                  </a:lnTo>
                  <a:lnTo>
                    <a:pt x="782" y="234"/>
                  </a:lnTo>
                  <a:lnTo>
                    <a:pt x="780" y="238"/>
                  </a:lnTo>
                  <a:lnTo>
                    <a:pt x="780" y="240"/>
                  </a:lnTo>
                  <a:lnTo>
                    <a:pt x="774" y="246"/>
                  </a:lnTo>
                  <a:lnTo>
                    <a:pt x="770" y="246"/>
                  </a:lnTo>
                  <a:lnTo>
                    <a:pt x="766" y="252"/>
                  </a:lnTo>
                  <a:lnTo>
                    <a:pt x="766" y="254"/>
                  </a:lnTo>
                  <a:lnTo>
                    <a:pt x="764" y="256"/>
                  </a:lnTo>
                  <a:lnTo>
                    <a:pt x="762" y="262"/>
                  </a:lnTo>
                  <a:lnTo>
                    <a:pt x="762" y="270"/>
                  </a:lnTo>
                  <a:lnTo>
                    <a:pt x="762" y="272"/>
                  </a:lnTo>
                  <a:lnTo>
                    <a:pt x="762" y="276"/>
                  </a:lnTo>
                  <a:lnTo>
                    <a:pt x="754" y="288"/>
                  </a:lnTo>
                  <a:lnTo>
                    <a:pt x="752" y="288"/>
                  </a:lnTo>
                  <a:lnTo>
                    <a:pt x="750" y="288"/>
                  </a:lnTo>
                  <a:lnTo>
                    <a:pt x="746" y="292"/>
                  </a:lnTo>
                  <a:lnTo>
                    <a:pt x="740" y="300"/>
                  </a:lnTo>
                  <a:lnTo>
                    <a:pt x="738" y="300"/>
                  </a:lnTo>
                  <a:lnTo>
                    <a:pt x="736" y="302"/>
                  </a:lnTo>
                  <a:lnTo>
                    <a:pt x="736" y="304"/>
                  </a:lnTo>
                  <a:lnTo>
                    <a:pt x="738" y="306"/>
                  </a:lnTo>
                  <a:lnTo>
                    <a:pt x="738" y="310"/>
                  </a:lnTo>
                  <a:lnTo>
                    <a:pt x="740" y="310"/>
                  </a:lnTo>
                  <a:lnTo>
                    <a:pt x="742" y="310"/>
                  </a:lnTo>
                  <a:lnTo>
                    <a:pt x="742" y="308"/>
                  </a:lnTo>
                  <a:lnTo>
                    <a:pt x="744" y="308"/>
                  </a:lnTo>
                  <a:lnTo>
                    <a:pt x="754" y="308"/>
                  </a:lnTo>
                  <a:lnTo>
                    <a:pt x="760" y="308"/>
                  </a:lnTo>
                  <a:lnTo>
                    <a:pt x="768" y="308"/>
                  </a:lnTo>
                  <a:lnTo>
                    <a:pt x="772" y="310"/>
                  </a:lnTo>
                  <a:lnTo>
                    <a:pt x="778" y="310"/>
                  </a:lnTo>
                  <a:lnTo>
                    <a:pt x="782" y="312"/>
                  </a:lnTo>
                  <a:lnTo>
                    <a:pt x="784" y="314"/>
                  </a:lnTo>
                  <a:lnTo>
                    <a:pt x="786" y="314"/>
                  </a:lnTo>
                  <a:lnTo>
                    <a:pt x="786" y="316"/>
                  </a:lnTo>
                  <a:lnTo>
                    <a:pt x="798" y="318"/>
                  </a:lnTo>
                  <a:lnTo>
                    <a:pt x="800" y="320"/>
                  </a:lnTo>
                  <a:lnTo>
                    <a:pt x="802" y="320"/>
                  </a:lnTo>
                  <a:lnTo>
                    <a:pt x="804" y="320"/>
                  </a:lnTo>
                  <a:lnTo>
                    <a:pt x="806" y="322"/>
                  </a:lnTo>
                  <a:lnTo>
                    <a:pt x="808" y="324"/>
                  </a:lnTo>
                  <a:lnTo>
                    <a:pt x="812" y="324"/>
                  </a:lnTo>
                  <a:lnTo>
                    <a:pt x="814" y="324"/>
                  </a:lnTo>
                  <a:lnTo>
                    <a:pt x="816" y="324"/>
                  </a:lnTo>
                  <a:lnTo>
                    <a:pt x="816" y="322"/>
                  </a:lnTo>
                  <a:lnTo>
                    <a:pt x="818" y="320"/>
                  </a:lnTo>
                  <a:lnTo>
                    <a:pt x="822" y="320"/>
                  </a:lnTo>
                  <a:lnTo>
                    <a:pt x="824" y="320"/>
                  </a:lnTo>
                  <a:lnTo>
                    <a:pt x="826" y="322"/>
                  </a:lnTo>
                  <a:lnTo>
                    <a:pt x="826" y="324"/>
                  </a:lnTo>
                  <a:lnTo>
                    <a:pt x="828" y="324"/>
                  </a:lnTo>
                  <a:lnTo>
                    <a:pt x="830" y="324"/>
                  </a:lnTo>
                  <a:lnTo>
                    <a:pt x="832" y="324"/>
                  </a:lnTo>
                  <a:lnTo>
                    <a:pt x="834" y="324"/>
                  </a:lnTo>
                  <a:lnTo>
                    <a:pt x="834" y="322"/>
                  </a:lnTo>
                  <a:lnTo>
                    <a:pt x="836" y="322"/>
                  </a:lnTo>
                  <a:lnTo>
                    <a:pt x="838" y="322"/>
                  </a:lnTo>
                  <a:lnTo>
                    <a:pt x="840" y="322"/>
                  </a:lnTo>
                  <a:lnTo>
                    <a:pt x="840" y="324"/>
                  </a:lnTo>
                  <a:lnTo>
                    <a:pt x="842" y="324"/>
                  </a:lnTo>
                  <a:lnTo>
                    <a:pt x="844" y="328"/>
                  </a:lnTo>
                  <a:lnTo>
                    <a:pt x="846" y="330"/>
                  </a:lnTo>
                  <a:lnTo>
                    <a:pt x="848" y="330"/>
                  </a:lnTo>
                  <a:lnTo>
                    <a:pt x="850" y="330"/>
                  </a:lnTo>
                  <a:lnTo>
                    <a:pt x="854" y="324"/>
                  </a:lnTo>
                  <a:lnTo>
                    <a:pt x="854" y="322"/>
                  </a:lnTo>
                  <a:lnTo>
                    <a:pt x="854" y="320"/>
                  </a:lnTo>
                  <a:lnTo>
                    <a:pt x="860" y="316"/>
                  </a:lnTo>
                  <a:lnTo>
                    <a:pt x="862" y="316"/>
                  </a:lnTo>
                  <a:lnTo>
                    <a:pt x="864" y="316"/>
                  </a:lnTo>
                  <a:lnTo>
                    <a:pt x="866" y="316"/>
                  </a:lnTo>
                  <a:lnTo>
                    <a:pt x="870" y="318"/>
                  </a:lnTo>
                  <a:lnTo>
                    <a:pt x="872" y="318"/>
                  </a:lnTo>
                  <a:lnTo>
                    <a:pt x="874" y="320"/>
                  </a:lnTo>
                  <a:lnTo>
                    <a:pt x="874" y="322"/>
                  </a:lnTo>
                  <a:lnTo>
                    <a:pt x="880" y="324"/>
                  </a:lnTo>
                  <a:lnTo>
                    <a:pt x="888" y="318"/>
                  </a:lnTo>
                  <a:lnTo>
                    <a:pt x="890" y="314"/>
                  </a:lnTo>
                  <a:lnTo>
                    <a:pt x="890" y="312"/>
                  </a:lnTo>
                  <a:lnTo>
                    <a:pt x="890" y="308"/>
                  </a:lnTo>
                  <a:lnTo>
                    <a:pt x="890" y="306"/>
                  </a:lnTo>
                  <a:lnTo>
                    <a:pt x="898" y="300"/>
                  </a:lnTo>
                  <a:lnTo>
                    <a:pt x="900" y="300"/>
                  </a:lnTo>
                  <a:lnTo>
                    <a:pt x="900" y="298"/>
                  </a:lnTo>
                  <a:lnTo>
                    <a:pt x="906" y="298"/>
                  </a:lnTo>
                  <a:lnTo>
                    <a:pt x="908" y="298"/>
                  </a:lnTo>
                  <a:lnTo>
                    <a:pt x="914" y="294"/>
                  </a:lnTo>
                  <a:lnTo>
                    <a:pt x="918" y="290"/>
                  </a:lnTo>
                  <a:lnTo>
                    <a:pt x="920" y="290"/>
                  </a:lnTo>
                  <a:lnTo>
                    <a:pt x="922" y="290"/>
                  </a:lnTo>
                  <a:lnTo>
                    <a:pt x="924" y="288"/>
                  </a:lnTo>
                  <a:lnTo>
                    <a:pt x="924" y="284"/>
                  </a:lnTo>
                  <a:lnTo>
                    <a:pt x="926" y="284"/>
                  </a:lnTo>
                  <a:lnTo>
                    <a:pt x="928" y="282"/>
                  </a:lnTo>
                  <a:lnTo>
                    <a:pt x="928" y="284"/>
                  </a:lnTo>
                  <a:lnTo>
                    <a:pt x="938" y="270"/>
                  </a:lnTo>
                  <a:lnTo>
                    <a:pt x="940" y="264"/>
                  </a:lnTo>
                  <a:lnTo>
                    <a:pt x="940" y="260"/>
                  </a:lnTo>
                  <a:lnTo>
                    <a:pt x="942" y="260"/>
                  </a:lnTo>
                  <a:lnTo>
                    <a:pt x="942" y="258"/>
                  </a:lnTo>
                  <a:lnTo>
                    <a:pt x="942" y="256"/>
                  </a:lnTo>
                  <a:lnTo>
                    <a:pt x="942" y="246"/>
                  </a:lnTo>
                  <a:lnTo>
                    <a:pt x="946" y="244"/>
                  </a:lnTo>
                  <a:lnTo>
                    <a:pt x="946" y="236"/>
                  </a:lnTo>
                  <a:lnTo>
                    <a:pt x="946" y="228"/>
                  </a:lnTo>
                  <a:lnTo>
                    <a:pt x="946" y="224"/>
                  </a:lnTo>
                  <a:lnTo>
                    <a:pt x="950" y="224"/>
                  </a:lnTo>
                  <a:lnTo>
                    <a:pt x="954" y="228"/>
                  </a:lnTo>
                  <a:lnTo>
                    <a:pt x="958" y="226"/>
                  </a:lnTo>
                  <a:lnTo>
                    <a:pt x="962" y="224"/>
                  </a:lnTo>
                  <a:lnTo>
                    <a:pt x="964" y="224"/>
                  </a:lnTo>
                  <a:lnTo>
                    <a:pt x="968" y="224"/>
                  </a:lnTo>
                  <a:lnTo>
                    <a:pt x="970" y="224"/>
                  </a:lnTo>
                  <a:lnTo>
                    <a:pt x="972" y="220"/>
                  </a:lnTo>
                  <a:lnTo>
                    <a:pt x="982" y="230"/>
                  </a:lnTo>
                  <a:lnTo>
                    <a:pt x="984" y="232"/>
                  </a:lnTo>
                  <a:lnTo>
                    <a:pt x="984" y="238"/>
                  </a:lnTo>
                  <a:lnTo>
                    <a:pt x="984" y="240"/>
                  </a:lnTo>
                  <a:lnTo>
                    <a:pt x="984" y="242"/>
                  </a:lnTo>
                  <a:lnTo>
                    <a:pt x="984" y="248"/>
                  </a:lnTo>
                  <a:lnTo>
                    <a:pt x="988" y="254"/>
                  </a:lnTo>
                  <a:lnTo>
                    <a:pt x="990" y="260"/>
                  </a:lnTo>
                  <a:lnTo>
                    <a:pt x="990" y="262"/>
                  </a:lnTo>
                  <a:lnTo>
                    <a:pt x="990" y="264"/>
                  </a:lnTo>
                  <a:lnTo>
                    <a:pt x="990" y="266"/>
                  </a:lnTo>
                  <a:lnTo>
                    <a:pt x="990" y="268"/>
                  </a:lnTo>
                  <a:lnTo>
                    <a:pt x="988" y="268"/>
                  </a:lnTo>
                  <a:lnTo>
                    <a:pt x="988" y="270"/>
                  </a:lnTo>
                  <a:lnTo>
                    <a:pt x="986" y="278"/>
                  </a:lnTo>
                  <a:lnTo>
                    <a:pt x="984" y="286"/>
                  </a:lnTo>
                  <a:lnTo>
                    <a:pt x="984" y="288"/>
                  </a:lnTo>
                  <a:lnTo>
                    <a:pt x="984" y="292"/>
                  </a:lnTo>
                  <a:lnTo>
                    <a:pt x="984" y="298"/>
                  </a:lnTo>
                  <a:lnTo>
                    <a:pt x="984" y="300"/>
                  </a:lnTo>
                  <a:lnTo>
                    <a:pt x="982" y="304"/>
                  </a:lnTo>
                  <a:lnTo>
                    <a:pt x="982" y="306"/>
                  </a:lnTo>
                  <a:lnTo>
                    <a:pt x="978" y="312"/>
                  </a:lnTo>
                  <a:lnTo>
                    <a:pt x="976" y="314"/>
                  </a:lnTo>
                  <a:lnTo>
                    <a:pt x="976" y="312"/>
                  </a:lnTo>
                  <a:lnTo>
                    <a:pt x="974" y="312"/>
                  </a:lnTo>
                  <a:lnTo>
                    <a:pt x="968" y="314"/>
                  </a:lnTo>
                  <a:lnTo>
                    <a:pt x="966" y="316"/>
                  </a:lnTo>
                  <a:lnTo>
                    <a:pt x="964" y="318"/>
                  </a:lnTo>
                  <a:lnTo>
                    <a:pt x="964" y="320"/>
                  </a:lnTo>
                  <a:lnTo>
                    <a:pt x="962" y="320"/>
                  </a:lnTo>
                  <a:lnTo>
                    <a:pt x="960" y="320"/>
                  </a:lnTo>
                  <a:lnTo>
                    <a:pt x="956" y="324"/>
                  </a:lnTo>
                  <a:lnTo>
                    <a:pt x="952" y="326"/>
                  </a:lnTo>
                  <a:lnTo>
                    <a:pt x="948" y="328"/>
                  </a:lnTo>
                  <a:lnTo>
                    <a:pt x="944" y="328"/>
                  </a:lnTo>
                  <a:lnTo>
                    <a:pt x="940" y="330"/>
                  </a:lnTo>
                  <a:lnTo>
                    <a:pt x="934" y="332"/>
                  </a:lnTo>
                  <a:lnTo>
                    <a:pt x="932" y="332"/>
                  </a:lnTo>
                  <a:lnTo>
                    <a:pt x="928" y="332"/>
                  </a:lnTo>
                  <a:lnTo>
                    <a:pt x="928" y="330"/>
                  </a:lnTo>
                  <a:lnTo>
                    <a:pt x="926" y="332"/>
                  </a:lnTo>
                  <a:lnTo>
                    <a:pt x="920" y="338"/>
                  </a:lnTo>
                  <a:lnTo>
                    <a:pt x="920" y="340"/>
                  </a:lnTo>
                  <a:lnTo>
                    <a:pt x="920" y="342"/>
                  </a:lnTo>
                  <a:lnTo>
                    <a:pt x="914" y="346"/>
                  </a:lnTo>
                  <a:lnTo>
                    <a:pt x="912" y="348"/>
                  </a:lnTo>
                  <a:lnTo>
                    <a:pt x="906" y="348"/>
                  </a:lnTo>
                  <a:lnTo>
                    <a:pt x="898" y="352"/>
                  </a:lnTo>
                  <a:lnTo>
                    <a:pt x="896" y="354"/>
                  </a:lnTo>
                  <a:lnTo>
                    <a:pt x="894" y="356"/>
                  </a:lnTo>
                  <a:lnTo>
                    <a:pt x="890" y="360"/>
                  </a:lnTo>
                  <a:lnTo>
                    <a:pt x="884" y="362"/>
                  </a:lnTo>
                  <a:lnTo>
                    <a:pt x="882" y="362"/>
                  </a:lnTo>
                  <a:lnTo>
                    <a:pt x="878" y="364"/>
                  </a:lnTo>
                  <a:lnTo>
                    <a:pt x="878" y="366"/>
                  </a:lnTo>
                  <a:lnTo>
                    <a:pt x="876" y="366"/>
                  </a:lnTo>
                  <a:lnTo>
                    <a:pt x="874" y="366"/>
                  </a:lnTo>
                  <a:lnTo>
                    <a:pt x="874" y="368"/>
                  </a:lnTo>
                  <a:lnTo>
                    <a:pt x="876" y="370"/>
                  </a:lnTo>
                  <a:lnTo>
                    <a:pt x="878" y="372"/>
                  </a:lnTo>
                  <a:lnTo>
                    <a:pt x="878" y="374"/>
                  </a:lnTo>
                  <a:lnTo>
                    <a:pt x="876" y="378"/>
                  </a:lnTo>
                  <a:lnTo>
                    <a:pt x="876" y="376"/>
                  </a:lnTo>
                  <a:lnTo>
                    <a:pt x="876" y="374"/>
                  </a:lnTo>
                  <a:lnTo>
                    <a:pt x="870" y="374"/>
                  </a:lnTo>
                  <a:lnTo>
                    <a:pt x="868" y="374"/>
                  </a:lnTo>
                  <a:lnTo>
                    <a:pt x="862" y="380"/>
                  </a:lnTo>
                  <a:lnTo>
                    <a:pt x="860" y="384"/>
                  </a:lnTo>
                  <a:lnTo>
                    <a:pt x="858" y="388"/>
                  </a:lnTo>
                  <a:lnTo>
                    <a:pt x="852" y="394"/>
                  </a:lnTo>
                  <a:lnTo>
                    <a:pt x="846" y="396"/>
                  </a:lnTo>
                  <a:lnTo>
                    <a:pt x="846" y="398"/>
                  </a:lnTo>
                  <a:lnTo>
                    <a:pt x="844" y="398"/>
                  </a:lnTo>
                  <a:lnTo>
                    <a:pt x="838" y="410"/>
                  </a:lnTo>
                  <a:lnTo>
                    <a:pt x="836" y="412"/>
                  </a:lnTo>
                  <a:lnTo>
                    <a:pt x="834" y="412"/>
                  </a:lnTo>
                  <a:lnTo>
                    <a:pt x="832" y="414"/>
                  </a:lnTo>
                  <a:lnTo>
                    <a:pt x="830" y="414"/>
                  </a:lnTo>
                  <a:lnTo>
                    <a:pt x="828" y="416"/>
                  </a:lnTo>
                  <a:lnTo>
                    <a:pt x="826" y="418"/>
                  </a:lnTo>
                  <a:lnTo>
                    <a:pt x="826" y="420"/>
                  </a:lnTo>
                  <a:lnTo>
                    <a:pt x="822" y="426"/>
                  </a:lnTo>
                  <a:lnTo>
                    <a:pt x="816" y="432"/>
                  </a:lnTo>
                  <a:lnTo>
                    <a:pt x="810" y="436"/>
                  </a:lnTo>
                  <a:lnTo>
                    <a:pt x="804" y="444"/>
                  </a:lnTo>
                  <a:lnTo>
                    <a:pt x="802" y="446"/>
                  </a:lnTo>
                  <a:lnTo>
                    <a:pt x="800" y="448"/>
                  </a:lnTo>
                  <a:lnTo>
                    <a:pt x="798" y="448"/>
                  </a:lnTo>
                  <a:lnTo>
                    <a:pt x="796" y="448"/>
                  </a:lnTo>
                  <a:lnTo>
                    <a:pt x="794" y="448"/>
                  </a:lnTo>
                  <a:lnTo>
                    <a:pt x="792" y="448"/>
                  </a:lnTo>
                  <a:lnTo>
                    <a:pt x="792" y="450"/>
                  </a:lnTo>
                  <a:lnTo>
                    <a:pt x="790" y="450"/>
                  </a:lnTo>
                  <a:lnTo>
                    <a:pt x="790" y="454"/>
                  </a:lnTo>
                  <a:lnTo>
                    <a:pt x="788" y="458"/>
                  </a:lnTo>
                  <a:lnTo>
                    <a:pt x="788" y="460"/>
                  </a:lnTo>
                  <a:lnTo>
                    <a:pt x="780" y="466"/>
                  </a:lnTo>
                  <a:lnTo>
                    <a:pt x="778" y="468"/>
                  </a:lnTo>
                  <a:lnTo>
                    <a:pt x="776" y="470"/>
                  </a:lnTo>
                  <a:lnTo>
                    <a:pt x="774" y="470"/>
                  </a:lnTo>
                  <a:lnTo>
                    <a:pt x="772" y="472"/>
                  </a:lnTo>
                  <a:lnTo>
                    <a:pt x="772" y="474"/>
                  </a:lnTo>
                  <a:lnTo>
                    <a:pt x="772" y="476"/>
                  </a:lnTo>
                  <a:lnTo>
                    <a:pt x="770" y="478"/>
                  </a:lnTo>
                  <a:lnTo>
                    <a:pt x="766" y="482"/>
                  </a:lnTo>
                  <a:lnTo>
                    <a:pt x="762" y="484"/>
                  </a:lnTo>
                  <a:lnTo>
                    <a:pt x="760" y="486"/>
                  </a:lnTo>
                  <a:lnTo>
                    <a:pt x="758" y="488"/>
                  </a:lnTo>
                  <a:lnTo>
                    <a:pt x="758" y="490"/>
                  </a:lnTo>
                  <a:lnTo>
                    <a:pt x="758" y="492"/>
                  </a:lnTo>
                  <a:lnTo>
                    <a:pt x="760" y="494"/>
                  </a:lnTo>
                  <a:lnTo>
                    <a:pt x="762" y="498"/>
                  </a:lnTo>
                  <a:lnTo>
                    <a:pt x="762" y="500"/>
                  </a:lnTo>
                  <a:lnTo>
                    <a:pt x="762" y="502"/>
                  </a:lnTo>
                  <a:lnTo>
                    <a:pt x="762" y="508"/>
                  </a:lnTo>
                  <a:lnTo>
                    <a:pt x="758" y="516"/>
                  </a:lnTo>
                  <a:lnTo>
                    <a:pt x="752" y="528"/>
                  </a:lnTo>
                  <a:lnTo>
                    <a:pt x="748" y="536"/>
                  </a:lnTo>
                  <a:lnTo>
                    <a:pt x="746" y="536"/>
                  </a:lnTo>
                  <a:lnTo>
                    <a:pt x="744" y="538"/>
                  </a:lnTo>
                  <a:lnTo>
                    <a:pt x="744" y="540"/>
                  </a:lnTo>
                  <a:lnTo>
                    <a:pt x="746" y="540"/>
                  </a:lnTo>
                  <a:lnTo>
                    <a:pt x="746" y="542"/>
                  </a:lnTo>
                  <a:lnTo>
                    <a:pt x="748" y="544"/>
                  </a:lnTo>
                  <a:lnTo>
                    <a:pt x="748" y="546"/>
                  </a:lnTo>
                  <a:lnTo>
                    <a:pt x="744" y="556"/>
                  </a:lnTo>
                  <a:lnTo>
                    <a:pt x="742" y="558"/>
                  </a:lnTo>
                  <a:lnTo>
                    <a:pt x="740" y="558"/>
                  </a:lnTo>
                  <a:lnTo>
                    <a:pt x="738" y="558"/>
                  </a:lnTo>
                  <a:lnTo>
                    <a:pt x="736" y="560"/>
                  </a:lnTo>
                  <a:lnTo>
                    <a:pt x="736" y="562"/>
                  </a:lnTo>
                  <a:lnTo>
                    <a:pt x="738" y="564"/>
                  </a:lnTo>
                  <a:lnTo>
                    <a:pt x="738" y="566"/>
                  </a:lnTo>
                  <a:lnTo>
                    <a:pt x="738" y="570"/>
                  </a:lnTo>
                  <a:lnTo>
                    <a:pt x="736" y="572"/>
                  </a:lnTo>
                  <a:lnTo>
                    <a:pt x="736" y="574"/>
                  </a:lnTo>
                  <a:lnTo>
                    <a:pt x="736" y="576"/>
                  </a:lnTo>
                  <a:lnTo>
                    <a:pt x="736" y="578"/>
                  </a:lnTo>
                  <a:lnTo>
                    <a:pt x="738" y="580"/>
                  </a:lnTo>
                  <a:lnTo>
                    <a:pt x="738" y="582"/>
                  </a:lnTo>
                  <a:lnTo>
                    <a:pt x="738" y="584"/>
                  </a:lnTo>
                  <a:lnTo>
                    <a:pt x="736" y="586"/>
                  </a:lnTo>
                  <a:lnTo>
                    <a:pt x="736" y="588"/>
                  </a:lnTo>
                  <a:lnTo>
                    <a:pt x="734" y="588"/>
                  </a:lnTo>
                  <a:lnTo>
                    <a:pt x="732" y="592"/>
                  </a:lnTo>
                  <a:lnTo>
                    <a:pt x="732" y="594"/>
                  </a:lnTo>
                  <a:lnTo>
                    <a:pt x="732" y="596"/>
                  </a:lnTo>
                  <a:lnTo>
                    <a:pt x="730" y="598"/>
                  </a:lnTo>
                  <a:lnTo>
                    <a:pt x="732" y="606"/>
                  </a:lnTo>
                  <a:lnTo>
                    <a:pt x="732" y="614"/>
                  </a:lnTo>
                  <a:lnTo>
                    <a:pt x="732" y="620"/>
                  </a:lnTo>
                  <a:lnTo>
                    <a:pt x="732" y="624"/>
                  </a:lnTo>
                  <a:lnTo>
                    <a:pt x="732" y="626"/>
                  </a:lnTo>
                  <a:lnTo>
                    <a:pt x="730" y="626"/>
                  </a:lnTo>
                  <a:lnTo>
                    <a:pt x="728" y="626"/>
                  </a:lnTo>
                  <a:lnTo>
                    <a:pt x="726" y="626"/>
                  </a:lnTo>
                  <a:lnTo>
                    <a:pt x="722" y="626"/>
                  </a:lnTo>
                  <a:lnTo>
                    <a:pt x="720" y="626"/>
                  </a:lnTo>
                  <a:lnTo>
                    <a:pt x="718" y="626"/>
                  </a:lnTo>
                  <a:lnTo>
                    <a:pt x="718" y="636"/>
                  </a:lnTo>
                  <a:lnTo>
                    <a:pt x="716" y="638"/>
                  </a:lnTo>
                  <a:lnTo>
                    <a:pt x="714" y="640"/>
                  </a:lnTo>
                  <a:lnTo>
                    <a:pt x="712" y="642"/>
                  </a:lnTo>
                  <a:lnTo>
                    <a:pt x="712" y="648"/>
                  </a:lnTo>
                  <a:lnTo>
                    <a:pt x="710" y="650"/>
                  </a:lnTo>
                  <a:lnTo>
                    <a:pt x="710" y="656"/>
                  </a:lnTo>
                  <a:lnTo>
                    <a:pt x="710" y="658"/>
                  </a:lnTo>
                  <a:lnTo>
                    <a:pt x="708" y="660"/>
                  </a:lnTo>
                  <a:lnTo>
                    <a:pt x="710" y="662"/>
                  </a:lnTo>
                  <a:lnTo>
                    <a:pt x="712" y="666"/>
                  </a:lnTo>
                  <a:lnTo>
                    <a:pt x="712" y="668"/>
                  </a:lnTo>
                  <a:lnTo>
                    <a:pt x="712" y="674"/>
                  </a:lnTo>
                  <a:lnTo>
                    <a:pt x="712" y="676"/>
                  </a:lnTo>
                  <a:lnTo>
                    <a:pt x="714" y="676"/>
                  </a:lnTo>
                  <a:lnTo>
                    <a:pt x="714" y="678"/>
                  </a:lnTo>
                  <a:lnTo>
                    <a:pt x="716" y="678"/>
                  </a:lnTo>
                  <a:lnTo>
                    <a:pt x="714" y="686"/>
                  </a:lnTo>
                  <a:lnTo>
                    <a:pt x="712" y="688"/>
                  </a:lnTo>
                  <a:lnTo>
                    <a:pt x="712" y="690"/>
                  </a:lnTo>
                  <a:lnTo>
                    <a:pt x="710" y="692"/>
                  </a:lnTo>
                  <a:lnTo>
                    <a:pt x="708" y="694"/>
                  </a:lnTo>
                  <a:lnTo>
                    <a:pt x="708" y="696"/>
                  </a:lnTo>
                  <a:lnTo>
                    <a:pt x="708" y="702"/>
                  </a:lnTo>
                  <a:lnTo>
                    <a:pt x="708" y="706"/>
                  </a:lnTo>
                  <a:lnTo>
                    <a:pt x="710" y="708"/>
                  </a:lnTo>
                  <a:lnTo>
                    <a:pt x="712" y="708"/>
                  </a:lnTo>
                  <a:lnTo>
                    <a:pt x="714" y="710"/>
                  </a:lnTo>
                  <a:lnTo>
                    <a:pt x="714" y="712"/>
                  </a:lnTo>
                  <a:lnTo>
                    <a:pt x="718" y="714"/>
                  </a:lnTo>
                  <a:lnTo>
                    <a:pt x="722" y="716"/>
                  </a:lnTo>
                  <a:lnTo>
                    <a:pt x="724" y="718"/>
                  </a:lnTo>
                  <a:lnTo>
                    <a:pt x="726" y="718"/>
                  </a:lnTo>
                  <a:lnTo>
                    <a:pt x="728" y="720"/>
                  </a:lnTo>
                  <a:lnTo>
                    <a:pt x="736" y="724"/>
                  </a:lnTo>
                  <a:lnTo>
                    <a:pt x="738" y="726"/>
                  </a:lnTo>
                  <a:lnTo>
                    <a:pt x="752" y="734"/>
                  </a:lnTo>
                  <a:lnTo>
                    <a:pt x="758" y="742"/>
                  </a:lnTo>
                  <a:lnTo>
                    <a:pt x="760" y="742"/>
                  </a:lnTo>
                  <a:lnTo>
                    <a:pt x="764" y="750"/>
                  </a:lnTo>
                  <a:lnTo>
                    <a:pt x="766" y="756"/>
                  </a:lnTo>
                  <a:lnTo>
                    <a:pt x="766" y="760"/>
                  </a:lnTo>
                  <a:lnTo>
                    <a:pt x="764" y="760"/>
                  </a:lnTo>
                  <a:lnTo>
                    <a:pt x="762" y="764"/>
                  </a:lnTo>
                  <a:lnTo>
                    <a:pt x="760" y="766"/>
                  </a:lnTo>
                  <a:lnTo>
                    <a:pt x="756" y="770"/>
                  </a:lnTo>
                  <a:lnTo>
                    <a:pt x="754" y="774"/>
                  </a:lnTo>
                  <a:lnTo>
                    <a:pt x="752" y="776"/>
                  </a:lnTo>
                  <a:lnTo>
                    <a:pt x="752" y="778"/>
                  </a:lnTo>
                  <a:lnTo>
                    <a:pt x="750" y="782"/>
                  </a:lnTo>
                  <a:lnTo>
                    <a:pt x="750" y="784"/>
                  </a:lnTo>
                  <a:lnTo>
                    <a:pt x="752" y="786"/>
                  </a:lnTo>
                  <a:lnTo>
                    <a:pt x="754" y="792"/>
                  </a:lnTo>
                  <a:lnTo>
                    <a:pt x="756" y="798"/>
                  </a:lnTo>
                  <a:lnTo>
                    <a:pt x="758" y="798"/>
                  </a:lnTo>
                  <a:lnTo>
                    <a:pt x="760" y="802"/>
                  </a:lnTo>
                  <a:lnTo>
                    <a:pt x="762" y="804"/>
                  </a:lnTo>
                  <a:lnTo>
                    <a:pt x="764" y="804"/>
                  </a:lnTo>
                  <a:lnTo>
                    <a:pt x="770" y="808"/>
                  </a:lnTo>
                  <a:lnTo>
                    <a:pt x="772" y="808"/>
                  </a:lnTo>
                  <a:lnTo>
                    <a:pt x="778" y="806"/>
                  </a:lnTo>
                  <a:lnTo>
                    <a:pt x="780" y="812"/>
                  </a:lnTo>
                  <a:lnTo>
                    <a:pt x="780" y="822"/>
                  </a:lnTo>
                  <a:lnTo>
                    <a:pt x="778" y="838"/>
                  </a:lnTo>
                  <a:lnTo>
                    <a:pt x="778" y="840"/>
                  </a:lnTo>
                  <a:lnTo>
                    <a:pt x="776" y="840"/>
                  </a:lnTo>
                  <a:lnTo>
                    <a:pt x="776" y="842"/>
                  </a:lnTo>
                  <a:lnTo>
                    <a:pt x="774" y="842"/>
                  </a:lnTo>
                  <a:lnTo>
                    <a:pt x="770" y="848"/>
                  </a:lnTo>
                  <a:lnTo>
                    <a:pt x="762" y="858"/>
                  </a:lnTo>
                  <a:lnTo>
                    <a:pt x="758" y="862"/>
                  </a:lnTo>
                  <a:lnTo>
                    <a:pt x="758" y="864"/>
                  </a:lnTo>
                  <a:lnTo>
                    <a:pt x="756" y="868"/>
                  </a:lnTo>
                  <a:lnTo>
                    <a:pt x="754" y="870"/>
                  </a:lnTo>
                  <a:lnTo>
                    <a:pt x="750" y="874"/>
                  </a:lnTo>
                  <a:lnTo>
                    <a:pt x="748" y="874"/>
                  </a:lnTo>
                  <a:lnTo>
                    <a:pt x="746" y="876"/>
                  </a:lnTo>
                  <a:lnTo>
                    <a:pt x="744" y="876"/>
                  </a:lnTo>
                  <a:lnTo>
                    <a:pt x="742" y="878"/>
                  </a:lnTo>
                  <a:lnTo>
                    <a:pt x="738" y="882"/>
                  </a:lnTo>
                  <a:lnTo>
                    <a:pt x="734" y="886"/>
                  </a:lnTo>
                  <a:lnTo>
                    <a:pt x="732" y="888"/>
                  </a:lnTo>
                  <a:lnTo>
                    <a:pt x="732" y="890"/>
                  </a:lnTo>
                  <a:lnTo>
                    <a:pt x="732" y="892"/>
                  </a:lnTo>
                  <a:lnTo>
                    <a:pt x="730" y="892"/>
                  </a:lnTo>
                  <a:lnTo>
                    <a:pt x="730" y="896"/>
                  </a:lnTo>
                  <a:lnTo>
                    <a:pt x="730" y="900"/>
                  </a:lnTo>
                  <a:lnTo>
                    <a:pt x="728" y="902"/>
                  </a:lnTo>
                  <a:lnTo>
                    <a:pt x="728" y="904"/>
                  </a:lnTo>
                  <a:lnTo>
                    <a:pt x="724" y="906"/>
                  </a:lnTo>
                  <a:lnTo>
                    <a:pt x="714" y="912"/>
                  </a:lnTo>
                  <a:lnTo>
                    <a:pt x="700" y="918"/>
                  </a:lnTo>
                  <a:lnTo>
                    <a:pt x="698" y="918"/>
                  </a:lnTo>
                  <a:lnTo>
                    <a:pt x="692" y="920"/>
                  </a:lnTo>
                  <a:lnTo>
                    <a:pt x="676" y="924"/>
                  </a:lnTo>
                  <a:lnTo>
                    <a:pt x="670" y="926"/>
                  </a:lnTo>
                  <a:lnTo>
                    <a:pt x="658" y="930"/>
                  </a:lnTo>
                  <a:lnTo>
                    <a:pt x="656" y="930"/>
                  </a:lnTo>
                  <a:lnTo>
                    <a:pt x="654" y="930"/>
                  </a:lnTo>
                  <a:lnTo>
                    <a:pt x="650" y="930"/>
                  </a:lnTo>
                  <a:lnTo>
                    <a:pt x="648" y="932"/>
                  </a:lnTo>
                  <a:lnTo>
                    <a:pt x="636" y="932"/>
                  </a:lnTo>
                  <a:lnTo>
                    <a:pt x="628" y="934"/>
                  </a:lnTo>
                  <a:lnTo>
                    <a:pt x="622" y="936"/>
                  </a:lnTo>
                  <a:lnTo>
                    <a:pt x="618" y="936"/>
                  </a:lnTo>
                  <a:lnTo>
                    <a:pt x="616" y="936"/>
                  </a:lnTo>
                  <a:lnTo>
                    <a:pt x="604" y="938"/>
                  </a:lnTo>
                  <a:lnTo>
                    <a:pt x="592" y="938"/>
                  </a:lnTo>
                  <a:lnTo>
                    <a:pt x="580" y="940"/>
                  </a:lnTo>
                  <a:lnTo>
                    <a:pt x="576" y="940"/>
                  </a:lnTo>
                  <a:lnTo>
                    <a:pt x="574" y="940"/>
                  </a:lnTo>
                  <a:lnTo>
                    <a:pt x="562" y="942"/>
                  </a:lnTo>
                  <a:lnTo>
                    <a:pt x="558" y="942"/>
                  </a:lnTo>
                  <a:lnTo>
                    <a:pt x="552" y="940"/>
                  </a:lnTo>
                  <a:lnTo>
                    <a:pt x="550" y="940"/>
                  </a:lnTo>
                  <a:lnTo>
                    <a:pt x="548" y="940"/>
                  </a:lnTo>
                  <a:lnTo>
                    <a:pt x="546" y="940"/>
                  </a:lnTo>
                  <a:lnTo>
                    <a:pt x="544" y="942"/>
                  </a:lnTo>
                  <a:lnTo>
                    <a:pt x="542" y="942"/>
                  </a:lnTo>
                  <a:lnTo>
                    <a:pt x="538" y="940"/>
                  </a:lnTo>
                  <a:lnTo>
                    <a:pt x="530" y="940"/>
                  </a:lnTo>
                  <a:lnTo>
                    <a:pt x="528" y="938"/>
                  </a:lnTo>
                  <a:lnTo>
                    <a:pt x="522" y="938"/>
                  </a:lnTo>
                  <a:lnTo>
                    <a:pt x="520" y="936"/>
                  </a:lnTo>
                  <a:lnTo>
                    <a:pt x="518" y="934"/>
                  </a:lnTo>
                  <a:lnTo>
                    <a:pt x="518" y="932"/>
                  </a:lnTo>
                  <a:lnTo>
                    <a:pt x="516" y="932"/>
                  </a:lnTo>
                  <a:lnTo>
                    <a:pt x="512" y="930"/>
                  </a:lnTo>
                  <a:lnTo>
                    <a:pt x="506" y="928"/>
                  </a:lnTo>
                  <a:lnTo>
                    <a:pt x="504" y="928"/>
                  </a:lnTo>
                  <a:lnTo>
                    <a:pt x="504" y="930"/>
                  </a:lnTo>
                  <a:lnTo>
                    <a:pt x="504" y="932"/>
                  </a:lnTo>
                  <a:lnTo>
                    <a:pt x="506" y="934"/>
                  </a:lnTo>
                  <a:lnTo>
                    <a:pt x="508" y="936"/>
                  </a:lnTo>
                  <a:lnTo>
                    <a:pt x="506" y="942"/>
                  </a:lnTo>
                  <a:lnTo>
                    <a:pt x="506" y="944"/>
                  </a:lnTo>
                  <a:lnTo>
                    <a:pt x="504" y="948"/>
                  </a:lnTo>
                  <a:lnTo>
                    <a:pt x="504" y="952"/>
                  </a:lnTo>
                  <a:lnTo>
                    <a:pt x="506" y="954"/>
                  </a:lnTo>
                  <a:lnTo>
                    <a:pt x="508" y="954"/>
                  </a:lnTo>
                  <a:lnTo>
                    <a:pt x="510" y="954"/>
                  </a:lnTo>
                  <a:lnTo>
                    <a:pt x="512" y="954"/>
                  </a:lnTo>
                  <a:lnTo>
                    <a:pt x="516" y="958"/>
                  </a:lnTo>
                  <a:lnTo>
                    <a:pt x="518" y="960"/>
                  </a:lnTo>
                  <a:lnTo>
                    <a:pt x="516" y="962"/>
                  </a:lnTo>
                  <a:lnTo>
                    <a:pt x="514" y="960"/>
                  </a:lnTo>
                  <a:lnTo>
                    <a:pt x="512" y="958"/>
                  </a:lnTo>
                  <a:lnTo>
                    <a:pt x="510" y="956"/>
                  </a:lnTo>
                  <a:lnTo>
                    <a:pt x="508" y="956"/>
                  </a:lnTo>
                  <a:lnTo>
                    <a:pt x="506" y="958"/>
                  </a:lnTo>
                  <a:lnTo>
                    <a:pt x="512" y="964"/>
                  </a:lnTo>
                  <a:lnTo>
                    <a:pt x="516" y="968"/>
                  </a:lnTo>
                  <a:lnTo>
                    <a:pt x="514" y="974"/>
                  </a:lnTo>
                  <a:lnTo>
                    <a:pt x="512" y="978"/>
                  </a:lnTo>
                  <a:lnTo>
                    <a:pt x="512" y="980"/>
                  </a:lnTo>
                  <a:lnTo>
                    <a:pt x="512" y="982"/>
                  </a:lnTo>
                  <a:lnTo>
                    <a:pt x="512" y="986"/>
                  </a:lnTo>
                  <a:lnTo>
                    <a:pt x="510" y="986"/>
                  </a:lnTo>
                  <a:lnTo>
                    <a:pt x="504" y="986"/>
                  </a:lnTo>
                  <a:lnTo>
                    <a:pt x="504" y="988"/>
                  </a:lnTo>
                  <a:lnTo>
                    <a:pt x="502" y="994"/>
                  </a:lnTo>
                  <a:lnTo>
                    <a:pt x="500" y="1000"/>
                  </a:lnTo>
                  <a:lnTo>
                    <a:pt x="500" y="1004"/>
                  </a:lnTo>
                  <a:lnTo>
                    <a:pt x="498" y="1006"/>
                  </a:lnTo>
                  <a:lnTo>
                    <a:pt x="496" y="1006"/>
                  </a:lnTo>
                  <a:lnTo>
                    <a:pt x="494" y="1008"/>
                  </a:lnTo>
                  <a:lnTo>
                    <a:pt x="492" y="1010"/>
                  </a:lnTo>
                  <a:lnTo>
                    <a:pt x="494" y="1016"/>
                  </a:lnTo>
                  <a:lnTo>
                    <a:pt x="496" y="1018"/>
                  </a:lnTo>
                  <a:lnTo>
                    <a:pt x="500" y="1024"/>
                  </a:lnTo>
                  <a:lnTo>
                    <a:pt x="502" y="1024"/>
                  </a:lnTo>
                  <a:lnTo>
                    <a:pt x="502" y="1026"/>
                  </a:lnTo>
                  <a:lnTo>
                    <a:pt x="502" y="1028"/>
                  </a:lnTo>
                  <a:lnTo>
                    <a:pt x="500" y="1028"/>
                  </a:lnTo>
                  <a:lnTo>
                    <a:pt x="498" y="1026"/>
                  </a:lnTo>
                  <a:lnTo>
                    <a:pt x="498" y="1030"/>
                  </a:lnTo>
                  <a:lnTo>
                    <a:pt x="502" y="1028"/>
                  </a:lnTo>
                  <a:lnTo>
                    <a:pt x="504" y="1028"/>
                  </a:lnTo>
                  <a:lnTo>
                    <a:pt x="504" y="1030"/>
                  </a:lnTo>
                  <a:lnTo>
                    <a:pt x="500" y="1036"/>
                  </a:lnTo>
                  <a:lnTo>
                    <a:pt x="498" y="1040"/>
                  </a:lnTo>
                  <a:lnTo>
                    <a:pt x="494" y="1042"/>
                  </a:lnTo>
                  <a:lnTo>
                    <a:pt x="486" y="1046"/>
                  </a:lnTo>
                  <a:lnTo>
                    <a:pt x="478" y="1050"/>
                  </a:lnTo>
                  <a:lnTo>
                    <a:pt x="476" y="1050"/>
                  </a:lnTo>
                  <a:lnTo>
                    <a:pt x="468" y="1052"/>
                  </a:lnTo>
                  <a:lnTo>
                    <a:pt x="466" y="1054"/>
                  </a:lnTo>
                  <a:lnTo>
                    <a:pt x="464" y="1054"/>
                  </a:lnTo>
                  <a:lnTo>
                    <a:pt x="460" y="1056"/>
                  </a:lnTo>
                  <a:lnTo>
                    <a:pt x="450" y="1054"/>
                  </a:lnTo>
                  <a:lnTo>
                    <a:pt x="446" y="1054"/>
                  </a:lnTo>
                  <a:lnTo>
                    <a:pt x="442" y="1054"/>
                  </a:lnTo>
                  <a:lnTo>
                    <a:pt x="436" y="1054"/>
                  </a:lnTo>
                  <a:lnTo>
                    <a:pt x="434" y="1054"/>
                  </a:lnTo>
                  <a:lnTo>
                    <a:pt x="432" y="1054"/>
                  </a:lnTo>
                  <a:lnTo>
                    <a:pt x="430" y="1054"/>
                  </a:lnTo>
                  <a:lnTo>
                    <a:pt x="428" y="1052"/>
                  </a:lnTo>
                  <a:lnTo>
                    <a:pt x="426" y="1050"/>
                  </a:lnTo>
                  <a:lnTo>
                    <a:pt x="424" y="1048"/>
                  </a:lnTo>
                  <a:lnTo>
                    <a:pt x="422" y="1048"/>
                  </a:lnTo>
                  <a:lnTo>
                    <a:pt x="420" y="1046"/>
                  </a:lnTo>
                  <a:lnTo>
                    <a:pt x="416" y="1046"/>
                  </a:lnTo>
                  <a:lnTo>
                    <a:pt x="410" y="1042"/>
                  </a:lnTo>
                  <a:lnTo>
                    <a:pt x="402" y="1038"/>
                  </a:lnTo>
                  <a:lnTo>
                    <a:pt x="400" y="1038"/>
                  </a:lnTo>
                  <a:lnTo>
                    <a:pt x="398" y="1038"/>
                  </a:lnTo>
                  <a:lnTo>
                    <a:pt x="392" y="1034"/>
                  </a:lnTo>
                  <a:lnTo>
                    <a:pt x="390" y="1032"/>
                  </a:lnTo>
                  <a:lnTo>
                    <a:pt x="388" y="1028"/>
                  </a:lnTo>
                  <a:lnTo>
                    <a:pt x="384" y="1028"/>
                  </a:lnTo>
                  <a:lnTo>
                    <a:pt x="382" y="1028"/>
                  </a:lnTo>
                  <a:lnTo>
                    <a:pt x="380" y="1028"/>
                  </a:lnTo>
                  <a:lnTo>
                    <a:pt x="372" y="1034"/>
                  </a:lnTo>
                  <a:lnTo>
                    <a:pt x="370" y="1040"/>
                  </a:lnTo>
                  <a:lnTo>
                    <a:pt x="370" y="1042"/>
                  </a:lnTo>
                  <a:lnTo>
                    <a:pt x="370" y="1048"/>
                  </a:lnTo>
                  <a:lnTo>
                    <a:pt x="372" y="1056"/>
                  </a:lnTo>
                  <a:lnTo>
                    <a:pt x="374" y="1066"/>
                  </a:lnTo>
                  <a:lnTo>
                    <a:pt x="374" y="1068"/>
                  </a:lnTo>
                  <a:lnTo>
                    <a:pt x="374" y="1070"/>
                  </a:lnTo>
                  <a:lnTo>
                    <a:pt x="376" y="1070"/>
                  </a:lnTo>
                  <a:lnTo>
                    <a:pt x="376" y="1072"/>
                  </a:lnTo>
                  <a:lnTo>
                    <a:pt x="376" y="1074"/>
                  </a:lnTo>
                  <a:lnTo>
                    <a:pt x="374" y="1076"/>
                  </a:lnTo>
                  <a:lnTo>
                    <a:pt x="374" y="1078"/>
                  </a:lnTo>
                  <a:lnTo>
                    <a:pt x="374" y="1080"/>
                  </a:lnTo>
                  <a:lnTo>
                    <a:pt x="374" y="1082"/>
                  </a:lnTo>
                  <a:lnTo>
                    <a:pt x="374" y="1084"/>
                  </a:lnTo>
                  <a:lnTo>
                    <a:pt x="374" y="1088"/>
                  </a:lnTo>
                  <a:lnTo>
                    <a:pt x="374" y="1090"/>
                  </a:lnTo>
                  <a:lnTo>
                    <a:pt x="372" y="1094"/>
                  </a:lnTo>
                  <a:lnTo>
                    <a:pt x="372" y="1096"/>
                  </a:lnTo>
                  <a:lnTo>
                    <a:pt x="372" y="1098"/>
                  </a:lnTo>
                  <a:lnTo>
                    <a:pt x="374" y="1102"/>
                  </a:lnTo>
                  <a:lnTo>
                    <a:pt x="374" y="1104"/>
                  </a:lnTo>
                  <a:lnTo>
                    <a:pt x="376" y="1106"/>
                  </a:lnTo>
                  <a:lnTo>
                    <a:pt x="378" y="1108"/>
                  </a:lnTo>
                  <a:lnTo>
                    <a:pt x="384" y="1110"/>
                  </a:lnTo>
                  <a:lnTo>
                    <a:pt x="390" y="1112"/>
                  </a:lnTo>
                  <a:lnTo>
                    <a:pt x="392" y="1112"/>
                  </a:lnTo>
                  <a:lnTo>
                    <a:pt x="394" y="1112"/>
                  </a:lnTo>
                  <a:lnTo>
                    <a:pt x="396" y="1112"/>
                  </a:lnTo>
                  <a:lnTo>
                    <a:pt x="396" y="1114"/>
                  </a:lnTo>
                  <a:lnTo>
                    <a:pt x="394" y="1114"/>
                  </a:lnTo>
                  <a:lnTo>
                    <a:pt x="394" y="1116"/>
                  </a:lnTo>
                  <a:lnTo>
                    <a:pt x="392" y="1116"/>
                  </a:lnTo>
                  <a:lnTo>
                    <a:pt x="390" y="1120"/>
                  </a:lnTo>
                  <a:lnTo>
                    <a:pt x="390" y="1122"/>
                  </a:lnTo>
                  <a:lnTo>
                    <a:pt x="396" y="1122"/>
                  </a:lnTo>
                  <a:lnTo>
                    <a:pt x="410" y="1122"/>
                  </a:lnTo>
                  <a:lnTo>
                    <a:pt x="412" y="1122"/>
                  </a:lnTo>
                  <a:lnTo>
                    <a:pt x="414" y="1120"/>
                  </a:lnTo>
                  <a:lnTo>
                    <a:pt x="414" y="1116"/>
                  </a:lnTo>
                  <a:lnTo>
                    <a:pt x="414" y="1114"/>
                  </a:lnTo>
                  <a:lnTo>
                    <a:pt x="412" y="1114"/>
                  </a:lnTo>
                  <a:lnTo>
                    <a:pt x="412" y="1112"/>
                  </a:lnTo>
                  <a:lnTo>
                    <a:pt x="408" y="1112"/>
                  </a:lnTo>
                  <a:lnTo>
                    <a:pt x="406" y="1114"/>
                  </a:lnTo>
                  <a:lnTo>
                    <a:pt x="404" y="1112"/>
                  </a:lnTo>
                  <a:lnTo>
                    <a:pt x="402" y="1112"/>
                  </a:lnTo>
                  <a:lnTo>
                    <a:pt x="404" y="1112"/>
                  </a:lnTo>
                  <a:lnTo>
                    <a:pt x="410" y="1110"/>
                  </a:lnTo>
                  <a:lnTo>
                    <a:pt x="416" y="1108"/>
                  </a:lnTo>
                  <a:lnTo>
                    <a:pt x="422" y="1106"/>
                  </a:lnTo>
                  <a:lnTo>
                    <a:pt x="424" y="1104"/>
                  </a:lnTo>
                  <a:lnTo>
                    <a:pt x="428" y="1104"/>
                  </a:lnTo>
                  <a:lnTo>
                    <a:pt x="430" y="1104"/>
                  </a:lnTo>
                  <a:lnTo>
                    <a:pt x="430" y="1108"/>
                  </a:lnTo>
                  <a:lnTo>
                    <a:pt x="430" y="1110"/>
                  </a:lnTo>
                  <a:lnTo>
                    <a:pt x="432" y="1112"/>
                  </a:lnTo>
                  <a:lnTo>
                    <a:pt x="432" y="1114"/>
                  </a:lnTo>
                  <a:lnTo>
                    <a:pt x="434" y="1114"/>
                  </a:lnTo>
                  <a:lnTo>
                    <a:pt x="434" y="1116"/>
                  </a:lnTo>
                  <a:lnTo>
                    <a:pt x="434" y="1118"/>
                  </a:lnTo>
                  <a:lnTo>
                    <a:pt x="434" y="1134"/>
                  </a:lnTo>
                  <a:lnTo>
                    <a:pt x="430" y="1140"/>
                  </a:lnTo>
                  <a:lnTo>
                    <a:pt x="428" y="1144"/>
                  </a:lnTo>
                  <a:lnTo>
                    <a:pt x="426" y="1144"/>
                  </a:lnTo>
                  <a:lnTo>
                    <a:pt x="422" y="1146"/>
                  </a:lnTo>
                  <a:lnTo>
                    <a:pt x="412" y="1148"/>
                  </a:lnTo>
                  <a:lnTo>
                    <a:pt x="410" y="1148"/>
                  </a:lnTo>
                  <a:lnTo>
                    <a:pt x="408" y="1146"/>
                  </a:lnTo>
                  <a:lnTo>
                    <a:pt x="404" y="1140"/>
                  </a:lnTo>
                  <a:lnTo>
                    <a:pt x="404" y="1138"/>
                  </a:lnTo>
                  <a:lnTo>
                    <a:pt x="406" y="1136"/>
                  </a:lnTo>
                  <a:lnTo>
                    <a:pt x="406" y="1134"/>
                  </a:lnTo>
                  <a:lnTo>
                    <a:pt x="402" y="1128"/>
                  </a:lnTo>
                  <a:lnTo>
                    <a:pt x="398" y="1126"/>
                  </a:lnTo>
                  <a:lnTo>
                    <a:pt x="396" y="1126"/>
                  </a:lnTo>
                  <a:lnTo>
                    <a:pt x="394" y="1126"/>
                  </a:lnTo>
                  <a:lnTo>
                    <a:pt x="390" y="1126"/>
                  </a:lnTo>
                  <a:lnTo>
                    <a:pt x="384" y="1128"/>
                  </a:lnTo>
                  <a:lnTo>
                    <a:pt x="382" y="1130"/>
                  </a:lnTo>
                  <a:lnTo>
                    <a:pt x="380" y="1132"/>
                  </a:lnTo>
                  <a:lnTo>
                    <a:pt x="378" y="1132"/>
                  </a:lnTo>
                  <a:lnTo>
                    <a:pt x="376" y="1132"/>
                  </a:lnTo>
                  <a:lnTo>
                    <a:pt x="374" y="1132"/>
                  </a:lnTo>
                  <a:lnTo>
                    <a:pt x="374" y="1134"/>
                  </a:lnTo>
                  <a:lnTo>
                    <a:pt x="370" y="1138"/>
                  </a:lnTo>
                  <a:lnTo>
                    <a:pt x="372" y="1140"/>
                  </a:lnTo>
                  <a:lnTo>
                    <a:pt x="374" y="1140"/>
                  </a:lnTo>
                  <a:lnTo>
                    <a:pt x="380" y="1144"/>
                  </a:lnTo>
                  <a:lnTo>
                    <a:pt x="382" y="1146"/>
                  </a:lnTo>
                  <a:lnTo>
                    <a:pt x="384" y="1148"/>
                  </a:lnTo>
                  <a:lnTo>
                    <a:pt x="386" y="1148"/>
                  </a:lnTo>
                  <a:lnTo>
                    <a:pt x="388" y="1150"/>
                  </a:lnTo>
                  <a:lnTo>
                    <a:pt x="396" y="1152"/>
                  </a:lnTo>
                  <a:lnTo>
                    <a:pt x="398" y="1150"/>
                  </a:lnTo>
                  <a:lnTo>
                    <a:pt x="400" y="1150"/>
                  </a:lnTo>
                  <a:lnTo>
                    <a:pt x="400" y="1152"/>
                  </a:lnTo>
                  <a:lnTo>
                    <a:pt x="398" y="1154"/>
                  </a:lnTo>
                  <a:lnTo>
                    <a:pt x="396" y="1154"/>
                  </a:lnTo>
                  <a:lnTo>
                    <a:pt x="390" y="1158"/>
                  </a:lnTo>
                  <a:lnTo>
                    <a:pt x="388" y="1158"/>
                  </a:lnTo>
                  <a:lnTo>
                    <a:pt x="382" y="1160"/>
                  </a:lnTo>
                  <a:lnTo>
                    <a:pt x="380" y="1160"/>
                  </a:lnTo>
                  <a:lnTo>
                    <a:pt x="378" y="1160"/>
                  </a:lnTo>
                  <a:lnTo>
                    <a:pt x="376" y="1162"/>
                  </a:lnTo>
                  <a:lnTo>
                    <a:pt x="372" y="1164"/>
                  </a:lnTo>
                  <a:lnTo>
                    <a:pt x="368" y="1168"/>
                  </a:lnTo>
                  <a:lnTo>
                    <a:pt x="368" y="1170"/>
                  </a:lnTo>
                  <a:lnTo>
                    <a:pt x="362" y="1176"/>
                  </a:lnTo>
                  <a:lnTo>
                    <a:pt x="356" y="1182"/>
                  </a:lnTo>
                  <a:lnTo>
                    <a:pt x="356" y="1184"/>
                  </a:lnTo>
                  <a:lnTo>
                    <a:pt x="354" y="1188"/>
                  </a:lnTo>
                  <a:lnTo>
                    <a:pt x="354" y="1190"/>
                  </a:lnTo>
                  <a:lnTo>
                    <a:pt x="354" y="1196"/>
                  </a:lnTo>
                  <a:lnTo>
                    <a:pt x="354" y="1198"/>
                  </a:lnTo>
                  <a:lnTo>
                    <a:pt x="356" y="1198"/>
                  </a:lnTo>
                  <a:lnTo>
                    <a:pt x="356" y="1200"/>
                  </a:lnTo>
                  <a:lnTo>
                    <a:pt x="356" y="1204"/>
                  </a:lnTo>
                  <a:lnTo>
                    <a:pt x="358" y="1204"/>
                  </a:lnTo>
                  <a:lnTo>
                    <a:pt x="356" y="1212"/>
                  </a:lnTo>
                  <a:lnTo>
                    <a:pt x="354" y="1212"/>
                  </a:lnTo>
                  <a:lnTo>
                    <a:pt x="352" y="1216"/>
                  </a:lnTo>
                  <a:lnTo>
                    <a:pt x="354" y="1222"/>
                  </a:lnTo>
                  <a:lnTo>
                    <a:pt x="352" y="1228"/>
                  </a:lnTo>
                  <a:lnTo>
                    <a:pt x="350" y="1228"/>
                  </a:lnTo>
                  <a:lnTo>
                    <a:pt x="348" y="1234"/>
                  </a:lnTo>
                  <a:lnTo>
                    <a:pt x="338" y="1238"/>
                  </a:lnTo>
                  <a:lnTo>
                    <a:pt x="338" y="1240"/>
                  </a:lnTo>
                  <a:lnTo>
                    <a:pt x="336" y="1240"/>
                  </a:lnTo>
                  <a:lnTo>
                    <a:pt x="334" y="1244"/>
                  </a:lnTo>
                  <a:lnTo>
                    <a:pt x="332" y="1246"/>
                  </a:lnTo>
                  <a:lnTo>
                    <a:pt x="332" y="1248"/>
                  </a:lnTo>
                  <a:lnTo>
                    <a:pt x="332" y="1250"/>
                  </a:lnTo>
                  <a:lnTo>
                    <a:pt x="334" y="1250"/>
                  </a:lnTo>
                  <a:lnTo>
                    <a:pt x="336" y="1250"/>
                  </a:lnTo>
                  <a:lnTo>
                    <a:pt x="336" y="1252"/>
                  </a:lnTo>
                  <a:lnTo>
                    <a:pt x="340" y="1254"/>
                  </a:lnTo>
                  <a:lnTo>
                    <a:pt x="336" y="1260"/>
                  </a:lnTo>
                  <a:lnTo>
                    <a:pt x="334" y="1262"/>
                  </a:lnTo>
                  <a:lnTo>
                    <a:pt x="332" y="1260"/>
                  </a:lnTo>
                  <a:lnTo>
                    <a:pt x="330" y="1260"/>
                  </a:lnTo>
                  <a:lnTo>
                    <a:pt x="326" y="1258"/>
                  </a:lnTo>
                  <a:lnTo>
                    <a:pt x="316" y="1256"/>
                  </a:lnTo>
                  <a:lnTo>
                    <a:pt x="312" y="1256"/>
                  </a:lnTo>
                  <a:lnTo>
                    <a:pt x="304" y="1260"/>
                  </a:lnTo>
                  <a:lnTo>
                    <a:pt x="298" y="1262"/>
                  </a:lnTo>
                  <a:lnTo>
                    <a:pt x="298" y="1264"/>
                  </a:lnTo>
                  <a:lnTo>
                    <a:pt x="296" y="1266"/>
                  </a:lnTo>
                  <a:lnTo>
                    <a:pt x="290" y="1268"/>
                  </a:lnTo>
                  <a:lnTo>
                    <a:pt x="284" y="1268"/>
                  </a:lnTo>
                  <a:lnTo>
                    <a:pt x="282" y="1268"/>
                  </a:lnTo>
                  <a:lnTo>
                    <a:pt x="280" y="1272"/>
                  </a:lnTo>
                  <a:lnTo>
                    <a:pt x="278" y="1272"/>
                  </a:lnTo>
                  <a:lnTo>
                    <a:pt x="274" y="1276"/>
                  </a:lnTo>
                  <a:lnTo>
                    <a:pt x="272" y="1280"/>
                  </a:lnTo>
                  <a:lnTo>
                    <a:pt x="268" y="1286"/>
                  </a:lnTo>
                  <a:lnTo>
                    <a:pt x="264" y="1288"/>
                  </a:lnTo>
                  <a:lnTo>
                    <a:pt x="264" y="1290"/>
                  </a:lnTo>
                  <a:lnTo>
                    <a:pt x="262" y="1290"/>
                  </a:lnTo>
                  <a:lnTo>
                    <a:pt x="262" y="1292"/>
                  </a:lnTo>
                  <a:lnTo>
                    <a:pt x="260" y="1300"/>
                  </a:lnTo>
                  <a:lnTo>
                    <a:pt x="258" y="1300"/>
                  </a:lnTo>
                  <a:lnTo>
                    <a:pt x="252" y="1306"/>
                  </a:lnTo>
                  <a:lnTo>
                    <a:pt x="250" y="1310"/>
                  </a:lnTo>
                  <a:lnTo>
                    <a:pt x="248" y="1316"/>
                  </a:lnTo>
                  <a:lnTo>
                    <a:pt x="248" y="1318"/>
                  </a:lnTo>
                  <a:lnTo>
                    <a:pt x="248" y="1320"/>
                  </a:lnTo>
                  <a:lnTo>
                    <a:pt x="248" y="1322"/>
                  </a:lnTo>
                  <a:lnTo>
                    <a:pt x="248" y="1328"/>
                  </a:lnTo>
                  <a:lnTo>
                    <a:pt x="250" y="1328"/>
                  </a:lnTo>
                  <a:lnTo>
                    <a:pt x="250" y="1334"/>
                  </a:lnTo>
                  <a:lnTo>
                    <a:pt x="252" y="1336"/>
                  </a:lnTo>
                  <a:lnTo>
                    <a:pt x="254" y="1340"/>
                  </a:lnTo>
                  <a:lnTo>
                    <a:pt x="256" y="1342"/>
                  </a:lnTo>
                  <a:lnTo>
                    <a:pt x="258" y="1344"/>
                  </a:lnTo>
                  <a:lnTo>
                    <a:pt x="264" y="1350"/>
                  </a:lnTo>
                  <a:lnTo>
                    <a:pt x="268" y="1352"/>
                  </a:lnTo>
                  <a:lnTo>
                    <a:pt x="274" y="1358"/>
                  </a:lnTo>
                  <a:lnTo>
                    <a:pt x="280" y="1366"/>
                  </a:lnTo>
                  <a:lnTo>
                    <a:pt x="282" y="1368"/>
                  </a:lnTo>
                  <a:lnTo>
                    <a:pt x="284" y="1368"/>
                  </a:lnTo>
                  <a:lnTo>
                    <a:pt x="286" y="1370"/>
                  </a:lnTo>
                  <a:lnTo>
                    <a:pt x="288" y="1368"/>
                  </a:lnTo>
                  <a:lnTo>
                    <a:pt x="292" y="1368"/>
                  </a:lnTo>
                  <a:lnTo>
                    <a:pt x="298" y="1370"/>
                  </a:lnTo>
                  <a:lnTo>
                    <a:pt x="298" y="1372"/>
                  </a:lnTo>
                  <a:lnTo>
                    <a:pt x="304" y="1372"/>
                  </a:lnTo>
                  <a:lnTo>
                    <a:pt x="308" y="1372"/>
                  </a:lnTo>
                  <a:lnTo>
                    <a:pt x="310" y="1372"/>
                  </a:lnTo>
                  <a:lnTo>
                    <a:pt x="312" y="1370"/>
                  </a:lnTo>
                  <a:lnTo>
                    <a:pt x="314" y="1370"/>
                  </a:lnTo>
                  <a:lnTo>
                    <a:pt x="318" y="1374"/>
                  </a:lnTo>
                  <a:lnTo>
                    <a:pt x="320" y="1378"/>
                  </a:lnTo>
                  <a:lnTo>
                    <a:pt x="322" y="1386"/>
                  </a:lnTo>
                  <a:lnTo>
                    <a:pt x="322" y="1388"/>
                  </a:lnTo>
                  <a:lnTo>
                    <a:pt x="322" y="1392"/>
                  </a:lnTo>
                  <a:lnTo>
                    <a:pt x="320" y="1396"/>
                  </a:lnTo>
                  <a:lnTo>
                    <a:pt x="320" y="1400"/>
                  </a:lnTo>
                  <a:lnTo>
                    <a:pt x="316" y="1408"/>
                  </a:lnTo>
                  <a:lnTo>
                    <a:pt x="314" y="1408"/>
                  </a:lnTo>
                  <a:lnTo>
                    <a:pt x="312" y="1410"/>
                  </a:lnTo>
                  <a:lnTo>
                    <a:pt x="312" y="1408"/>
                  </a:lnTo>
                  <a:lnTo>
                    <a:pt x="310" y="1408"/>
                  </a:lnTo>
                  <a:lnTo>
                    <a:pt x="308" y="1408"/>
                  </a:lnTo>
                  <a:lnTo>
                    <a:pt x="308" y="1410"/>
                  </a:lnTo>
                  <a:lnTo>
                    <a:pt x="306" y="1410"/>
                  </a:lnTo>
                  <a:lnTo>
                    <a:pt x="304" y="1412"/>
                  </a:lnTo>
                  <a:lnTo>
                    <a:pt x="302" y="1412"/>
                  </a:lnTo>
                  <a:lnTo>
                    <a:pt x="300" y="1412"/>
                  </a:lnTo>
                  <a:lnTo>
                    <a:pt x="302" y="1412"/>
                  </a:lnTo>
                  <a:lnTo>
                    <a:pt x="304" y="1412"/>
                  </a:lnTo>
                  <a:lnTo>
                    <a:pt x="306" y="1412"/>
                  </a:lnTo>
                  <a:lnTo>
                    <a:pt x="310" y="1410"/>
                  </a:lnTo>
                  <a:lnTo>
                    <a:pt x="312" y="1410"/>
                  </a:lnTo>
                  <a:lnTo>
                    <a:pt x="314" y="1412"/>
                  </a:lnTo>
                  <a:lnTo>
                    <a:pt x="318" y="1418"/>
                  </a:lnTo>
                  <a:lnTo>
                    <a:pt x="318" y="1420"/>
                  </a:lnTo>
                  <a:lnTo>
                    <a:pt x="316" y="1420"/>
                  </a:lnTo>
                  <a:lnTo>
                    <a:pt x="314" y="1418"/>
                  </a:lnTo>
                  <a:lnTo>
                    <a:pt x="312" y="1418"/>
                  </a:lnTo>
                  <a:lnTo>
                    <a:pt x="310" y="1420"/>
                  </a:lnTo>
                  <a:lnTo>
                    <a:pt x="310" y="1424"/>
                  </a:lnTo>
                  <a:lnTo>
                    <a:pt x="310" y="1426"/>
                  </a:lnTo>
                  <a:lnTo>
                    <a:pt x="306" y="1426"/>
                  </a:lnTo>
                  <a:lnTo>
                    <a:pt x="296" y="1434"/>
                  </a:lnTo>
                  <a:lnTo>
                    <a:pt x="294" y="1436"/>
                  </a:lnTo>
                  <a:lnTo>
                    <a:pt x="290" y="1440"/>
                  </a:lnTo>
                  <a:lnTo>
                    <a:pt x="288" y="1442"/>
                  </a:lnTo>
                  <a:lnTo>
                    <a:pt x="284" y="1442"/>
                  </a:lnTo>
                  <a:lnTo>
                    <a:pt x="282" y="1444"/>
                  </a:lnTo>
                  <a:lnTo>
                    <a:pt x="280" y="1444"/>
                  </a:lnTo>
                  <a:lnTo>
                    <a:pt x="280" y="1446"/>
                  </a:lnTo>
                  <a:lnTo>
                    <a:pt x="276" y="1448"/>
                  </a:lnTo>
                  <a:lnTo>
                    <a:pt x="274" y="1450"/>
                  </a:lnTo>
                  <a:lnTo>
                    <a:pt x="270" y="1452"/>
                  </a:lnTo>
                  <a:lnTo>
                    <a:pt x="268" y="1452"/>
                  </a:lnTo>
                  <a:lnTo>
                    <a:pt x="264" y="1454"/>
                  </a:lnTo>
                  <a:lnTo>
                    <a:pt x="262" y="1454"/>
                  </a:lnTo>
                  <a:lnTo>
                    <a:pt x="262" y="1456"/>
                  </a:lnTo>
                  <a:lnTo>
                    <a:pt x="258" y="1462"/>
                  </a:lnTo>
                  <a:lnTo>
                    <a:pt x="256" y="1464"/>
                  </a:lnTo>
                  <a:lnTo>
                    <a:pt x="254" y="1466"/>
                  </a:lnTo>
                  <a:lnTo>
                    <a:pt x="252" y="1466"/>
                  </a:lnTo>
                  <a:lnTo>
                    <a:pt x="248" y="1468"/>
                  </a:lnTo>
                  <a:lnTo>
                    <a:pt x="246" y="1472"/>
                  </a:lnTo>
                  <a:lnTo>
                    <a:pt x="244" y="1472"/>
                  </a:lnTo>
                  <a:lnTo>
                    <a:pt x="242" y="1474"/>
                  </a:lnTo>
                  <a:lnTo>
                    <a:pt x="242" y="1476"/>
                  </a:lnTo>
                  <a:lnTo>
                    <a:pt x="238" y="1480"/>
                  </a:lnTo>
                  <a:lnTo>
                    <a:pt x="240" y="1482"/>
                  </a:lnTo>
                  <a:lnTo>
                    <a:pt x="240" y="1484"/>
                  </a:lnTo>
                  <a:lnTo>
                    <a:pt x="236" y="1486"/>
                  </a:lnTo>
                  <a:lnTo>
                    <a:pt x="234" y="1488"/>
                  </a:lnTo>
                  <a:lnTo>
                    <a:pt x="232" y="1490"/>
                  </a:lnTo>
                  <a:lnTo>
                    <a:pt x="230" y="1494"/>
                  </a:lnTo>
                  <a:lnTo>
                    <a:pt x="234" y="1494"/>
                  </a:lnTo>
                  <a:lnTo>
                    <a:pt x="236" y="1492"/>
                  </a:lnTo>
                  <a:lnTo>
                    <a:pt x="236" y="1490"/>
                  </a:lnTo>
                  <a:lnTo>
                    <a:pt x="238" y="1488"/>
                  </a:lnTo>
                  <a:lnTo>
                    <a:pt x="240" y="1486"/>
                  </a:lnTo>
                  <a:lnTo>
                    <a:pt x="240" y="1488"/>
                  </a:lnTo>
                  <a:lnTo>
                    <a:pt x="238" y="1496"/>
                  </a:lnTo>
                  <a:lnTo>
                    <a:pt x="236" y="1502"/>
                  </a:lnTo>
                  <a:lnTo>
                    <a:pt x="234" y="1508"/>
                  </a:lnTo>
                  <a:lnTo>
                    <a:pt x="234" y="1512"/>
                  </a:lnTo>
                  <a:lnTo>
                    <a:pt x="232" y="1514"/>
                  </a:lnTo>
                  <a:lnTo>
                    <a:pt x="232" y="1516"/>
                  </a:lnTo>
                  <a:lnTo>
                    <a:pt x="232" y="1518"/>
                  </a:lnTo>
                  <a:lnTo>
                    <a:pt x="232" y="1520"/>
                  </a:lnTo>
                  <a:lnTo>
                    <a:pt x="230" y="1522"/>
                  </a:lnTo>
                  <a:lnTo>
                    <a:pt x="228" y="1526"/>
                  </a:lnTo>
                  <a:lnTo>
                    <a:pt x="226" y="1526"/>
                  </a:lnTo>
                  <a:lnTo>
                    <a:pt x="226" y="1528"/>
                  </a:lnTo>
                  <a:lnTo>
                    <a:pt x="224" y="1528"/>
                  </a:lnTo>
                  <a:lnTo>
                    <a:pt x="222" y="1530"/>
                  </a:lnTo>
                  <a:lnTo>
                    <a:pt x="220" y="1530"/>
                  </a:lnTo>
                  <a:lnTo>
                    <a:pt x="220" y="1532"/>
                  </a:lnTo>
                  <a:lnTo>
                    <a:pt x="214" y="1532"/>
                  </a:lnTo>
                  <a:lnTo>
                    <a:pt x="214" y="1534"/>
                  </a:lnTo>
                  <a:lnTo>
                    <a:pt x="212" y="1534"/>
                  </a:lnTo>
                  <a:lnTo>
                    <a:pt x="210" y="1534"/>
                  </a:lnTo>
                  <a:lnTo>
                    <a:pt x="208" y="1534"/>
                  </a:lnTo>
                  <a:lnTo>
                    <a:pt x="206" y="1530"/>
                  </a:lnTo>
                  <a:lnTo>
                    <a:pt x="202" y="1526"/>
                  </a:lnTo>
                  <a:lnTo>
                    <a:pt x="198" y="1522"/>
                  </a:lnTo>
                  <a:lnTo>
                    <a:pt x="198" y="1524"/>
                  </a:lnTo>
                  <a:lnTo>
                    <a:pt x="194" y="1524"/>
                  </a:lnTo>
                  <a:lnTo>
                    <a:pt x="192" y="1524"/>
                  </a:lnTo>
                  <a:lnTo>
                    <a:pt x="190" y="1524"/>
                  </a:lnTo>
                  <a:lnTo>
                    <a:pt x="188" y="1524"/>
                  </a:lnTo>
                  <a:lnTo>
                    <a:pt x="184" y="1526"/>
                  </a:lnTo>
                  <a:lnTo>
                    <a:pt x="182" y="1526"/>
                  </a:lnTo>
                  <a:lnTo>
                    <a:pt x="186" y="1526"/>
                  </a:lnTo>
                  <a:lnTo>
                    <a:pt x="188" y="1526"/>
                  </a:lnTo>
                  <a:lnTo>
                    <a:pt x="190" y="1526"/>
                  </a:lnTo>
                  <a:lnTo>
                    <a:pt x="196" y="1526"/>
                  </a:lnTo>
                  <a:lnTo>
                    <a:pt x="198" y="1526"/>
                  </a:lnTo>
                  <a:lnTo>
                    <a:pt x="200" y="1526"/>
                  </a:lnTo>
                  <a:lnTo>
                    <a:pt x="200" y="1528"/>
                  </a:lnTo>
                  <a:lnTo>
                    <a:pt x="202" y="1530"/>
                  </a:lnTo>
                  <a:lnTo>
                    <a:pt x="202" y="1532"/>
                  </a:lnTo>
                  <a:lnTo>
                    <a:pt x="204" y="1532"/>
                  </a:lnTo>
                  <a:lnTo>
                    <a:pt x="206" y="1534"/>
                  </a:lnTo>
                  <a:lnTo>
                    <a:pt x="208" y="1536"/>
                  </a:lnTo>
                  <a:lnTo>
                    <a:pt x="206" y="1536"/>
                  </a:lnTo>
                  <a:lnTo>
                    <a:pt x="204" y="1538"/>
                  </a:lnTo>
                  <a:lnTo>
                    <a:pt x="202" y="1538"/>
                  </a:lnTo>
                  <a:lnTo>
                    <a:pt x="200" y="1540"/>
                  </a:lnTo>
                  <a:lnTo>
                    <a:pt x="196" y="1540"/>
                  </a:lnTo>
                  <a:lnTo>
                    <a:pt x="194" y="1540"/>
                  </a:lnTo>
                  <a:lnTo>
                    <a:pt x="190" y="1542"/>
                  </a:lnTo>
                  <a:lnTo>
                    <a:pt x="188" y="1544"/>
                  </a:lnTo>
                  <a:lnTo>
                    <a:pt x="186" y="1544"/>
                  </a:lnTo>
                  <a:lnTo>
                    <a:pt x="184" y="1548"/>
                  </a:lnTo>
                  <a:lnTo>
                    <a:pt x="178" y="1554"/>
                  </a:lnTo>
                  <a:lnTo>
                    <a:pt x="178" y="1556"/>
                  </a:lnTo>
                  <a:lnTo>
                    <a:pt x="176" y="1558"/>
                  </a:lnTo>
                  <a:lnTo>
                    <a:pt x="174" y="1566"/>
                  </a:lnTo>
                  <a:lnTo>
                    <a:pt x="174" y="1570"/>
                  </a:lnTo>
                  <a:lnTo>
                    <a:pt x="174" y="1574"/>
                  </a:lnTo>
                  <a:lnTo>
                    <a:pt x="174" y="1576"/>
                  </a:lnTo>
                  <a:lnTo>
                    <a:pt x="170" y="1578"/>
                  </a:lnTo>
                  <a:lnTo>
                    <a:pt x="168" y="1580"/>
                  </a:lnTo>
                  <a:lnTo>
                    <a:pt x="166" y="1582"/>
                  </a:lnTo>
                  <a:lnTo>
                    <a:pt x="164" y="1584"/>
                  </a:lnTo>
                  <a:lnTo>
                    <a:pt x="166" y="1582"/>
                  </a:lnTo>
                  <a:lnTo>
                    <a:pt x="168" y="1580"/>
                  </a:lnTo>
                  <a:lnTo>
                    <a:pt x="172" y="1578"/>
                  </a:lnTo>
                  <a:lnTo>
                    <a:pt x="174" y="1580"/>
                  </a:lnTo>
                  <a:lnTo>
                    <a:pt x="174" y="1582"/>
                  </a:lnTo>
                  <a:lnTo>
                    <a:pt x="174" y="1584"/>
                  </a:lnTo>
                  <a:lnTo>
                    <a:pt x="174" y="1586"/>
                  </a:lnTo>
                  <a:lnTo>
                    <a:pt x="174" y="1588"/>
                  </a:lnTo>
                  <a:lnTo>
                    <a:pt x="174" y="1590"/>
                  </a:lnTo>
                  <a:lnTo>
                    <a:pt x="176" y="1598"/>
                  </a:lnTo>
                  <a:lnTo>
                    <a:pt x="178" y="1598"/>
                  </a:lnTo>
                  <a:lnTo>
                    <a:pt x="178" y="1604"/>
                  </a:lnTo>
                  <a:lnTo>
                    <a:pt x="180" y="1604"/>
                  </a:lnTo>
                  <a:lnTo>
                    <a:pt x="180" y="1606"/>
                  </a:lnTo>
                  <a:lnTo>
                    <a:pt x="180" y="1608"/>
                  </a:lnTo>
                  <a:lnTo>
                    <a:pt x="180" y="1610"/>
                  </a:lnTo>
                  <a:lnTo>
                    <a:pt x="180" y="1612"/>
                  </a:lnTo>
                  <a:lnTo>
                    <a:pt x="178" y="1612"/>
                  </a:lnTo>
                  <a:lnTo>
                    <a:pt x="176" y="1612"/>
                  </a:lnTo>
                  <a:lnTo>
                    <a:pt x="174" y="1614"/>
                  </a:lnTo>
                  <a:lnTo>
                    <a:pt x="172" y="1614"/>
                  </a:lnTo>
                  <a:lnTo>
                    <a:pt x="172" y="1612"/>
                  </a:lnTo>
                  <a:lnTo>
                    <a:pt x="168" y="1610"/>
                  </a:lnTo>
                  <a:lnTo>
                    <a:pt x="164" y="1610"/>
                  </a:lnTo>
                  <a:lnTo>
                    <a:pt x="160" y="1612"/>
                  </a:lnTo>
                  <a:lnTo>
                    <a:pt x="154" y="1614"/>
                  </a:lnTo>
                  <a:lnTo>
                    <a:pt x="158" y="1614"/>
                  </a:lnTo>
                  <a:lnTo>
                    <a:pt x="160" y="1614"/>
                  </a:lnTo>
                  <a:lnTo>
                    <a:pt x="164" y="1612"/>
                  </a:lnTo>
                  <a:lnTo>
                    <a:pt x="166" y="1612"/>
                  </a:lnTo>
                  <a:lnTo>
                    <a:pt x="170" y="1614"/>
                  </a:lnTo>
                  <a:lnTo>
                    <a:pt x="172" y="1614"/>
                  </a:lnTo>
                  <a:lnTo>
                    <a:pt x="178" y="1614"/>
                  </a:lnTo>
                  <a:lnTo>
                    <a:pt x="182" y="1618"/>
                  </a:lnTo>
                  <a:lnTo>
                    <a:pt x="184" y="1622"/>
                  </a:lnTo>
                  <a:lnTo>
                    <a:pt x="186" y="1628"/>
                  </a:lnTo>
                  <a:lnTo>
                    <a:pt x="186" y="1630"/>
                  </a:lnTo>
                  <a:lnTo>
                    <a:pt x="188" y="1632"/>
                  </a:lnTo>
                  <a:lnTo>
                    <a:pt x="190" y="1636"/>
                  </a:lnTo>
                  <a:lnTo>
                    <a:pt x="190" y="1638"/>
                  </a:lnTo>
                  <a:lnTo>
                    <a:pt x="192" y="1640"/>
                  </a:lnTo>
                  <a:lnTo>
                    <a:pt x="194" y="1642"/>
                  </a:lnTo>
                  <a:lnTo>
                    <a:pt x="196" y="1644"/>
                  </a:lnTo>
                  <a:lnTo>
                    <a:pt x="198" y="1648"/>
                  </a:lnTo>
                  <a:lnTo>
                    <a:pt x="200" y="1650"/>
                  </a:lnTo>
                  <a:lnTo>
                    <a:pt x="200" y="1652"/>
                  </a:lnTo>
                  <a:lnTo>
                    <a:pt x="200" y="1654"/>
                  </a:lnTo>
                  <a:lnTo>
                    <a:pt x="198" y="1656"/>
                  </a:lnTo>
                  <a:lnTo>
                    <a:pt x="198" y="1652"/>
                  </a:lnTo>
                  <a:lnTo>
                    <a:pt x="192" y="1652"/>
                  </a:lnTo>
                  <a:lnTo>
                    <a:pt x="190" y="1650"/>
                  </a:lnTo>
                  <a:lnTo>
                    <a:pt x="188" y="1650"/>
                  </a:lnTo>
                  <a:lnTo>
                    <a:pt x="184" y="1650"/>
                  </a:lnTo>
                  <a:lnTo>
                    <a:pt x="182" y="1648"/>
                  </a:lnTo>
                  <a:lnTo>
                    <a:pt x="180" y="1648"/>
                  </a:lnTo>
                  <a:lnTo>
                    <a:pt x="178" y="1646"/>
                  </a:lnTo>
                  <a:lnTo>
                    <a:pt x="176" y="1646"/>
                  </a:lnTo>
                  <a:lnTo>
                    <a:pt x="168" y="1642"/>
                  </a:lnTo>
                  <a:lnTo>
                    <a:pt x="166" y="1642"/>
                  </a:lnTo>
                  <a:lnTo>
                    <a:pt x="160" y="1642"/>
                  </a:lnTo>
                  <a:lnTo>
                    <a:pt x="148" y="1638"/>
                  </a:lnTo>
                  <a:lnTo>
                    <a:pt x="144" y="1636"/>
                  </a:lnTo>
                  <a:lnTo>
                    <a:pt x="142" y="1634"/>
                  </a:lnTo>
                  <a:lnTo>
                    <a:pt x="140" y="1634"/>
                  </a:lnTo>
                  <a:lnTo>
                    <a:pt x="136" y="1634"/>
                  </a:lnTo>
                  <a:lnTo>
                    <a:pt x="122" y="1634"/>
                  </a:lnTo>
                  <a:lnTo>
                    <a:pt x="114" y="1634"/>
                  </a:lnTo>
                  <a:lnTo>
                    <a:pt x="92" y="1632"/>
                  </a:lnTo>
                  <a:lnTo>
                    <a:pt x="74" y="1632"/>
                  </a:lnTo>
                  <a:lnTo>
                    <a:pt x="66" y="1632"/>
                  </a:lnTo>
                  <a:lnTo>
                    <a:pt x="64" y="1628"/>
                  </a:lnTo>
                  <a:lnTo>
                    <a:pt x="64" y="1626"/>
                  </a:lnTo>
                  <a:lnTo>
                    <a:pt x="60" y="1620"/>
                  </a:lnTo>
                  <a:lnTo>
                    <a:pt x="58" y="1618"/>
                  </a:lnTo>
                  <a:lnTo>
                    <a:pt x="56" y="1618"/>
                  </a:lnTo>
                  <a:lnTo>
                    <a:pt x="54" y="1618"/>
                  </a:lnTo>
                  <a:lnTo>
                    <a:pt x="52" y="1618"/>
                  </a:lnTo>
                  <a:lnTo>
                    <a:pt x="52" y="1616"/>
                  </a:lnTo>
                  <a:lnTo>
                    <a:pt x="48" y="1608"/>
                  </a:lnTo>
                  <a:lnTo>
                    <a:pt x="48" y="1606"/>
                  </a:lnTo>
                  <a:lnTo>
                    <a:pt x="50" y="1606"/>
                  </a:lnTo>
                  <a:lnTo>
                    <a:pt x="50" y="1600"/>
                  </a:lnTo>
                  <a:lnTo>
                    <a:pt x="50" y="1598"/>
                  </a:lnTo>
                  <a:lnTo>
                    <a:pt x="50" y="1596"/>
                  </a:lnTo>
                  <a:lnTo>
                    <a:pt x="52" y="1594"/>
                  </a:lnTo>
                  <a:lnTo>
                    <a:pt x="54" y="1592"/>
                  </a:lnTo>
                  <a:lnTo>
                    <a:pt x="52" y="1590"/>
                  </a:lnTo>
                  <a:lnTo>
                    <a:pt x="50" y="1590"/>
                  </a:lnTo>
                  <a:lnTo>
                    <a:pt x="48" y="1588"/>
                  </a:lnTo>
                  <a:lnTo>
                    <a:pt x="48" y="1584"/>
                  </a:lnTo>
                  <a:lnTo>
                    <a:pt x="50" y="1580"/>
                  </a:lnTo>
                  <a:lnTo>
                    <a:pt x="52" y="1580"/>
                  </a:lnTo>
                  <a:lnTo>
                    <a:pt x="54" y="1572"/>
                  </a:lnTo>
                  <a:lnTo>
                    <a:pt x="54" y="1570"/>
                  </a:lnTo>
                  <a:lnTo>
                    <a:pt x="52" y="1568"/>
                  </a:lnTo>
                  <a:lnTo>
                    <a:pt x="50" y="1566"/>
                  </a:lnTo>
                  <a:lnTo>
                    <a:pt x="50" y="1564"/>
                  </a:lnTo>
                  <a:lnTo>
                    <a:pt x="52" y="1562"/>
                  </a:lnTo>
                  <a:lnTo>
                    <a:pt x="52" y="1560"/>
                  </a:lnTo>
                  <a:lnTo>
                    <a:pt x="48" y="1558"/>
                  </a:lnTo>
                  <a:lnTo>
                    <a:pt x="44" y="1558"/>
                  </a:lnTo>
                  <a:lnTo>
                    <a:pt x="42" y="1558"/>
                  </a:lnTo>
                  <a:lnTo>
                    <a:pt x="40" y="1560"/>
                  </a:lnTo>
                  <a:lnTo>
                    <a:pt x="38" y="1560"/>
                  </a:lnTo>
                  <a:lnTo>
                    <a:pt x="36" y="1560"/>
                  </a:lnTo>
                  <a:lnTo>
                    <a:pt x="34" y="1558"/>
                  </a:lnTo>
                  <a:lnTo>
                    <a:pt x="28" y="1560"/>
                  </a:lnTo>
                  <a:lnTo>
                    <a:pt x="26" y="1562"/>
                  </a:lnTo>
                  <a:lnTo>
                    <a:pt x="24" y="1564"/>
                  </a:lnTo>
                  <a:lnTo>
                    <a:pt x="24" y="1566"/>
                  </a:lnTo>
                  <a:lnTo>
                    <a:pt x="22" y="1566"/>
                  </a:lnTo>
                  <a:lnTo>
                    <a:pt x="20" y="1566"/>
                  </a:lnTo>
                  <a:lnTo>
                    <a:pt x="18" y="1566"/>
                  </a:lnTo>
                  <a:lnTo>
                    <a:pt x="18" y="1564"/>
                  </a:lnTo>
                  <a:lnTo>
                    <a:pt x="14" y="1558"/>
                  </a:lnTo>
                  <a:lnTo>
                    <a:pt x="14" y="1552"/>
                  </a:lnTo>
                  <a:lnTo>
                    <a:pt x="14" y="1544"/>
                  </a:lnTo>
                  <a:lnTo>
                    <a:pt x="12" y="1542"/>
                  </a:lnTo>
                  <a:lnTo>
                    <a:pt x="12" y="1540"/>
                  </a:lnTo>
                  <a:lnTo>
                    <a:pt x="10" y="1538"/>
                  </a:lnTo>
                  <a:lnTo>
                    <a:pt x="6" y="1536"/>
                  </a:lnTo>
                  <a:lnTo>
                    <a:pt x="4" y="1534"/>
                  </a:lnTo>
                  <a:lnTo>
                    <a:pt x="2" y="1532"/>
                  </a:lnTo>
                  <a:lnTo>
                    <a:pt x="4" y="1530"/>
                  </a:lnTo>
                  <a:lnTo>
                    <a:pt x="4" y="1528"/>
                  </a:lnTo>
                  <a:lnTo>
                    <a:pt x="6" y="1526"/>
                  </a:lnTo>
                  <a:lnTo>
                    <a:pt x="6" y="1524"/>
                  </a:lnTo>
                  <a:lnTo>
                    <a:pt x="4" y="1524"/>
                  </a:lnTo>
                  <a:lnTo>
                    <a:pt x="4" y="1522"/>
                  </a:lnTo>
                  <a:lnTo>
                    <a:pt x="2" y="1522"/>
                  </a:lnTo>
                  <a:lnTo>
                    <a:pt x="2" y="1518"/>
                  </a:lnTo>
                  <a:lnTo>
                    <a:pt x="4" y="1516"/>
                  </a:lnTo>
                  <a:lnTo>
                    <a:pt x="6" y="1514"/>
                  </a:lnTo>
                  <a:lnTo>
                    <a:pt x="4" y="1504"/>
                  </a:lnTo>
                  <a:lnTo>
                    <a:pt x="2" y="1502"/>
                  </a:lnTo>
                  <a:lnTo>
                    <a:pt x="0" y="1500"/>
                  </a:lnTo>
                  <a:lnTo>
                    <a:pt x="2" y="1494"/>
                  </a:lnTo>
                  <a:lnTo>
                    <a:pt x="6" y="1488"/>
                  </a:lnTo>
                  <a:lnTo>
                    <a:pt x="16" y="1488"/>
                  </a:lnTo>
                  <a:lnTo>
                    <a:pt x="18" y="1486"/>
                  </a:lnTo>
                  <a:lnTo>
                    <a:pt x="20" y="1484"/>
                  </a:lnTo>
                  <a:lnTo>
                    <a:pt x="16" y="1484"/>
                  </a:lnTo>
                  <a:lnTo>
                    <a:pt x="20" y="1474"/>
                  </a:lnTo>
                  <a:lnTo>
                    <a:pt x="24" y="1470"/>
                  </a:lnTo>
                  <a:lnTo>
                    <a:pt x="24" y="1468"/>
                  </a:lnTo>
                  <a:lnTo>
                    <a:pt x="26" y="1468"/>
                  </a:lnTo>
                  <a:lnTo>
                    <a:pt x="28" y="1468"/>
                  </a:lnTo>
                  <a:lnTo>
                    <a:pt x="30" y="1468"/>
                  </a:lnTo>
                  <a:lnTo>
                    <a:pt x="32" y="1468"/>
                  </a:lnTo>
                  <a:lnTo>
                    <a:pt x="34" y="1466"/>
                  </a:lnTo>
                  <a:lnTo>
                    <a:pt x="36" y="1466"/>
                  </a:lnTo>
                  <a:lnTo>
                    <a:pt x="40" y="1462"/>
                  </a:lnTo>
                  <a:lnTo>
                    <a:pt x="42" y="1460"/>
                  </a:lnTo>
                  <a:lnTo>
                    <a:pt x="42" y="1458"/>
                  </a:lnTo>
                  <a:lnTo>
                    <a:pt x="42" y="1456"/>
                  </a:lnTo>
                  <a:lnTo>
                    <a:pt x="42" y="1454"/>
                  </a:lnTo>
                  <a:lnTo>
                    <a:pt x="42" y="1452"/>
                  </a:lnTo>
                  <a:lnTo>
                    <a:pt x="40" y="1448"/>
                  </a:lnTo>
                  <a:lnTo>
                    <a:pt x="40" y="1446"/>
                  </a:lnTo>
                  <a:lnTo>
                    <a:pt x="40" y="1444"/>
                  </a:lnTo>
                  <a:lnTo>
                    <a:pt x="40" y="1442"/>
                  </a:lnTo>
                  <a:lnTo>
                    <a:pt x="42" y="1440"/>
                  </a:lnTo>
                  <a:lnTo>
                    <a:pt x="44" y="1440"/>
                  </a:lnTo>
                  <a:lnTo>
                    <a:pt x="46" y="1438"/>
                  </a:lnTo>
                  <a:lnTo>
                    <a:pt x="52" y="1436"/>
                  </a:lnTo>
                  <a:lnTo>
                    <a:pt x="52" y="1428"/>
                  </a:lnTo>
                  <a:lnTo>
                    <a:pt x="50" y="1420"/>
                  </a:lnTo>
                  <a:lnTo>
                    <a:pt x="48" y="1416"/>
                  </a:lnTo>
                  <a:lnTo>
                    <a:pt x="46" y="1416"/>
                  </a:lnTo>
                  <a:lnTo>
                    <a:pt x="44" y="1416"/>
                  </a:lnTo>
                  <a:lnTo>
                    <a:pt x="44" y="1414"/>
                  </a:lnTo>
                  <a:lnTo>
                    <a:pt x="42" y="1414"/>
                  </a:lnTo>
                  <a:lnTo>
                    <a:pt x="42" y="1412"/>
                  </a:lnTo>
                  <a:lnTo>
                    <a:pt x="46" y="1404"/>
                  </a:lnTo>
                  <a:lnTo>
                    <a:pt x="46" y="1402"/>
                  </a:lnTo>
                  <a:lnTo>
                    <a:pt x="48" y="1400"/>
                  </a:lnTo>
                  <a:lnTo>
                    <a:pt x="48" y="1398"/>
                  </a:lnTo>
                  <a:lnTo>
                    <a:pt x="50" y="1396"/>
                  </a:lnTo>
                  <a:lnTo>
                    <a:pt x="50" y="1394"/>
                  </a:lnTo>
                  <a:lnTo>
                    <a:pt x="52" y="1390"/>
                  </a:lnTo>
                  <a:lnTo>
                    <a:pt x="50" y="1390"/>
                  </a:lnTo>
                  <a:lnTo>
                    <a:pt x="50" y="1388"/>
                  </a:lnTo>
                  <a:lnTo>
                    <a:pt x="50" y="1386"/>
                  </a:lnTo>
                  <a:lnTo>
                    <a:pt x="52" y="1386"/>
                  </a:lnTo>
                  <a:lnTo>
                    <a:pt x="54" y="1384"/>
                  </a:lnTo>
                  <a:lnTo>
                    <a:pt x="56" y="1386"/>
                  </a:lnTo>
                  <a:lnTo>
                    <a:pt x="58" y="1384"/>
                  </a:lnTo>
                  <a:lnTo>
                    <a:pt x="62" y="1382"/>
                  </a:lnTo>
                  <a:lnTo>
                    <a:pt x="64" y="1378"/>
                  </a:lnTo>
                  <a:lnTo>
                    <a:pt x="68" y="1374"/>
                  </a:lnTo>
                  <a:lnTo>
                    <a:pt x="70" y="1374"/>
                  </a:lnTo>
                  <a:lnTo>
                    <a:pt x="70" y="1372"/>
                  </a:lnTo>
                  <a:lnTo>
                    <a:pt x="70" y="1370"/>
                  </a:lnTo>
                  <a:lnTo>
                    <a:pt x="68" y="1370"/>
                  </a:lnTo>
                  <a:lnTo>
                    <a:pt x="64" y="1364"/>
                  </a:lnTo>
                  <a:lnTo>
                    <a:pt x="66" y="1352"/>
                  </a:lnTo>
                  <a:lnTo>
                    <a:pt x="68" y="1352"/>
                  </a:lnTo>
                  <a:lnTo>
                    <a:pt x="70" y="1352"/>
                  </a:lnTo>
                  <a:lnTo>
                    <a:pt x="72" y="1352"/>
                  </a:lnTo>
                  <a:lnTo>
                    <a:pt x="78" y="1346"/>
                  </a:lnTo>
                  <a:lnTo>
                    <a:pt x="78" y="1344"/>
                  </a:lnTo>
                  <a:lnTo>
                    <a:pt x="78" y="1338"/>
                  </a:lnTo>
                  <a:lnTo>
                    <a:pt x="78" y="1336"/>
                  </a:lnTo>
                  <a:lnTo>
                    <a:pt x="76" y="1332"/>
                  </a:lnTo>
                  <a:lnTo>
                    <a:pt x="76" y="1322"/>
                  </a:lnTo>
                  <a:lnTo>
                    <a:pt x="74" y="1320"/>
                  </a:lnTo>
                  <a:lnTo>
                    <a:pt x="72" y="1320"/>
                  </a:lnTo>
                  <a:lnTo>
                    <a:pt x="68" y="1316"/>
                  </a:lnTo>
                  <a:lnTo>
                    <a:pt x="70" y="1316"/>
                  </a:lnTo>
                  <a:lnTo>
                    <a:pt x="72" y="1316"/>
                  </a:lnTo>
                  <a:lnTo>
                    <a:pt x="74" y="1316"/>
                  </a:lnTo>
                  <a:lnTo>
                    <a:pt x="76" y="1314"/>
                  </a:lnTo>
                  <a:lnTo>
                    <a:pt x="76" y="1312"/>
                  </a:lnTo>
                  <a:lnTo>
                    <a:pt x="78" y="1310"/>
                  </a:lnTo>
                  <a:lnTo>
                    <a:pt x="80" y="1310"/>
                  </a:lnTo>
                  <a:lnTo>
                    <a:pt x="80" y="1308"/>
                  </a:lnTo>
                  <a:lnTo>
                    <a:pt x="80" y="1302"/>
                  </a:lnTo>
                  <a:lnTo>
                    <a:pt x="78" y="1300"/>
                  </a:lnTo>
                  <a:lnTo>
                    <a:pt x="76" y="1300"/>
                  </a:lnTo>
                  <a:lnTo>
                    <a:pt x="74" y="1294"/>
                  </a:lnTo>
                  <a:lnTo>
                    <a:pt x="74" y="1290"/>
                  </a:lnTo>
                  <a:lnTo>
                    <a:pt x="76" y="1284"/>
                  </a:lnTo>
                  <a:lnTo>
                    <a:pt x="78" y="1284"/>
                  </a:lnTo>
                  <a:lnTo>
                    <a:pt x="78" y="1282"/>
                  </a:lnTo>
                  <a:lnTo>
                    <a:pt x="80" y="1282"/>
                  </a:lnTo>
                  <a:lnTo>
                    <a:pt x="88" y="1280"/>
                  </a:lnTo>
                  <a:lnTo>
                    <a:pt x="94" y="1270"/>
                  </a:lnTo>
                  <a:lnTo>
                    <a:pt x="94" y="1266"/>
                  </a:lnTo>
                  <a:lnTo>
                    <a:pt x="86" y="1258"/>
                  </a:lnTo>
                  <a:lnTo>
                    <a:pt x="84" y="1254"/>
                  </a:lnTo>
                  <a:lnTo>
                    <a:pt x="82" y="1252"/>
                  </a:lnTo>
                  <a:lnTo>
                    <a:pt x="76" y="1250"/>
                  </a:lnTo>
                  <a:lnTo>
                    <a:pt x="74" y="1250"/>
                  </a:lnTo>
                  <a:lnTo>
                    <a:pt x="68" y="1250"/>
                  </a:lnTo>
                  <a:lnTo>
                    <a:pt x="62" y="1248"/>
                  </a:lnTo>
                  <a:lnTo>
                    <a:pt x="62" y="1244"/>
                  </a:lnTo>
                  <a:lnTo>
                    <a:pt x="62" y="1242"/>
                  </a:lnTo>
                  <a:lnTo>
                    <a:pt x="64" y="1242"/>
                  </a:lnTo>
                  <a:lnTo>
                    <a:pt x="66" y="1242"/>
                  </a:lnTo>
                  <a:lnTo>
                    <a:pt x="72" y="1244"/>
                  </a:lnTo>
                  <a:lnTo>
                    <a:pt x="74" y="1244"/>
                  </a:lnTo>
                  <a:lnTo>
                    <a:pt x="74" y="1242"/>
                  </a:lnTo>
                  <a:lnTo>
                    <a:pt x="78" y="1242"/>
                  </a:lnTo>
                  <a:lnTo>
                    <a:pt x="80" y="1242"/>
                  </a:lnTo>
                  <a:lnTo>
                    <a:pt x="82" y="1242"/>
                  </a:lnTo>
                  <a:lnTo>
                    <a:pt x="84" y="1242"/>
                  </a:lnTo>
                  <a:lnTo>
                    <a:pt x="86" y="1240"/>
                  </a:lnTo>
                  <a:lnTo>
                    <a:pt x="88" y="1240"/>
                  </a:lnTo>
                  <a:lnTo>
                    <a:pt x="88" y="1242"/>
                  </a:lnTo>
                  <a:lnTo>
                    <a:pt x="90" y="1244"/>
                  </a:lnTo>
                  <a:lnTo>
                    <a:pt x="92" y="1244"/>
                  </a:lnTo>
                  <a:lnTo>
                    <a:pt x="94" y="1244"/>
                  </a:lnTo>
                  <a:lnTo>
                    <a:pt x="96" y="1244"/>
                  </a:lnTo>
                  <a:lnTo>
                    <a:pt x="98" y="1240"/>
                  </a:lnTo>
                  <a:lnTo>
                    <a:pt x="98" y="1238"/>
                  </a:lnTo>
                  <a:lnTo>
                    <a:pt x="98" y="1236"/>
                  </a:lnTo>
                  <a:lnTo>
                    <a:pt x="100" y="1232"/>
                  </a:lnTo>
                  <a:lnTo>
                    <a:pt x="102" y="1232"/>
                  </a:lnTo>
                  <a:lnTo>
                    <a:pt x="102" y="1230"/>
                  </a:lnTo>
                  <a:lnTo>
                    <a:pt x="102" y="1228"/>
                  </a:lnTo>
                  <a:lnTo>
                    <a:pt x="100" y="1226"/>
                  </a:lnTo>
                  <a:lnTo>
                    <a:pt x="100" y="1224"/>
                  </a:lnTo>
                  <a:lnTo>
                    <a:pt x="90" y="1222"/>
                  </a:lnTo>
                  <a:lnTo>
                    <a:pt x="88" y="1222"/>
                  </a:lnTo>
                  <a:lnTo>
                    <a:pt x="84" y="1222"/>
                  </a:lnTo>
                  <a:lnTo>
                    <a:pt x="80" y="1222"/>
                  </a:lnTo>
                  <a:lnTo>
                    <a:pt x="74" y="1222"/>
                  </a:lnTo>
                  <a:lnTo>
                    <a:pt x="72" y="1222"/>
                  </a:lnTo>
                  <a:lnTo>
                    <a:pt x="72" y="1220"/>
                  </a:lnTo>
                  <a:lnTo>
                    <a:pt x="74" y="1218"/>
                  </a:lnTo>
                  <a:lnTo>
                    <a:pt x="74" y="1212"/>
                  </a:lnTo>
                  <a:lnTo>
                    <a:pt x="74" y="1210"/>
                  </a:lnTo>
                  <a:lnTo>
                    <a:pt x="74" y="1208"/>
                  </a:lnTo>
                  <a:lnTo>
                    <a:pt x="74" y="1206"/>
                  </a:lnTo>
                  <a:lnTo>
                    <a:pt x="76" y="1204"/>
                  </a:lnTo>
                  <a:lnTo>
                    <a:pt x="80" y="1198"/>
                  </a:lnTo>
                  <a:lnTo>
                    <a:pt x="80" y="1196"/>
                  </a:lnTo>
                  <a:lnTo>
                    <a:pt x="78" y="1192"/>
                  </a:lnTo>
                  <a:lnTo>
                    <a:pt x="76" y="1190"/>
                  </a:lnTo>
                  <a:lnTo>
                    <a:pt x="74" y="1188"/>
                  </a:lnTo>
                  <a:lnTo>
                    <a:pt x="74" y="1186"/>
                  </a:lnTo>
                  <a:lnTo>
                    <a:pt x="76" y="1186"/>
                  </a:lnTo>
                  <a:lnTo>
                    <a:pt x="78" y="1184"/>
                  </a:lnTo>
                  <a:lnTo>
                    <a:pt x="80" y="1182"/>
                  </a:lnTo>
                  <a:lnTo>
                    <a:pt x="78" y="1178"/>
                  </a:lnTo>
                  <a:lnTo>
                    <a:pt x="72" y="1172"/>
                  </a:lnTo>
                  <a:lnTo>
                    <a:pt x="68" y="1170"/>
                  </a:lnTo>
                  <a:lnTo>
                    <a:pt x="68" y="1168"/>
                  </a:lnTo>
                  <a:lnTo>
                    <a:pt x="70" y="1164"/>
                  </a:lnTo>
                  <a:lnTo>
                    <a:pt x="74" y="1162"/>
                  </a:lnTo>
                  <a:lnTo>
                    <a:pt x="76" y="1162"/>
                  </a:lnTo>
                  <a:lnTo>
                    <a:pt x="78" y="1162"/>
                  </a:lnTo>
                  <a:lnTo>
                    <a:pt x="78" y="1156"/>
                  </a:lnTo>
                  <a:lnTo>
                    <a:pt x="72" y="1154"/>
                  </a:lnTo>
                  <a:lnTo>
                    <a:pt x="68" y="1154"/>
                  </a:lnTo>
                  <a:lnTo>
                    <a:pt x="66" y="1154"/>
                  </a:lnTo>
                  <a:lnTo>
                    <a:pt x="62" y="1152"/>
                  </a:lnTo>
                  <a:lnTo>
                    <a:pt x="60" y="1148"/>
                  </a:lnTo>
                  <a:lnTo>
                    <a:pt x="60" y="1146"/>
                  </a:lnTo>
                  <a:lnTo>
                    <a:pt x="60" y="1144"/>
                  </a:lnTo>
                  <a:lnTo>
                    <a:pt x="60" y="1142"/>
                  </a:lnTo>
                  <a:lnTo>
                    <a:pt x="62" y="1140"/>
                  </a:lnTo>
                  <a:lnTo>
                    <a:pt x="62" y="1138"/>
                  </a:lnTo>
                  <a:lnTo>
                    <a:pt x="62" y="1134"/>
                  </a:lnTo>
                  <a:lnTo>
                    <a:pt x="62" y="1132"/>
                  </a:lnTo>
                  <a:lnTo>
                    <a:pt x="60" y="1128"/>
                  </a:lnTo>
                  <a:lnTo>
                    <a:pt x="60" y="1124"/>
                  </a:lnTo>
                  <a:lnTo>
                    <a:pt x="60" y="1122"/>
                  </a:lnTo>
                  <a:lnTo>
                    <a:pt x="62" y="1120"/>
                  </a:lnTo>
                  <a:lnTo>
                    <a:pt x="64" y="1112"/>
                  </a:lnTo>
                  <a:lnTo>
                    <a:pt x="62" y="1110"/>
                  </a:lnTo>
                  <a:lnTo>
                    <a:pt x="60" y="1108"/>
                  </a:lnTo>
                  <a:lnTo>
                    <a:pt x="64" y="1100"/>
                  </a:lnTo>
                  <a:lnTo>
                    <a:pt x="64" y="1098"/>
                  </a:lnTo>
                  <a:lnTo>
                    <a:pt x="66" y="1098"/>
                  </a:lnTo>
                  <a:lnTo>
                    <a:pt x="68" y="1098"/>
                  </a:lnTo>
                  <a:lnTo>
                    <a:pt x="68" y="1100"/>
                  </a:lnTo>
                  <a:lnTo>
                    <a:pt x="70" y="1102"/>
                  </a:lnTo>
                  <a:lnTo>
                    <a:pt x="76" y="1098"/>
                  </a:lnTo>
                  <a:lnTo>
                    <a:pt x="78" y="1098"/>
                  </a:lnTo>
                  <a:lnTo>
                    <a:pt x="78" y="1094"/>
                  </a:lnTo>
                  <a:lnTo>
                    <a:pt x="76" y="1092"/>
                  </a:lnTo>
                  <a:lnTo>
                    <a:pt x="76" y="1088"/>
                  </a:lnTo>
                  <a:lnTo>
                    <a:pt x="76" y="1086"/>
                  </a:lnTo>
                  <a:lnTo>
                    <a:pt x="76" y="1084"/>
                  </a:lnTo>
                  <a:lnTo>
                    <a:pt x="72" y="1080"/>
                  </a:lnTo>
                  <a:lnTo>
                    <a:pt x="70" y="1074"/>
                  </a:lnTo>
                  <a:lnTo>
                    <a:pt x="70" y="1072"/>
                  </a:lnTo>
                  <a:lnTo>
                    <a:pt x="70" y="1070"/>
                  </a:lnTo>
                  <a:lnTo>
                    <a:pt x="72" y="1068"/>
                  </a:lnTo>
                  <a:lnTo>
                    <a:pt x="72" y="1062"/>
                  </a:lnTo>
                  <a:lnTo>
                    <a:pt x="72" y="1060"/>
                  </a:lnTo>
                  <a:lnTo>
                    <a:pt x="70" y="1060"/>
                  </a:lnTo>
                  <a:lnTo>
                    <a:pt x="70" y="1058"/>
                  </a:lnTo>
                  <a:lnTo>
                    <a:pt x="72" y="1054"/>
                  </a:lnTo>
                  <a:lnTo>
                    <a:pt x="72" y="1052"/>
                  </a:lnTo>
                  <a:lnTo>
                    <a:pt x="72" y="1050"/>
                  </a:lnTo>
                  <a:lnTo>
                    <a:pt x="74" y="1042"/>
                  </a:lnTo>
                  <a:lnTo>
                    <a:pt x="72" y="1038"/>
                  </a:lnTo>
                  <a:lnTo>
                    <a:pt x="74" y="1036"/>
                  </a:lnTo>
                  <a:lnTo>
                    <a:pt x="72" y="1032"/>
                  </a:lnTo>
                  <a:lnTo>
                    <a:pt x="70" y="1026"/>
                  </a:lnTo>
                  <a:lnTo>
                    <a:pt x="68" y="1024"/>
                  </a:lnTo>
                  <a:lnTo>
                    <a:pt x="70" y="1022"/>
                  </a:lnTo>
                  <a:lnTo>
                    <a:pt x="70" y="1020"/>
                  </a:lnTo>
                  <a:lnTo>
                    <a:pt x="72" y="1020"/>
                  </a:lnTo>
                  <a:lnTo>
                    <a:pt x="72" y="1018"/>
                  </a:lnTo>
                  <a:lnTo>
                    <a:pt x="74" y="1016"/>
                  </a:lnTo>
                  <a:lnTo>
                    <a:pt x="74" y="1014"/>
                  </a:lnTo>
                  <a:lnTo>
                    <a:pt x="74" y="1012"/>
                  </a:lnTo>
                  <a:lnTo>
                    <a:pt x="76" y="1006"/>
                  </a:lnTo>
                  <a:lnTo>
                    <a:pt x="78" y="1006"/>
                  </a:lnTo>
                  <a:lnTo>
                    <a:pt x="80" y="1006"/>
                  </a:lnTo>
                  <a:lnTo>
                    <a:pt x="80" y="1002"/>
                  </a:lnTo>
                  <a:lnTo>
                    <a:pt x="80" y="1000"/>
                  </a:lnTo>
                  <a:lnTo>
                    <a:pt x="80" y="998"/>
                  </a:lnTo>
                  <a:lnTo>
                    <a:pt x="80" y="1000"/>
                  </a:lnTo>
                  <a:lnTo>
                    <a:pt x="76" y="996"/>
                  </a:lnTo>
                  <a:lnTo>
                    <a:pt x="74" y="994"/>
                  </a:lnTo>
                  <a:lnTo>
                    <a:pt x="76" y="990"/>
                  </a:lnTo>
                  <a:lnTo>
                    <a:pt x="78" y="988"/>
                  </a:lnTo>
                  <a:lnTo>
                    <a:pt x="80" y="986"/>
                  </a:lnTo>
                  <a:lnTo>
                    <a:pt x="82" y="982"/>
                  </a:lnTo>
                  <a:lnTo>
                    <a:pt x="80" y="976"/>
                  </a:lnTo>
                  <a:lnTo>
                    <a:pt x="80" y="970"/>
                  </a:lnTo>
                  <a:lnTo>
                    <a:pt x="80" y="964"/>
                  </a:lnTo>
                  <a:lnTo>
                    <a:pt x="80" y="960"/>
                  </a:lnTo>
                  <a:lnTo>
                    <a:pt x="82" y="962"/>
                  </a:lnTo>
                  <a:lnTo>
                    <a:pt x="84" y="964"/>
                  </a:lnTo>
                  <a:lnTo>
                    <a:pt x="88" y="964"/>
                  </a:lnTo>
                  <a:lnTo>
                    <a:pt x="90" y="962"/>
                  </a:lnTo>
                  <a:lnTo>
                    <a:pt x="90" y="960"/>
                  </a:lnTo>
                  <a:lnTo>
                    <a:pt x="92" y="952"/>
                  </a:lnTo>
                  <a:lnTo>
                    <a:pt x="94" y="948"/>
                  </a:lnTo>
                  <a:lnTo>
                    <a:pt x="94" y="942"/>
                  </a:lnTo>
                  <a:lnTo>
                    <a:pt x="94" y="936"/>
                  </a:lnTo>
                  <a:lnTo>
                    <a:pt x="94" y="932"/>
                  </a:lnTo>
                  <a:lnTo>
                    <a:pt x="92" y="932"/>
                  </a:lnTo>
                  <a:lnTo>
                    <a:pt x="92" y="930"/>
                  </a:lnTo>
                  <a:lnTo>
                    <a:pt x="94" y="928"/>
                  </a:lnTo>
                  <a:lnTo>
                    <a:pt x="94" y="926"/>
                  </a:lnTo>
                  <a:lnTo>
                    <a:pt x="94" y="924"/>
                  </a:lnTo>
                  <a:lnTo>
                    <a:pt x="96" y="924"/>
                  </a:lnTo>
                  <a:lnTo>
                    <a:pt x="98" y="922"/>
                  </a:lnTo>
                  <a:lnTo>
                    <a:pt x="100" y="920"/>
                  </a:lnTo>
                  <a:lnTo>
                    <a:pt x="108" y="916"/>
                  </a:lnTo>
                  <a:lnTo>
                    <a:pt x="110" y="916"/>
                  </a:lnTo>
                  <a:lnTo>
                    <a:pt x="112" y="916"/>
                  </a:lnTo>
                  <a:lnTo>
                    <a:pt x="116" y="916"/>
                  </a:lnTo>
                  <a:lnTo>
                    <a:pt x="118" y="914"/>
                  </a:lnTo>
                  <a:lnTo>
                    <a:pt x="120" y="908"/>
                  </a:lnTo>
                  <a:lnTo>
                    <a:pt x="120" y="906"/>
                  </a:lnTo>
                  <a:lnTo>
                    <a:pt x="120" y="904"/>
                  </a:lnTo>
                  <a:lnTo>
                    <a:pt x="118" y="902"/>
                  </a:lnTo>
                  <a:lnTo>
                    <a:pt x="116" y="902"/>
                  </a:lnTo>
                  <a:lnTo>
                    <a:pt x="116" y="900"/>
                  </a:lnTo>
                  <a:lnTo>
                    <a:pt x="114" y="898"/>
                  </a:lnTo>
                  <a:lnTo>
                    <a:pt x="112" y="892"/>
                  </a:lnTo>
                  <a:lnTo>
                    <a:pt x="112" y="888"/>
                  </a:lnTo>
                  <a:lnTo>
                    <a:pt x="112" y="886"/>
                  </a:lnTo>
                  <a:lnTo>
                    <a:pt x="112" y="884"/>
                  </a:lnTo>
                  <a:lnTo>
                    <a:pt x="112" y="878"/>
                  </a:lnTo>
                  <a:lnTo>
                    <a:pt x="108" y="870"/>
                  </a:lnTo>
                  <a:lnTo>
                    <a:pt x="108" y="866"/>
                  </a:lnTo>
                  <a:lnTo>
                    <a:pt x="106" y="866"/>
                  </a:lnTo>
                  <a:lnTo>
                    <a:pt x="106" y="864"/>
                  </a:lnTo>
                  <a:lnTo>
                    <a:pt x="106" y="862"/>
                  </a:lnTo>
                  <a:lnTo>
                    <a:pt x="104" y="858"/>
                  </a:lnTo>
                  <a:lnTo>
                    <a:pt x="104" y="856"/>
                  </a:lnTo>
                  <a:lnTo>
                    <a:pt x="106" y="854"/>
                  </a:lnTo>
                  <a:lnTo>
                    <a:pt x="108" y="854"/>
                  </a:lnTo>
                  <a:lnTo>
                    <a:pt x="108" y="846"/>
                  </a:lnTo>
                  <a:lnTo>
                    <a:pt x="108" y="844"/>
                  </a:lnTo>
                  <a:lnTo>
                    <a:pt x="106" y="842"/>
                  </a:lnTo>
                  <a:lnTo>
                    <a:pt x="104" y="838"/>
                  </a:lnTo>
                  <a:lnTo>
                    <a:pt x="104" y="836"/>
                  </a:lnTo>
                  <a:lnTo>
                    <a:pt x="106" y="834"/>
                  </a:lnTo>
                  <a:lnTo>
                    <a:pt x="108" y="832"/>
                  </a:lnTo>
                  <a:lnTo>
                    <a:pt x="108" y="828"/>
                  </a:lnTo>
                  <a:lnTo>
                    <a:pt x="106" y="820"/>
                  </a:lnTo>
                  <a:lnTo>
                    <a:pt x="104" y="812"/>
                  </a:lnTo>
                  <a:lnTo>
                    <a:pt x="108" y="808"/>
                  </a:lnTo>
                  <a:lnTo>
                    <a:pt x="112" y="796"/>
                  </a:lnTo>
                  <a:lnTo>
                    <a:pt x="114" y="79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6" name="Freeform 146"/>
            <p:cNvSpPr>
              <a:spLocks/>
            </p:cNvSpPr>
            <p:nvPr/>
          </p:nvSpPr>
          <p:spPr bwMode="auto">
            <a:xfrm>
              <a:off x="2856" y="3112"/>
              <a:ext cx="10" cy="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2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6" y="2"/>
                </a:cxn>
                <a:cxn ang="0">
                  <a:pos x="10" y="4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8" y="8"/>
                </a:cxn>
              </a:cxnLst>
              <a:rect l="0" t="0" r="r" b="b"/>
              <a:pathLst>
                <a:path w="10" h="8">
                  <a:moveTo>
                    <a:pt x="8" y="8"/>
                  </a:moveTo>
                  <a:lnTo>
                    <a:pt x="2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7" name="Freeform 147"/>
            <p:cNvSpPr>
              <a:spLocks/>
            </p:cNvSpPr>
            <p:nvPr/>
          </p:nvSpPr>
          <p:spPr bwMode="auto">
            <a:xfrm>
              <a:off x="2524" y="3838"/>
              <a:ext cx="128" cy="132"/>
            </a:xfrm>
            <a:custGeom>
              <a:avLst/>
              <a:gdLst/>
              <a:ahLst/>
              <a:cxnLst>
                <a:cxn ang="0">
                  <a:pos x="10" y="4"/>
                </a:cxn>
                <a:cxn ang="0">
                  <a:pos x="16" y="14"/>
                </a:cxn>
                <a:cxn ang="0">
                  <a:pos x="20" y="18"/>
                </a:cxn>
                <a:cxn ang="0">
                  <a:pos x="20" y="22"/>
                </a:cxn>
                <a:cxn ang="0">
                  <a:pos x="18" y="18"/>
                </a:cxn>
                <a:cxn ang="0">
                  <a:pos x="14" y="20"/>
                </a:cxn>
                <a:cxn ang="0">
                  <a:pos x="6" y="28"/>
                </a:cxn>
                <a:cxn ang="0">
                  <a:pos x="8" y="32"/>
                </a:cxn>
                <a:cxn ang="0">
                  <a:pos x="12" y="36"/>
                </a:cxn>
                <a:cxn ang="0">
                  <a:pos x="18" y="36"/>
                </a:cxn>
                <a:cxn ang="0">
                  <a:pos x="24" y="36"/>
                </a:cxn>
                <a:cxn ang="0">
                  <a:pos x="26" y="42"/>
                </a:cxn>
                <a:cxn ang="0">
                  <a:pos x="26" y="50"/>
                </a:cxn>
                <a:cxn ang="0">
                  <a:pos x="36" y="60"/>
                </a:cxn>
                <a:cxn ang="0">
                  <a:pos x="42" y="66"/>
                </a:cxn>
                <a:cxn ang="0">
                  <a:pos x="44" y="70"/>
                </a:cxn>
                <a:cxn ang="0">
                  <a:pos x="54" y="78"/>
                </a:cxn>
                <a:cxn ang="0">
                  <a:pos x="68" y="88"/>
                </a:cxn>
                <a:cxn ang="0">
                  <a:pos x="74" y="92"/>
                </a:cxn>
                <a:cxn ang="0">
                  <a:pos x="86" y="104"/>
                </a:cxn>
                <a:cxn ang="0">
                  <a:pos x="96" y="108"/>
                </a:cxn>
                <a:cxn ang="0">
                  <a:pos x="110" y="112"/>
                </a:cxn>
                <a:cxn ang="0">
                  <a:pos x="126" y="112"/>
                </a:cxn>
                <a:cxn ang="0">
                  <a:pos x="120" y="126"/>
                </a:cxn>
                <a:cxn ang="0">
                  <a:pos x="118" y="126"/>
                </a:cxn>
                <a:cxn ang="0">
                  <a:pos x="106" y="128"/>
                </a:cxn>
                <a:cxn ang="0">
                  <a:pos x="100" y="124"/>
                </a:cxn>
                <a:cxn ang="0">
                  <a:pos x="96" y="128"/>
                </a:cxn>
                <a:cxn ang="0">
                  <a:pos x="90" y="130"/>
                </a:cxn>
                <a:cxn ang="0">
                  <a:pos x="82" y="128"/>
                </a:cxn>
                <a:cxn ang="0">
                  <a:pos x="74" y="132"/>
                </a:cxn>
                <a:cxn ang="0">
                  <a:pos x="70" y="128"/>
                </a:cxn>
                <a:cxn ang="0">
                  <a:pos x="60" y="124"/>
                </a:cxn>
                <a:cxn ang="0">
                  <a:pos x="38" y="122"/>
                </a:cxn>
                <a:cxn ang="0">
                  <a:pos x="30" y="122"/>
                </a:cxn>
                <a:cxn ang="0">
                  <a:pos x="20" y="118"/>
                </a:cxn>
                <a:cxn ang="0">
                  <a:pos x="12" y="118"/>
                </a:cxn>
                <a:cxn ang="0">
                  <a:pos x="4" y="120"/>
                </a:cxn>
                <a:cxn ang="0">
                  <a:pos x="2" y="102"/>
                </a:cxn>
                <a:cxn ang="0">
                  <a:pos x="4" y="72"/>
                </a:cxn>
                <a:cxn ang="0">
                  <a:pos x="6" y="36"/>
                </a:cxn>
                <a:cxn ang="0">
                  <a:pos x="6" y="8"/>
                </a:cxn>
              </a:cxnLst>
              <a:rect l="0" t="0" r="r" b="b"/>
              <a:pathLst>
                <a:path w="128" h="132">
                  <a:moveTo>
                    <a:pt x="6" y="0"/>
                  </a:moveTo>
                  <a:lnTo>
                    <a:pt x="8" y="2"/>
                  </a:lnTo>
                  <a:lnTo>
                    <a:pt x="10" y="4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20" y="18"/>
                  </a:lnTo>
                  <a:lnTo>
                    <a:pt x="20" y="26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6" y="20"/>
                  </a:lnTo>
                  <a:lnTo>
                    <a:pt x="14" y="20"/>
                  </a:lnTo>
                  <a:lnTo>
                    <a:pt x="8" y="26"/>
                  </a:lnTo>
                  <a:lnTo>
                    <a:pt x="8" y="28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8" y="36"/>
                  </a:lnTo>
                  <a:lnTo>
                    <a:pt x="20" y="36"/>
                  </a:lnTo>
                  <a:lnTo>
                    <a:pt x="22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6" y="40"/>
                  </a:lnTo>
                  <a:lnTo>
                    <a:pt x="26" y="42"/>
                  </a:lnTo>
                  <a:lnTo>
                    <a:pt x="26" y="44"/>
                  </a:lnTo>
                  <a:lnTo>
                    <a:pt x="26" y="48"/>
                  </a:lnTo>
                  <a:lnTo>
                    <a:pt x="26" y="50"/>
                  </a:lnTo>
                  <a:lnTo>
                    <a:pt x="28" y="52"/>
                  </a:lnTo>
                  <a:lnTo>
                    <a:pt x="34" y="58"/>
                  </a:lnTo>
                  <a:lnTo>
                    <a:pt x="36" y="60"/>
                  </a:lnTo>
                  <a:lnTo>
                    <a:pt x="40" y="62"/>
                  </a:lnTo>
                  <a:lnTo>
                    <a:pt x="40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4" y="70"/>
                  </a:lnTo>
                  <a:lnTo>
                    <a:pt x="44" y="72"/>
                  </a:lnTo>
                  <a:lnTo>
                    <a:pt x="50" y="76"/>
                  </a:lnTo>
                  <a:lnTo>
                    <a:pt x="54" y="78"/>
                  </a:lnTo>
                  <a:lnTo>
                    <a:pt x="62" y="86"/>
                  </a:lnTo>
                  <a:lnTo>
                    <a:pt x="66" y="88"/>
                  </a:lnTo>
                  <a:lnTo>
                    <a:pt x="68" y="88"/>
                  </a:lnTo>
                  <a:lnTo>
                    <a:pt x="72" y="90"/>
                  </a:lnTo>
                  <a:lnTo>
                    <a:pt x="74" y="90"/>
                  </a:lnTo>
                  <a:lnTo>
                    <a:pt x="74" y="92"/>
                  </a:lnTo>
                  <a:lnTo>
                    <a:pt x="78" y="96"/>
                  </a:lnTo>
                  <a:lnTo>
                    <a:pt x="78" y="98"/>
                  </a:lnTo>
                  <a:lnTo>
                    <a:pt x="86" y="104"/>
                  </a:lnTo>
                  <a:lnTo>
                    <a:pt x="88" y="104"/>
                  </a:lnTo>
                  <a:lnTo>
                    <a:pt x="90" y="106"/>
                  </a:lnTo>
                  <a:lnTo>
                    <a:pt x="96" y="108"/>
                  </a:lnTo>
                  <a:lnTo>
                    <a:pt x="104" y="112"/>
                  </a:lnTo>
                  <a:lnTo>
                    <a:pt x="108" y="112"/>
                  </a:lnTo>
                  <a:lnTo>
                    <a:pt x="110" y="112"/>
                  </a:lnTo>
                  <a:lnTo>
                    <a:pt x="118" y="112"/>
                  </a:lnTo>
                  <a:lnTo>
                    <a:pt x="122" y="112"/>
                  </a:lnTo>
                  <a:lnTo>
                    <a:pt x="126" y="112"/>
                  </a:lnTo>
                  <a:lnTo>
                    <a:pt x="128" y="112"/>
                  </a:lnTo>
                  <a:lnTo>
                    <a:pt x="124" y="122"/>
                  </a:lnTo>
                  <a:lnTo>
                    <a:pt x="120" y="126"/>
                  </a:lnTo>
                  <a:lnTo>
                    <a:pt x="120" y="128"/>
                  </a:lnTo>
                  <a:lnTo>
                    <a:pt x="118" y="128"/>
                  </a:lnTo>
                  <a:lnTo>
                    <a:pt x="118" y="126"/>
                  </a:lnTo>
                  <a:lnTo>
                    <a:pt x="116" y="126"/>
                  </a:lnTo>
                  <a:lnTo>
                    <a:pt x="110" y="128"/>
                  </a:lnTo>
                  <a:lnTo>
                    <a:pt x="106" y="128"/>
                  </a:lnTo>
                  <a:lnTo>
                    <a:pt x="106" y="126"/>
                  </a:lnTo>
                  <a:lnTo>
                    <a:pt x="104" y="126"/>
                  </a:lnTo>
                  <a:lnTo>
                    <a:pt x="100" y="124"/>
                  </a:lnTo>
                  <a:lnTo>
                    <a:pt x="98" y="126"/>
                  </a:lnTo>
                  <a:lnTo>
                    <a:pt x="98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0" y="128"/>
                  </a:lnTo>
                  <a:lnTo>
                    <a:pt x="90" y="130"/>
                  </a:lnTo>
                  <a:lnTo>
                    <a:pt x="86" y="128"/>
                  </a:lnTo>
                  <a:lnTo>
                    <a:pt x="84" y="128"/>
                  </a:lnTo>
                  <a:lnTo>
                    <a:pt x="82" y="128"/>
                  </a:lnTo>
                  <a:lnTo>
                    <a:pt x="80" y="132"/>
                  </a:lnTo>
                  <a:lnTo>
                    <a:pt x="76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8" y="128"/>
                  </a:lnTo>
                  <a:lnTo>
                    <a:pt x="66" y="126"/>
                  </a:lnTo>
                  <a:lnTo>
                    <a:pt x="60" y="124"/>
                  </a:lnTo>
                  <a:lnTo>
                    <a:pt x="54" y="124"/>
                  </a:lnTo>
                  <a:lnTo>
                    <a:pt x="42" y="122"/>
                  </a:lnTo>
                  <a:lnTo>
                    <a:pt x="38" y="122"/>
                  </a:lnTo>
                  <a:lnTo>
                    <a:pt x="36" y="122"/>
                  </a:lnTo>
                  <a:lnTo>
                    <a:pt x="34" y="122"/>
                  </a:lnTo>
                  <a:lnTo>
                    <a:pt x="30" y="122"/>
                  </a:lnTo>
                  <a:lnTo>
                    <a:pt x="24" y="120"/>
                  </a:lnTo>
                  <a:lnTo>
                    <a:pt x="22" y="120"/>
                  </a:lnTo>
                  <a:lnTo>
                    <a:pt x="20" y="118"/>
                  </a:lnTo>
                  <a:lnTo>
                    <a:pt x="18" y="118"/>
                  </a:lnTo>
                  <a:lnTo>
                    <a:pt x="14" y="118"/>
                  </a:lnTo>
                  <a:lnTo>
                    <a:pt x="12" y="118"/>
                  </a:lnTo>
                  <a:lnTo>
                    <a:pt x="12" y="120"/>
                  </a:lnTo>
                  <a:lnTo>
                    <a:pt x="6" y="120"/>
                  </a:lnTo>
                  <a:lnTo>
                    <a:pt x="4" y="120"/>
                  </a:lnTo>
                  <a:lnTo>
                    <a:pt x="2" y="118"/>
                  </a:lnTo>
                  <a:lnTo>
                    <a:pt x="0" y="116"/>
                  </a:lnTo>
                  <a:lnTo>
                    <a:pt x="2" y="102"/>
                  </a:lnTo>
                  <a:lnTo>
                    <a:pt x="2" y="92"/>
                  </a:lnTo>
                  <a:lnTo>
                    <a:pt x="2" y="90"/>
                  </a:lnTo>
                  <a:lnTo>
                    <a:pt x="4" y="72"/>
                  </a:lnTo>
                  <a:lnTo>
                    <a:pt x="4" y="64"/>
                  </a:lnTo>
                  <a:lnTo>
                    <a:pt x="4" y="46"/>
                  </a:lnTo>
                  <a:lnTo>
                    <a:pt x="6" y="36"/>
                  </a:lnTo>
                  <a:lnTo>
                    <a:pt x="6" y="34"/>
                  </a:lnTo>
                  <a:lnTo>
                    <a:pt x="6" y="26"/>
                  </a:lnTo>
                  <a:lnTo>
                    <a:pt x="6" y="8"/>
                  </a:lnTo>
                  <a:lnTo>
                    <a:pt x="6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8" name="Freeform 148"/>
            <p:cNvSpPr>
              <a:spLocks/>
            </p:cNvSpPr>
            <p:nvPr/>
          </p:nvSpPr>
          <p:spPr bwMode="auto">
            <a:xfrm>
              <a:off x="2666" y="3956"/>
              <a:ext cx="34" cy="10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2" y="8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6" y="4"/>
                </a:cxn>
                <a:cxn ang="0">
                  <a:pos x="10" y="4"/>
                </a:cxn>
                <a:cxn ang="0">
                  <a:pos x="14" y="2"/>
                </a:cxn>
                <a:cxn ang="0">
                  <a:pos x="16" y="0"/>
                </a:cxn>
                <a:cxn ang="0">
                  <a:pos x="22" y="2"/>
                </a:cxn>
                <a:cxn ang="0">
                  <a:pos x="28" y="2"/>
                </a:cxn>
                <a:cxn ang="0">
                  <a:pos x="30" y="0"/>
                </a:cxn>
                <a:cxn ang="0">
                  <a:pos x="32" y="0"/>
                </a:cxn>
                <a:cxn ang="0">
                  <a:pos x="34" y="0"/>
                </a:cxn>
                <a:cxn ang="0">
                  <a:pos x="34" y="2"/>
                </a:cxn>
                <a:cxn ang="0">
                  <a:pos x="32" y="4"/>
                </a:cxn>
                <a:cxn ang="0">
                  <a:pos x="30" y="6"/>
                </a:cxn>
                <a:cxn ang="0">
                  <a:pos x="28" y="4"/>
                </a:cxn>
                <a:cxn ang="0">
                  <a:pos x="26" y="4"/>
                </a:cxn>
                <a:cxn ang="0">
                  <a:pos x="22" y="6"/>
                </a:cxn>
                <a:cxn ang="0">
                  <a:pos x="18" y="6"/>
                </a:cxn>
                <a:cxn ang="0">
                  <a:pos x="18" y="4"/>
                </a:cxn>
                <a:cxn ang="0">
                  <a:pos x="16" y="4"/>
                </a:cxn>
                <a:cxn ang="0">
                  <a:pos x="14" y="4"/>
                </a:cxn>
                <a:cxn ang="0">
                  <a:pos x="12" y="6"/>
                </a:cxn>
                <a:cxn ang="0">
                  <a:pos x="10" y="6"/>
                </a:cxn>
                <a:cxn ang="0">
                  <a:pos x="6" y="8"/>
                </a:cxn>
                <a:cxn ang="0">
                  <a:pos x="4" y="10"/>
                </a:cxn>
                <a:cxn ang="0">
                  <a:pos x="2" y="10"/>
                </a:cxn>
              </a:cxnLst>
              <a:rect l="0" t="0" r="r" b="b"/>
              <a:pathLst>
                <a:path w="34" h="10">
                  <a:moveTo>
                    <a:pt x="2" y="10"/>
                  </a:move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8" y="2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4" y="2"/>
                  </a:lnTo>
                  <a:lnTo>
                    <a:pt x="32" y="4"/>
                  </a:lnTo>
                  <a:lnTo>
                    <a:pt x="30" y="6"/>
                  </a:lnTo>
                  <a:lnTo>
                    <a:pt x="28" y="4"/>
                  </a:lnTo>
                  <a:lnTo>
                    <a:pt x="26" y="4"/>
                  </a:lnTo>
                  <a:lnTo>
                    <a:pt x="22" y="6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6" y="8"/>
                  </a:lnTo>
                  <a:lnTo>
                    <a:pt x="4" y="10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39" name="Freeform 149"/>
            <p:cNvSpPr>
              <a:spLocks/>
            </p:cNvSpPr>
            <p:nvPr/>
          </p:nvSpPr>
          <p:spPr bwMode="auto">
            <a:xfrm>
              <a:off x="2596" y="3976"/>
              <a:ext cx="8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4" y="6"/>
                </a:cxn>
                <a:cxn ang="0">
                  <a:pos x="2" y="8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4" y="6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11" name="Group 150"/>
          <p:cNvGrpSpPr>
            <a:grpSpLocks/>
          </p:cNvGrpSpPr>
          <p:nvPr/>
        </p:nvGrpSpPr>
        <p:grpSpPr bwMode="auto">
          <a:xfrm>
            <a:off x="3537576" y="3327756"/>
            <a:ext cx="501651" cy="2659063"/>
            <a:chOff x="2250" y="1934"/>
            <a:chExt cx="416" cy="2082"/>
          </a:xfrm>
          <a:solidFill>
            <a:srgbClr val="92D050"/>
          </a:solidFill>
        </p:grpSpPr>
        <p:sp>
          <p:nvSpPr>
            <p:cNvPr id="41" name="Freeform 151"/>
            <p:cNvSpPr>
              <a:spLocks/>
            </p:cNvSpPr>
            <p:nvPr/>
          </p:nvSpPr>
          <p:spPr bwMode="auto">
            <a:xfrm>
              <a:off x="2250" y="1934"/>
              <a:ext cx="416" cy="1970"/>
            </a:xfrm>
            <a:custGeom>
              <a:avLst/>
              <a:gdLst/>
              <a:ahLst/>
              <a:cxnLst>
                <a:cxn ang="0">
                  <a:pos x="136" y="1946"/>
                </a:cxn>
                <a:cxn ang="0">
                  <a:pos x="172" y="1928"/>
                </a:cxn>
                <a:cxn ang="0">
                  <a:pos x="130" y="1940"/>
                </a:cxn>
                <a:cxn ang="0">
                  <a:pos x="116" y="1926"/>
                </a:cxn>
                <a:cxn ang="0">
                  <a:pos x="134" y="1896"/>
                </a:cxn>
                <a:cxn ang="0">
                  <a:pos x="104" y="1908"/>
                </a:cxn>
                <a:cxn ang="0">
                  <a:pos x="86" y="1870"/>
                </a:cxn>
                <a:cxn ang="0">
                  <a:pos x="130" y="1874"/>
                </a:cxn>
                <a:cxn ang="0">
                  <a:pos x="108" y="1840"/>
                </a:cxn>
                <a:cxn ang="0">
                  <a:pos x="106" y="1872"/>
                </a:cxn>
                <a:cxn ang="0">
                  <a:pos x="78" y="1834"/>
                </a:cxn>
                <a:cxn ang="0">
                  <a:pos x="92" y="1796"/>
                </a:cxn>
                <a:cxn ang="0">
                  <a:pos x="48" y="1768"/>
                </a:cxn>
                <a:cxn ang="0">
                  <a:pos x="72" y="1744"/>
                </a:cxn>
                <a:cxn ang="0">
                  <a:pos x="74" y="1718"/>
                </a:cxn>
                <a:cxn ang="0">
                  <a:pos x="70" y="1690"/>
                </a:cxn>
                <a:cxn ang="0">
                  <a:pos x="60" y="1662"/>
                </a:cxn>
                <a:cxn ang="0">
                  <a:pos x="90" y="1648"/>
                </a:cxn>
                <a:cxn ang="0">
                  <a:pos x="42" y="1638"/>
                </a:cxn>
                <a:cxn ang="0">
                  <a:pos x="66" y="1612"/>
                </a:cxn>
                <a:cxn ang="0">
                  <a:pos x="14" y="1578"/>
                </a:cxn>
                <a:cxn ang="0">
                  <a:pos x="30" y="1554"/>
                </a:cxn>
                <a:cxn ang="0">
                  <a:pos x="56" y="1556"/>
                </a:cxn>
                <a:cxn ang="0">
                  <a:pos x="94" y="1546"/>
                </a:cxn>
                <a:cxn ang="0">
                  <a:pos x="100" y="1506"/>
                </a:cxn>
                <a:cxn ang="0">
                  <a:pos x="102" y="1486"/>
                </a:cxn>
                <a:cxn ang="0">
                  <a:pos x="110" y="1412"/>
                </a:cxn>
                <a:cxn ang="0">
                  <a:pos x="120" y="1340"/>
                </a:cxn>
                <a:cxn ang="0">
                  <a:pos x="128" y="1310"/>
                </a:cxn>
                <a:cxn ang="0">
                  <a:pos x="74" y="1298"/>
                </a:cxn>
                <a:cxn ang="0">
                  <a:pos x="100" y="1182"/>
                </a:cxn>
                <a:cxn ang="0">
                  <a:pos x="92" y="1068"/>
                </a:cxn>
                <a:cxn ang="0">
                  <a:pos x="138" y="960"/>
                </a:cxn>
                <a:cxn ang="0">
                  <a:pos x="174" y="870"/>
                </a:cxn>
                <a:cxn ang="0">
                  <a:pos x="174" y="724"/>
                </a:cxn>
                <a:cxn ang="0">
                  <a:pos x="194" y="604"/>
                </a:cxn>
                <a:cxn ang="0">
                  <a:pos x="226" y="468"/>
                </a:cxn>
                <a:cxn ang="0">
                  <a:pos x="238" y="338"/>
                </a:cxn>
                <a:cxn ang="0">
                  <a:pos x="252" y="246"/>
                </a:cxn>
                <a:cxn ang="0">
                  <a:pos x="250" y="98"/>
                </a:cxn>
                <a:cxn ang="0">
                  <a:pos x="282" y="8"/>
                </a:cxn>
                <a:cxn ang="0">
                  <a:pos x="322" y="84"/>
                </a:cxn>
                <a:cxn ang="0">
                  <a:pos x="342" y="170"/>
                </a:cxn>
                <a:cxn ang="0">
                  <a:pos x="398" y="290"/>
                </a:cxn>
                <a:cxn ang="0">
                  <a:pos x="332" y="426"/>
                </a:cxn>
                <a:cxn ang="0">
                  <a:pos x="322" y="520"/>
                </a:cxn>
                <a:cxn ang="0">
                  <a:pos x="268" y="628"/>
                </a:cxn>
                <a:cxn ang="0">
                  <a:pos x="238" y="736"/>
                </a:cxn>
                <a:cxn ang="0">
                  <a:pos x="250" y="846"/>
                </a:cxn>
                <a:cxn ang="0">
                  <a:pos x="226" y="958"/>
                </a:cxn>
                <a:cxn ang="0">
                  <a:pos x="196" y="1068"/>
                </a:cxn>
                <a:cxn ang="0">
                  <a:pos x="186" y="1158"/>
                </a:cxn>
                <a:cxn ang="0">
                  <a:pos x="164" y="1248"/>
                </a:cxn>
                <a:cxn ang="0">
                  <a:pos x="156" y="1332"/>
                </a:cxn>
                <a:cxn ang="0">
                  <a:pos x="164" y="1420"/>
                </a:cxn>
                <a:cxn ang="0">
                  <a:pos x="176" y="1474"/>
                </a:cxn>
                <a:cxn ang="0">
                  <a:pos x="166" y="1546"/>
                </a:cxn>
                <a:cxn ang="0">
                  <a:pos x="140" y="1628"/>
                </a:cxn>
                <a:cxn ang="0">
                  <a:pos x="114" y="1702"/>
                </a:cxn>
                <a:cxn ang="0">
                  <a:pos x="112" y="1800"/>
                </a:cxn>
                <a:cxn ang="0">
                  <a:pos x="142" y="1852"/>
                </a:cxn>
                <a:cxn ang="0">
                  <a:pos x="270" y="1884"/>
                </a:cxn>
              </a:cxnLst>
              <a:rect l="0" t="0" r="r" b="b"/>
              <a:pathLst>
                <a:path w="416" h="1970">
                  <a:moveTo>
                    <a:pt x="196" y="1916"/>
                  </a:moveTo>
                  <a:lnTo>
                    <a:pt x="198" y="1918"/>
                  </a:lnTo>
                  <a:lnTo>
                    <a:pt x="198" y="1922"/>
                  </a:lnTo>
                  <a:lnTo>
                    <a:pt x="194" y="1928"/>
                  </a:lnTo>
                  <a:lnTo>
                    <a:pt x="194" y="1930"/>
                  </a:lnTo>
                  <a:lnTo>
                    <a:pt x="192" y="1930"/>
                  </a:lnTo>
                  <a:lnTo>
                    <a:pt x="192" y="1932"/>
                  </a:lnTo>
                  <a:lnTo>
                    <a:pt x="192" y="1934"/>
                  </a:lnTo>
                  <a:lnTo>
                    <a:pt x="190" y="1942"/>
                  </a:lnTo>
                  <a:lnTo>
                    <a:pt x="190" y="1944"/>
                  </a:lnTo>
                  <a:lnTo>
                    <a:pt x="190" y="1946"/>
                  </a:lnTo>
                  <a:lnTo>
                    <a:pt x="190" y="1948"/>
                  </a:lnTo>
                  <a:lnTo>
                    <a:pt x="192" y="1950"/>
                  </a:lnTo>
                  <a:lnTo>
                    <a:pt x="192" y="1952"/>
                  </a:lnTo>
                  <a:lnTo>
                    <a:pt x="192" y="1954"/>
                  </a:lnTo>
                  <a:lnTo>
                    <a:pt x="192" y="1956"/>
                  </a:lnTo>
                  <a:lnTo>
                    <a:pt x="190" y="1962"/>
                  </a:lnTo>
                  <a:lnTo>
                    <a:pt x="188" y="1964"/>
                  </a:lnTo>
                  <a:lnTo>
                    <a:pt x="188" y="1966"/>
                  </a:lnTo>
                  <a:lnTo>
                    <a:pt x="180" y="1970"/>
                  </a:lnTo>
                  <a:lnTo>
                    <a:pt x="178" y="1970"/>
                  </a:lnTo>
                  <a:lnTo>
                    <a:pt x="172" y="1966"/>
                  </a:lnTo>
                  <a:lnTo>
                    <a:pt x="170" y="1966"/>
                  </a:lnTo>
                  <a:lnTo>
                    <a:pt x="168" y="1966"/>
                  </a:lnTo>
                  <a:lnTo>
                    <a:pt x="166" y="1966"/>
                  </a:lnTo>
                  <a:lnTo>
                    <a:pt x="164" y="1966"/>
                  </a:lnTo>
                  <a:lnTo>
                    <a:pt x="158" y="1962"/>
                  </a:lnTo>
                  <a:lnTo>
                    <a:pt x="154" y="1960"/>
                  </a:lnTo>
                  <a:lnTo>
                    <a:pt x="150" y="1960"/>
                  </a:lnTo>
                  <a:lnTo>
                    <a:pt x="148" y="1958"/>
                  </a:lnTo>
                  <a:lnTo>
                    <a:pt x="142" y="1954"/>
                  </a:lnTo>
                  <a:lnTo>
                    <a:pt x="138" y="1950"/>
                  </a:lnTo>
                  <a:lnTo>
                    <a:pt x="138" y="1948"/>
                  </a:lnTo>
                  <a:lnTo>
                    <a:pt x="136" y="1946"/>
                  </a:lnTo>
                  <a:lnTo>
                    <a:pt x="134" y="1942"/>
                  </a:lnTo>
                  <a:lnTo>
                    <a:pt x="136" y="1940"/>
                  </a:lnTo>
                  <a:lnTo>
                    <a:pt x="142" y="1934"/>
                  </a:lnTo>
                  <a:lnTo>
                    <a:pt x="148" y="1936"/>
                  </a:lnTo>
                  <a:lnTo>
                    <a:pt x="150" y="1938"/>
                  </a:lnTo>
                  <a:lnTo>
                    <a:pt x="150" y="1940"/>
                  </a:lnTo>
                  <a:lnTo>
                    <a:pt x="150" y="1942"/>
                  </a:lnTo>
                  <a:lnTo>
                    <a:pt x="146" y="1944"/>
                  </a:lnTo>
                  <a:lnTo>
                    <a:pt x="144" y="1944"/>
                  </a:lnTo>
                  <a:lnTo>
                    <a:pt x="146" y="1946"/>
                  </a:lnTo>
                  <a:lnTo>
                    <a:pt x="148" y="1944"/>
                  </a:lnTo>
                  <a:lnTo>
                    <a:pt x="150" y="1944"/>
                  </a:lnTo>
                  <a:lnTo>
                    <a:pt x="152" y="1942"/>
                  </a:lnTo>
                  <a:lnTo>
                    <a:pt x="152" y="1940"/>
                  </a:lnTo>
                  <a:lnTo>
                    <a:pt x="152" y="1938"/>
                  </a:lnTo>
                  <a:lnTo>
                    <a:pt x="152" y="1936"/>
                  </a:lnTo>
                  <a:lnTo>
                    <a:pt x="152" y="1934"/>
                  </a:lnTo>
                  <a:lnTo>
                    <a:pt x="158" y="1934"/>
                  </a:lnTo>
                  <a:lnTo>
                    <a:pt x="160" y="1944"/>
                  </a:lnTo>
                  <a:lnTo>
                    <a:pt x="160" y="1946"/>
                  </a:lnTo>
                  <a:lnTo>
                    <a:pt x="158" y="1946"/>
                  </a:lnTo>
                  <a:lnTo>
                    <a:pt x="158" y="1948"/>
                  </a:lnTo>
                  <a:lnTo>
                    <a:pt x="154" y="1950"/>
                  </a:lnTo>
                  <a:lnTo>
                    <a:pt x="152" y="1950"/>
                  </a:lnTo>
                  <a:lnTo>
                    <a:pt x="152" y="1952"/>
                  </a:lnTo>
                  <a:lnTo>
                    <a:pt x="154" y="1952"/>
                  </a:lnTo>
                  <a:lnTo>
                    <a:pt x="158" y="1950"/>
                  </a:lnTo>
                  <a:lnTo>
                    <a:pt x="160" y="1950"/>
                  </a:lnTo>
                  <a:lnTo>
                    <a:pt x="162" y="1946"/>
                  </a:lnTo>
                  <a:lnTo>
                    <a:pt x="162" y="1942"/>
                  </a:lnTo>
                  <a:lnTo>
                    <a:pt x="160" y="1940"/>
                  </a:lnTo>
                  <a:lnTo>
                    <a:pt x="160" y="1938"/>
                  </a:lnTo>
                  <a:lnTo>
                    <a:pt x="162" y="1934"/>
                  </a:lnTo>
                  <a:lnTo>
                    <a:pt x="172" y="1928"/>
                  </a:lnTo>
                  <a:lnTo>
                    <a:pt x="174" y="1928"/>
                  </a:lnTo>
                  <a:lnTo>
                    <a:pt x="176" y="1928"/>
                  </a:lnTo>
                  <a:lnTo>
                    <a:pt x="178" y="1926"/>
                  </a:lnTo>
                  <a:lnTo>
                    <a:pt x="186" y="1916"/>
                  </a:lnTo>
                  <a:lnTo>
                    <a:pt x="186" y="1914"/>
                  </a:lnTo>
                  <a:lnTo>
                    <a:pt x="184" y="1912"/>
                  </a:lnTo>
                  <a:lnTo>
                    <a:pt x="180" y="1910"/>
                  </a:lnTo>
                  <a:lnTo>
                    <a:pt x="176" y="1910"/>
                  </a:lnTo>
                  <a:lnTo>
                    <a:pt x="168" y="1914"/>
                  </a:lnTo>
                  <a:lnTo>
                    <a:pt x="160" y="1920"/>
                  </a:lnTo>
                  <a:lnTo>
                    <a:pt x="156" y="1922"/>
                  </a:lnTo>
                  <a:lnTo>
                    <a:pt x="152" y="1928"/>
                  </a:lnTo>
                  <a:lnTo>
                    <a:pt x="150" y="1928"/>
                  </a:lnTo>
                  <a:lnTo>
                    <a:pt x="148" y="1928"/>
                  </a:lnTo>
                  <a:lnTo>
                    <a:pt x="146" y="1926"/>
                  </a:lnTo>
                  <a:lnTo>
                    <a:pt x="144" y="1924"/>
                  </a:lnTo>
                  <a:lnTo>
                    <a:pt x="140" y="1922"/>
                  </a:lnTo>
                  <a:lnTo>
                    <a:pt x="134" y="1924"/>
                  </a:lnTo>
                  <a:lnTo>
                    <a:pt x="132" y="1926"/>
                  </a:lnTo>
                  <a:lnTo>
                    <a:pt x="134" y="1926"/>
                  </a:lnTo>
                  <a:lnTo>
                    <a:pt x="138" y="1926"/>
                  </a:lnTo>
                  <a:lnTo>
                    <a:pt x="144" y="1930"/>
                  </a:lnTo>
                  <a:lnTo>
                    <a:pt x="146" y="1932"/>
                  </a:lnTo>
                  <a:lnTo>
                    <a:pt x="144" y="1932"/>
                  </a:lnTo>
                  <a:lnTo>
                    <a:pt x="140" y="1934"/>
                  </a:lnTo>
                  <a:lnTo>
                    <a:pt x="138" y="1934"/>
                  </a:lnTo>
                  <a:lnTo>
                    <a:pt x="136" y="1932"/>
                  </a:lnTo>
                  <a:lnTo>
                    <a:pt x="134" y="1932"/>
                  </a:lnTo>
                  <a:lnTo>
                    <a:pt x="132" y="1932"/>
                  </a:lnTo>
                  <a:lnTo>
                    <a:pt x="134" y="1934"/>
                  </a:lnTo>
                  <a:lnTo>
                    <a:pt x="136" y="1936"/>
                  </a:lnTo>
                  <a:lnTo>
                    <a:pt x="134" y="1940"/>
                  </a:lnTo>
                  <a:lnTo>
                    <a:pt x="132" y="1942"/>
                  </a:lnTo>
                  <a:lnTo>
                    <a:pt x="130" y="1940"/>
                  </a:lnTo>
                  <a:lnTo>
                    <a:pt x="128" y="1940"/>
                  </a:lnTo>
                  <a:lnTo>
                    <a:pt x="132" y="1944"/>
                  </a:lnTo>
                  <a:lnTo>
                    <a:pt x="134" y="1942"/>
                  </a:lnTo>
                  <a:lnTo>
                    <a:pt x="138" y="1948"/>
                  </a:lnTo>
                  <a:lnTo>
                    <a:pt x="138" y="1950"/>
                  </a:lnTo>
                  <a:lnTo>
                    <a:pt x="136" y="1950"/>
                  </a:lnTo>
                  <a:lnTo>
                    <a:pt x="134" y="1952"/>
                  </a:lnTo>
                  <a:lnTo>
                    <a:pt x="132" y="1950"/>
                  </a:lnTo>
                  <a:lnTo>
                    <a:pt x="124" y="1944"/>
                  </a:lnTo>
                  <a:lnTo>
                    <a:pt x="120" y="1942"/>
                  </a:lnTo>
                  <a:lnTo>
                    <a:pt x="116" y="1940"/>
                  </a:lnTo>
                  <a:lnTo>
                    <a:pt x="112" y="1938"/>
                  </a:lnTo>
                  <a:lnTo>
                    <a:pt x="112" y="1936"/>
                  </a:lnTo>
                  <a:lnTo>
                    <a:pt x="110" y="1936"/>
                  </a:lnTo>
                  <a:lnTo>
                    <a:pt x="106" y="1934"/>
                  </a:lnTo>
                  <a:lnTo>
                    <a:pt x="104" y="1930"/>
                  </a:lnTo>
                  <a:lnTo>
                    <a:pt x="112" y="1930"/>
                  </a:lnTo>
                  <a:lnTo>
                    <a:pt x="114" y="1930"/>
                  </a:lnTo>
                  <a:lnTo>
                    <a:pt x="116" y="1930"/>
                  </a:lnTo>
                  <a:lnTo>
                    <a:pt x="120" y="1932"/>
                  </a:lnTo>
                  <a:lnTo>
                    <a:pt x="124" y="1938"/>
                  </a:lnTo>
                  <a:lnTo>
                    <a:pt x="126" y="1938"/>
                  </a:lnTo>
                  <a:lnTo>
                    <a:pt x="126" y="1934"/>
                  </a:lnTo>
                  <a:lnTo>
                    <a:pt x="124" y="1932"/>
                  </a:lnTo>
                  <a:lnTo>
                    <a:pt x="122" y="1932"/>
                  </a:lnTo>
                  <a:lnTo>
                    <a:pt x="124" y="1930"/>
                  </a:lnTo>
                  <a:lnTo>
                    <a:pt x="126" y="1930"/>
                  </a:lnTo>
                  <a:lnTo>
                    <a:pt x="128" y="1930"/>
                  </a:lnTo>
                  <a:lnTo>
                    <a:pt x="126" y="1928"/>
                  </a:lnTo>
                  <a:lnTo>
                    <a:pt x="124" y="1928"/>
                  </a:lnTo>
                  <a:lnTo>
                    <a:pt x="122" y="1928"/>
                  </a:lnTo>
                  <a:lnTo>
                    <a:pt x="122" y="1930"/>
                  </a:lnTo>
                  <a:lnTo>
                    <a:pt x="120" y="1930"/>
                  </a:lnTo>
                  <a:lnTo>
                    <a:pt x="116" y="1926"/>
                  </a:lnTo>
                  <a:lnTo>
                    <a:pt x="118" y="1926"/>
                  </a:lnTo>
                  <a:lnTo>
                    <a:pt x="118" y="1922"/>
                  </a:lnTo>
                  <a:lnTo>
                    <a:pt x="116" y="1918"/>
                  </a:lnTo>
                  <a:lnTo>
                    <a:pt x="116" y="1914"/>
                  </a:lnTo>
                  <a:lnTo>
                    <a:pt x="118" y="1912"/>
                  </a:lnTo>
                  <a:lnTo>
                    <a:pt x="126" y="1908"/>
                  </a:lnTo>
                  <a:lnTo>
                    <a:pt x="130" y="1910"/>
                  </a:lnTo>
                  <a:lnTo>
                    <a:pt x="134" y="1912"/>
                  </a:lnTo>
                  <a:lnTo>
                    <a:pt x="136" y="1912"/>
                  </a:lnTo>
                  <a:lnTo>
                    <a:pt x="140" y="1908"/>
                  </a:lnTo>
                  <a:lnTo>
                    <a:pt x="146" y="1902"/>
                  </a:lnTo>
                  <a:lnTo>
                    <a:pt x="152" y="1902"/>
                  </a:lnTo>
                  <a:lnTo>
                    <a:pt x="154" y="1902"/>
                  </a:lnTo>
                  <a:lnTo>
                    <a:pt x="156" y="1904"/>
                  </a:lnTo>
                  <a:lnTo>
                    <a:pt x="158" y="1904"/>
                  </a:lnTo>
                  <a:lnTo>
                    <a:pt x="160" y="1904"/>
                  </a:lnTo>
                  <a:lnTo>
                    <a:pt x="164" y="1904"/>
                  </a:lnTo>
                  <a:lnTo>
                    <a:pt x="166" y="1904"/>
                  </a:lnTo>
                  <a:lnTo>
                    <a:pt x="168" y="1904"/>
                  </a:lnTo>
                  <a:lnTo>
                    <a:pt x="172" y="1902"/>
                  </a:lnTo>
                  <a:lnTo>
                    <a:pt x="170" y="1898"/>
                  </a:lnTo>
                  <a:lnTo>
                    <a:pt x="168" y="1898"/>
                  </a:lnTo>
                  <a:lnTo>
                    <a:pt x="166" y="1898"/>
                  </a:lnTo>
                  <a:lnTo>
                    <a:pt x="162" y="1898"/>
                  </a:lnTo>
                  <a:lnTo>
                    <a:pt x="156" y="1896"/>
                  </a:lnTo>
                  <a:lnTo>
                    <a:pt x="148" y="1896"/>
                  </a:lnTo>
                  <a:lnTo>
                    <a:pt x="142" y="1896"/>
                  </a:lnTo>
                  <a:lnTo>
                    <a:pt x="140" y="1896"/>
                  </a:lnTo>
                  <a:lnTo>
                    <a:pt x="140" y="1898"/>
                  </a:lnTo>
                  <a:lnTo>
                    <a:pt x="138" y="1900"/>
                  </a:lnTo>
                  <a:lnTo>
                    <a:pt x="136" y="1902"/>
                  </a:lnTo>
                  <a:lnTo>
                    <a:pt x="132" y="1900"/>
                  </a:lnTo>
                  <a:lnTo>
                    <a:pt x="134" y="1898"/>
                  </a:lnTo>
                  <a:lnTo>
                    <a:pt x="134" y="1896"/>
                  </a:lnTo>
                  <a:lnTo>
                    <a:pt x="136" y="1896"/>
                  </a:lnTo>
                  <a:lnTo>
                    <a:pt x="138" y="1896"/>
                  </a:lnTo>
                  <a:lnTo>
                    <a:pt x="136" y="1894"/>
                  </a:lnTo>
                  <a:lnTo>
                    <a:pt x="134" y="1896"/>
                  </a:lnTo>
                  <a:lnTo>
                    <a:pt x="132" y="1896"/>
                  </a:lnTo>
                  <a:lnTo>
                    <a:pt x="128" y="1896"/>
                  </a:lnTo>
                  <a:lnTo>
                    <a:pt x="122" y="1896"/>
                  </a:lnTo>
                  <a:lnTo>
                    <a:pt x="118" y="1902"/>
                  </a:lnTo>
                  <a:lnTo>
                    <a:pt x="122" y="1900"/>
                  </a:lnTo>
                  <a:lnTo>
                    <a:pt x="126" y="1902"/>
                  </a:lnTo>
                  <a:lnTo>
                    <a:pt x="124" y="1906"/>
                  </a:lnTo>
                  <a:lnTo>
                    <a:pt x="122" y="1908"/>
                  </a:lnTo>
                  <a:lnTo>
                    <a:pt x="120" y="1910"/>
                  </a:lnTo>
                  <a:lnTo>
                    <a:pt x="116" y="1910"/>
                  </a:lnTo>
                  <a:lnTo>
                    <a:pt x="114" y="1912"/>
                  </a:lnTo>
                  <a:lnTo>
                    <a:pt x="114" y="1914"/>
                  </a:lnTo>
                  <a:lnTo>
                    <a:pt x="116" y="1918"/>
                  </a:lnTo>
                  <a:lnTo>
                    <a:pt x="116" y="1920"/>
                  </a:lnTo>
                  <a:lnTo>
                    <a:pt x="116" y="1922"/>
                  </a:lnTo>
                  <a:lnTo>
                    <a:pt x="114" y="1924"/>
                  </a:lnTo>
                  <a:lnTo>
                    <a:pt x="112" y="1926"/>
                  </a:lnTo>
                  <a:lnTo>
                    <a:pt x="110" y="1926"/>
                  </a:lnTo>
                  <a:lnTo>
                    <a:pt x="108" y="1926"/>
                  </a:lnTo>
                  <a:lnTo>
                    <a:pt x="102" y="1926"/>
                  </a:lnTo>
                  <a:lnTo>
                    <a:pt x="98" y="1922"/>
                  </a:lnTo>
                  <a:lnTo>
                    <a:pt x="102" y="1918"/>
                  </a:lnTo>
                  <a:lnTo>
                    <a:pt x="106" y="1916"/>
                  </a:lnTo>
                  <a:lnTo>
                    <a:pt x="100" y="1916"/>
                  </a:lnTo>
                  <a:lnTo>
                    <a:pt x="94" y="1910"/>
                  </a:lnTo>
                  <a:lnTo>
                    <a:pt x="96" y="1910"/>
                  </a:lnTo>
                  <a:lnTo>
                    <a:pt x="98" y="1910"/>
                  </a:lnTo>
                  <a:lnTo>
                    <a:pt x="100" y="1910"/>
                  </a:lnTo>
                  <a:lnTo>
                    <a:pt x="106" y="1910"/>
                  </a:lnTo>
                  <a:lnTo>
                    <a:pt x="104" y="1908"/>
                  </a:lnTo>
                  <a:lnTo>
                    <a:pt x="104" y="1906"/>
                  </a:lnTo>
                  <a:lnTo>
                    <a:pt x="110" y="1894"/>
                  </a:lnTo>
                  <a:lnTo>
                    <a:pt x="112" y="1894"/>
                  </a:lnTo>
                  <a:lnTo>
                    <a:pt x="114" y="1894"/>
                  </a:lnTo>
                  <a:lnTo>
                    <a:pt x="118" y="1896"/>
                  </a:lnTo>
                  <a:lnTo>
                    <a:pt x="118" y="1894"/>
                  </a:lnTo>
                  <a:lnTo>
                    <a:pt x="114" y="1894"/>
                  </a:lnTo>
                  <a:lnTo>
                    <a:pt x="112" y="1894"/>
                  </a:lnTo>
                  <a:lnTo>
                    <a:pt x="108" y="1894"/>
                  </a:lnTo>
                  <a:lnTo>
                    <a:pt x="108" y="1898"/>
                  </a:lnTo>
                  <a:lnTo>
                    <a:pt x="104" y="1904"/>
                  </a:lnTo>
                  <a:lnTo>
                    <a:pt x="102" y="1904"/>
                  </a:lnTo>
                  <a:lnTo>
                    <a:pt x="102" y="1902"/>
                  </a:lnTo>
                  <a:lnTo>
                    <a:pt x="102" y="1900"/>
                  </a:lnTo>
                  <a:lnTo>
                    <a:pt x="100" y="1900"/>
                  </a:lnTo>
                  <a:lnTo>
                    <a:pt x="96" y="1902"/>
                  </a:lnTo>
                  <a:lnTo>
                    <a:pt x="94" y="1904"/>
                  </a:lnTo>
                  <a:lnTo>
                    <a:pt x="92" y="1906"/>
                  </a:lnTo>
                  <a:lnTo>
                    <a:pt x="92" y="1908"/>
                  </a:lnTo>
                  <a:lnTo>
                    <a:pt x="88" y="1906"/>
                  </a:lnTo>
                  <a:lnTo>
                    <a:pt x="88" y="1900"/>
                  </a:lnTo>
                  <a:lnTo>
                    <a:pt x="90" y="1898"/>
                  </a:lnTo>
                  <a:lnTo>
                    <a:pt x="92" y="1898"/>
                  </a:lnTo>
                  <a:lnTo>
                    <a:pt x="94" y="1898"/>
                  </a:lnTo>
                  <a:lnTo>
                    <a:pt x="94" y="1896"/>
                  </a:lnTo>
                  <a:lnTo>
                    <a:pt x="92" y="1896"/>
                  </a:lnTo>
                  <a:lnTo>
                    <a:pt x="90" y="1890"/>
                  </a:lnTo>
                  <a:lnTo>
                    <a:pt x="90" y="1888"/>
                  </a:lnTo>
                  <a:lnTo>
                    <a:pt x="92" y="1888"/>
                  </a:lnTo>
                  <a:lnTo>
                    <a:pt x="94" y="1884"/>
                  </a:lnTo>
                  <a:lnTo>
                    <a:pt x="92" y="1880"/>
                  </a:lnTo>
                  <a:lnTo>
                    <a:pt x="90" y="1876"/>
                  </a:lnTo>
                  <a:lnTo>
                    <a:pt x="86" y="1872"/>
                  </a:lnTo>
                  <a:lnTo>
                    <a:pt x="86" y="1870"/>
                  </a:lnTo>
                  <a:lnTo>
                    <a:pt x="88" y="1868"/>
                  </a:lnTo>
                  <a:lnTo>
                    <a:pt x="88" y="1870"/>
                  </a:lnTo>
                  <a:lnTo>
                    <a:pt x="90" y="1872"/>
                  </a:lnTo>
                  <a:lnTo>
                    <a:pt x="94" y="1878"/>
                  </a:lnTo>
                  <a:lnTo>
                    <a:pt x="96" y="1878"/>
                  </a:lnTo>
                  <a:lnTo>
                    <a:pt x="96" y="1876"/>
                  </a:lnTo>
                  <a:lnTo>
                    <a:pt x="100" y="1880"/>
                  </a:lnTo>
                  <a:lnTo>
                    <a:pt x="102" y="1880"/>
                  </a:lnTo>
                  <a:lnTo>
                    <a:pt x="104" y="1880"/>
                  </a:lnTo>
                  <a:lnTo>
                    <a:pt x="106" y="1878"/>
                  </a:lnTo>
                  <a:lnTo>
                    <a:pt x="106" y="1876"/>
                  </a:lnTo>
                  <a:lnTo>
                    <a:pt x="108" y="1874"/>
                  </a:lnTo>
                  <a:lnTo>
                    <a:pt x="110" y="1872"/>
                  </a:lnTo>
                  <a:lnTo>
                    <a:pt x="114" y="1870"/>
                  </a:lnTo>
                  <a:lnTo>
                    <a:pt x="114" y="1874"/>
                  </a:lnTo>
                  <a:lnTo>
                    <a:pt x="114" y="1878"/>
                  </a:lnTo>
                  <a:lnTo>
                    <a:pt x="118" y="1882"/>
                  </a:lnTo>
                  <a:lnTo>
                    <a:pt x="120" y="1882"/>
                  </a:lnTo>
                  <a:lnTo>
                    <a:pt x="120" y="1880"/>
                  </a:lnTo>
                  <a:lnTo>
                    <a:pt x="122" y="1872"/>
                  </a:lnTo>
                  <a:lnTo>
                    <a:pt x="122" y="1870"/>
                  </a:lnTo>
                  <a:lnTo>
                    <a:pt x="122" y="1872"/>
                  </a:lnTo>
                  <a:lnTo>
                    <a:pt x="120" y="1874"/>
                  </a:lnTo>
                  <a:lnTo>
                    <a:pt x="120" y="1876"/>
                  </a:lnTo>
                  <a:lnTo>
                    <a:pt x="118" y="1878"/>
                  </a:lnTo>
                  <a:lnTo>
                    <a:pt x="116" y="1876"/>
                  </a:lnTo>
                  <a:lnTo>
                    <a:pt x="116" y="1872"/>
                  </a:lnTo>
                  <a:lnTo>
                    <a:pt x="120" y="1866"/>
                  </a:lnTo>
                  <a:lnTo>
                    <a:pt x="122" y="1864"/>
                  </a:lnTo>
                  <a:lnTo>
                    <a:pt x="126" y="1866"/>
                  </a:lnTo>
                  <a:lnTo>
                    <a:pt x="126" y="1870"/>
                  </a:lnTo>
                  <a:lnTo>
                    <a:pt x="128" y="1872"/>
                  </a:lnTo>
                  <a:lnTo>
                    <a:pt x="130" y="1872"/>
                  </a:lnTo>
                  <a:lnTo>
                    <a:pt x="130" y="1874"/>
                  </a:lnTo>
                  <a:lnTo>
                    <a:pt x="132" y="1876"/>
                  </a:lnTo>
                  <a:lnTo>
                    <a:pt x="132" y="1878"/>
                  </a:lnTo>
                  <a:lnTo>
                    <a:pt x="130" y="1884"/>
                  </a:lnTo>
                  <a:lnTo>
                    <a:pt x="130" y="1886"/>
                  </a:lnTo>
                  <a:lnTo>
                    <a:pt x="124" y="1888"/>
                  </a:lnTo>
                  <a:lnTo>
                    <a:pt x="116" y="1892"/>
                  </a:lnTo>
                  <a:lnTo>
                    <a:pt x="118" y="1892"/>
                  </a:lnTo>
                  <a:lnTo>
                    <a:pt x="122" y="1890"/>
                  </a:lnTo>
                  <a:lnTo>
                    <a:pt x="128" y="1888"/>
                  </a:lnTo>
                  <a:lnTo>
                    <a:pt x="130" y="1888"/>
                  </a:lnTo>
                  <a:lnTo>
                    <a:pt x="134" y="1884"/>
                  </a:lnTo>
                  <a:lnTo>
                    <a:pt x="134" y="1878"/>
                  </a:lnTo>
                  <a:lnTo>
                    <a:pt x="132" y="1874"/>
                  </a:lnTo>
                  <a:lnTo>
                    <a:pt x="128" y="1870"/>
                  </a:lnTo>
                  <a:lnTo>
                    <a:pt x="128" y="1866"/>
                  </a:lnTo>
                  <a:lnTo>
                    <a:pt x="128" y="1864"/>
                  </a:lnTo>
                  <a:lnTo>
                    <a:pt x="134" y="1866"/>
                  </a:lnTo>
                  <a:lnTo>
                    <a:pt x="134" y="1864"/>
                  </a:lnTo>
                  <a:lnTo>
                    <a:pt x="134" y="1856"/>
                  </a:lnTo>
                  <a:lnTo>
                    <a:pt x="134" y="1852"/>
                  </a:lnTo>
                  <a:lnTo>
                    <a:pt x="128" y="1846"/>
                  </a:lnTo>
                  <a:lnTo>
                    <a:pt x="126" y="1846"/>
                  </a:lnTo>
                  <a:lnTo>
                    <a:pt x="124" y="1844"/>
                  </a:lnTo>
                  <a:lnTo>
                    <a:pt x="122" y="1844"/>
                  </a:lnTo>
                  <a:lnTo>
                    <a:pt x="120" y="1844"/>
                  </a:lnTo>
                  <a:lnTo>
                    <a:pt x="118" y="1842"/>
                  </a:lnTo>
                  <a:lnTo>
                    <a:pt x="112" y="1840"/>
                  </a:lnTo>
                  <a:lnTo>
                    <a:pt x="112" y="1838"/>
                  </a:lnTo>
                  <a:lnTo>
                    <a:pt x="110" y="1838"/>
                  </a:lnTo>
                  <a:lnTo>
                    <a:pt x="108" y="1838"/>
                  </a:lnTo>
                  <a:lnTo>
                    <a:pt x="104" y="1838"/>
                  </a:lnTo>
                  <a:lnTo>
                    <a:pt x="104" y="1840"/>
                  </a:lnTo>
                  <a:lnTo>
                    <a:pt x="106" y="1840"/>
                  </a:lnTo>
                  <a:lnTo>
                    <a:pt x="108" y="1840"/>
                  </a:lnTo>
                  <a:lnTo>
                    <a:pt x="112" y="1840"/>
                  </a:lnTo>
                  <a:lnTo>
                    <a:pt x="114" y="1842"/>
                  </a:lnTo>
                  <a:lnTo>
                    <a:pt x="120" y="1846"/>
                  </a:lnTo>
                  <a:lnTo>
                    <a:pt x="126" y="1850"/>
                  </a:lnTo>
                  <a:lnTo>
                    <a:pt x="128" y="1852"/>
                  </a:lnTo>
                  <a:lnTo>
                    <a:pt x="132" y="1852"/>
                  </a:lnTo>
                  <a:lnTo>
                    <a:pt x="132" y="1856"/>
                  </a:lnTo>
                  <a:lnTo>
                    <a:pt x="128" y="1858"/>
                  </a:lnTo>
                  <a:lnTo>
                    <a:pt x="126" y="1858"/>
                  </a:lnTo>
                  <a:lnTo>
                    <a:pt x="122" y="1856"/>
                  </a:lnTo>
                  <a:lnTo>
                    <a:pt x="122" y="1854"/>
                  </a:lnTo>
                  <a:lnTo>
                    <a:pt x="114" y="1852"/>
                  </a:lnTo>
                  <a:lnTo>
                    <a:pt x="108" y="1848"/>
                  </a:lnTo>
                  <a:lnTo>
                    <a:pt x="104" y="1846"/>
                  </a:lnTo>
                  <a:lnTo>
                    <a:pt x="106" y="1852"/>
                  </a:lnTo>
                  <a:lnTo>
                    <a:pt x="108" y="1852"/>
                  </a:lnTo>
                  <a:lnTo>
                    <a:pt x="110" y="1852"/>
                  </a:lnTo>
                  <a:lnTo>
                    <a:pt x="112" y="1852"/>
                  </a:lnTo>
                  <a:lnTo>
                    <a:pt x="114" y="1854"/>
                  </a:lnTo>
                  <a:lnTo>
                    <a:pt x="114" y="1856"/>
                  </a:lnTo>
                  <a:lnTo>
                    <a:pt x="112" y="1860"/>
                  </a:lnTo>
                  <a:lnTo>
                    <a:pt x="110" y="1860"/>
                  </a:lnTo>
                  <a:lnTo>
                    <a:pt x="106" y="1860"/>
                  </a:lnTo>
                  <a:lnTo>
                    <a:pt x="112" y="1860"/>
                  </a:lnTo>
                  <a:lnTo>
                    <a:pt x="114" y="1858"/>
                  </a:lnTo>
                  <a:lnTo>
                    <a:pt x="116" y="1858"/>
                  </a:lnTo>
                  <a:lnTo>
                    <a:pt x="116" y="1860"/>
                  </a:lnTo>
                  <a:lnTo>
                    <a:pt x="116" y="1862"/>
                  </a:lnTo>
                  <a:lnTo>
                    <a:pt x="114" y="1862"/>
                  </a:lnTo>
                  <a:lnTo>
                    <a:pt x="112" y="1864"/>
                  </a:lnTo>
                  <a:lnTo>
                    <a:pt x="110" y="1864"/>
                  </a:lnTo>
                  <a:lnTo>
                    <a:pt x="108" y="1866"/>
                  </a:lnTo>
                  <a:lnTo>
                    <a:pt x="108" y="1872"/>
                  </a:lnTo>
                  <a:lnTo>
                    <a:pt x="106" y="1872"/>
                  </a:lnTo>
                  <a:lnTo>
                    <a:pt x="104" y="1868"/>
                  </a:lnTo>
                  <a:lnTo>
                    <a:pt x="102" y="1864"/>
                  </a:lnTo>
                  <a:lnTo>
                    <a:pt x="102" y="1858"/>
                  </a:lnTo>
                  <a:lnTo>
                    <a:pt x="102" y="1852"/>
                  </a:lnTo>
                  <a:lnTo>
                    <a:pt x="102" y="1850"/>
                  </a:lnTo>
                  <a:lnTo>
                    <a:pt x="100" y="1850"/>
                  </a:lnTo>
                  <a:lnTo>
                    <a:pt x="100" y="1854"/>
                  </a:lnTo>
                  <a:lnTo>
                    <a:pt x="102" y="1856"/>
                  </a:lnTo>
                  <a:lnTo>
                    <a:pt x="104" y="1874"/>
                  </a:lnTo>
                  <a:lnTo>
                    <a:pt x="104" y="1876"/>
                  </a:lnTo>
                  <a:lnTo>
                    <a:pt x="102" y="1876"/>
                  </a:lnTo>
                  <a:lnTo>
                    <a:pt x="100" y="1876"/>
                  </a:lnTo>
                  <a:lnTo>
                    <a:pt x="94" y="1870"/>
                  </a:lnTo>
                  <a:lnTo>
                    <a:pt x="92" y="1870"/>
                  </a:lnTo>
                  <a:lnTo>
                    <a:pt x="92" y="1868"/>
                  </a:lnTo>
                  <a:lnTo>
                    <a:pt x="92" y="1866"/>
                  </a:lnTo>
                  <a:lnTo>
                    <a:pt x="92" y="1862"/>
                  </a:lnTo>
                  <a:lnTo>
                    <a:pt x="90" y="1858"/>
                  </a:lnTo>
                  <a:lnTo>
                    <a:pt x="92" y="1858"/>
                  </a:lnTo>
                  <a:lnTo>
                    <a:pt x="96" y="1864"/>
                  </a:lnTo>
                  <a:lnTo>
                    <a:pt x="98" y="1868"/>
                  </a:lnTo>
                  <a:lnTo>
                    <a:pt x="96" y="1862"/>
                  </a:lnTo>
                  <a:lnTo>
                    <a:pt x="92" y="1854"/>
                  </a:lnTo>
                  <a:lnTo>
                    <a:pt x="94" y="1854"/>
                  </a:lnTo>
                  <a:lnTo>
                    <a:pt x="94" y="1852"/>
                  </a:lnTo>
                  <a:lnTo>
                    <a:pt x="96" y="1850"/>
                  </a:lnTo>
                  <a:lnTo>
                    <a:pt x="90" y="1852"/>
                  </a:lnTo>
                  <a:lnTo>
                    <a:pt x="88" y="1856"/>
                  </a:lnTo>
                  <a:lnTo>
                    <a:pt x="84" y="1852"/>
                  </a:lnTo>
                  <a:lnTo>
                    <a:pt x="84" y="1848"/>
                  </a:lnTo>
                  <a:lnTo>
                    <a:pt x="80" y="1848"/>
                  </a:lnTo>
                  <a:lnTo>
                    <a:pt x="78" y="1848"/>
                  </a:lnTo>
                  <a:lnTo>
                    <a:pt x="78" y="1836"/>
                  </a:lnTo>
                  <a:lnTo>
                    <a:pt x="78" y="1834"/>
                  </a:lnTo>
                  <a:lnTo>
                    <a:pt x="82" y="1834"/>
                  </a:lnTo>
                  <a:lnTo>
                    <a:pt x="86" y="1838"/>
                  </a:lnTo>
                  <a:lnTo>
                    <a:pt x="88" y="1840"/>
                  </a:lnTo>
                  <a:lnTo>
                    <a:pt x="90" y="1848"/>
                  </a:lnTo>
                  <a:lnTo>
                    <a:pt x="92" y="1848"/>
                  </a:lnTo>
                  <a:lnTo>
                    <a:pt x="92" y="1846"/>
                  </a:lnTo>
                  <a:lnTo>
                    <a:pt x="90" y="1844"/>
                  </a:lnTo>
                  <a:lnTo>
                    <a:pt x="88" y="1836"/>
                  </a:lnTo>
                  <a:lnTo>
                    <a:pt x="84" y="1826"/>
                  </a:lnTo>
                  <a:lnTo>
                    <a:pt x="86" y="1824"/>
                  </a:lnTo>
                  <a:lnTo>
                    <a:pt x="86" y="1826"/>
                  </a:lnTo>
                  <a:lnTo>
                    <a:pt x="88" y="1828"/>
                  </a:lnTo>
                  <a:lnTo>
                    <a:pt x="86" y="1822"/>
                  </a:lnTo>
                  <a:lnTo>
                    <a:pt x="84" y="1822"/>
                  </a:lnTo>
                  <a:lnTo>
                    <a:pt x="80" y="1826"/>
                  </a:lnTo>
                  <a:lnTo>
                    <a:pt x="78" y="1826"/>
                  </a:lnTo>
                  <a:lnTo>
                    <a:pt x="72" y="1824"/>
                  </a:lnTo>
                  <a:lnTo>
                    <a:pt x="70" y="1824"/>
                  </a:lnTo>
                  <a:lnTo>
                    <a:pt x="70" y="1818"/>
                  </a:lnTo>
                  <a:lnTo>
                    <a:pt x="66" y="1816"/>
                  </a:lnTo>
                  <a:lnTo>
                    <a:pt x="66" y="1810"/>
                  </a:lnTo>
                  <a:lnTo>
                    <a:pt x="66" y="1808"/>
                  </a:lnTo>
                  <a:lnTo>
                    <a:pt x="68" y="1808"/>
                  </a:lnTo>
                  <a:lnTo>
                    <a:pt x="70" y="1806"/>
                  </a:lnTo>
                  <a:lnTo>
                    <a:pt x="78" y="1806"/>
                  </a:lnTo>
                  <a:lnTo>
                    <a:pt x="78" y="1808"/>
                  </a:lnTo>
                  <a:lnTo>
                    <a:pt x="80" y="1810"/>
                  </a:lnTo>
                  <a:lnTo>
                    <a:pt x="84" y="1802"/>
                  </a:lnTo>
                  <a:lnTo>
                    <a:pt x="84" y="1796"/>
                  </a:lnTo>
                  <a:lnTo>
                    <a:pt x="84" y="1794"/>
                  </a:lnTo>
                  <a:lnTo>
                    <a:pt x="88" y="1794"/>
                  </a:lnTo>
                  <a:lnTo>
                    <a:pt x="90" y="1794"/>
                  </a:lnTo>
                  <a:lnTo>
                    <a:pt x="92" y="1794"/>
                  </a:lnTo>
                  <a:lnTo>
                    <a:pt x="92" y="1796"/>
                  </a:lnTo>
                  <a:lnTo>
                    <a:pt x="94" y="1798"/>
                  </a:lnTo>
                  <a:lnTo>
                    <a:pt x="94" y="1794"/>
                  </a:lnTo>
                  <a:lnTo>
                    <a:pt x="92" y="1792"/>
                  </a:lnTo>
                  <a:lnTo>
                    <a:pt x="90" y="1792"/>
                  </a:lnTo>
                  <a:lnTo>
                    <a:pt x="88" y="1792"/>
                  </a:lnTo>
                  <a:lnTo>
                    <a:pt x="86" y="1790"/>
                  </a:lnTo>
                  <a:lnTo>
                    <a:pt x="86" y="1788"/>
                  </a:lnTo>
                  <a:lnTo>
                    <a:pt x="88" y="1788"/>
                  </a:lnTo>
                  <a:lnTo>
                    <a:pt x="90" y="1786"/>
                  </a:lnTo>
                  <a:lnTo>
                    <a:pt x="92" y="1780"/>
                  </a:lnTo>
                  <a:lnTo>
                    <a:pt x="84" y="1788"/>
                  </a:lnTo>
                  <a:lnTo>
                    <a:pt x="82" y="1792"/>
                  </a:lnTo>
                  <a:lnTo>
                    <a:pt x="82" y="1796"/>
                  </a:lnTo>
                  <a:lnTo>
                    <a:pt x="82" y="1798"/>
                  </a:lnTo>
                  <a:lnTo>
                    <a:pt x="82" y="1800"/>
                  </a:lnTo>
                  <a:lnTo>
                    <a:pt x="78" y="1804"/>
                  </a:lnTo>
                  <a:lnTo>
                    <a:pt x="74" y="1804"/>
                  </a:lnTo>
                  <a:lnTo>
                    <a:pt x="70" y="1800"/>
                  </a:lnTo>
                  <a:lnTo>
                    <a:pt x="68" y="1798"/>
                  </a:lnTo>
                  <a:lnTo>
                    <a:pt x="66" y="1792"/>
                  </a:lnTo>
                  <a:lnTo>
                    <a:pt x="62" y="1786"/>
                  </a:lnTo>
                  <a:lnTo>
                    <a:pt x="66" y="1784"/>
                  </a:lnTo>
                  <a:lnTo>
                    <a:pt x="70" y="1786"/>
                  </a:lnTo>
                  <a:lnTo>
                    <a:pt x="72" y="1788"/>
                  </a:lnTo>
                  <a:lnTo>
                    <a:pt x="74" y="1788"/>
                  </a:lnTo>
                  <a:lnTo>
                    <a:pt x="78" y="1790"/>
                  </a:lnTo>
                  <a:lnTo>
                    <a:pt x="78" y="1788"/>
                  </a:lnTo>
                  <a:lnTo>
                    <a:pt x="76" y="1788"/>
                  </a:lnTo>
                  <a:lnTo>
                    <a:pt x="72" y="1784"/>
                  </a:lnTo>
                  <a:lnTo>
                    <a:pt x="70" y="1784"/>
                  </a:lnTo>
                  <a:lnTo>
                    <a:pt x="62" y="1782"/>
                  </a:lnTo>
                  <a:lnTo>
                    <a:pt x="56" y="1778"/>
                  </a:lnTo>
                  <a:lnTo>
                    <a:pt x="46" y="1770"/>
                  </a:lnTo>
                  <a:lnTo>
                    <a:pt x="48" y="1768"/>
                  </a:lnTo>
                  <a:lnTo>
                    <a:pt x="48" y="1766"/>
                  </a:lnTo>
                  <a:lnTo>
                    <a:pt x="52" y="1764"/>
                  </a:lnTo>
                  <a:lnTo>
                    <a:pt x="54" y="1764"/>
                  </a:lnTo>
                  <a:lnTo>
                    <a:pt x="58" y="1764"/>
                  </a:lnTo>
                  <a:lnTo>
                    <a:pt x="60" y="1764"/>
                  </a:lnTo>
                  <a:lnTo>
                    <a:pt x="62" y="1766"/>
                  </a:lnTo>
                  <a:lnTo>
                    <a:pt x="64" y="1768"/>
                  </a:lnTo>
                  <a:lnTo>
                    <a:pt x="66" y="1772"/>
                  </a:lnTo>
                  <a:lnTo>
                    <a:pt x="76" y="1774"/>
                  </a:lnTo>
                  <a:lnTo>
                    <a:pt x="78" y="1774"/>
                  </a:lnTo>
                  <a:lnTo>
                    <a:pt x="80" y="1774"/>
                  </a:lnTo>
                  <a:lnTo>
                    <a:pt x="70" y="1770"/>
                  </a:lnTo>
                  <a:lnTo>
                    <a:pt x="68" y="1770"/>
                  </a:lnTo>
                  <a:lnTo>
                    <a:pt x="66" y="1770"/>
                  </a:lnTo>
                  <a:lnTo>
                    <a:pt x="60" y="1758"/>
                  </a:lnTo>
                  <a:lnTo>
                    <a:pt x="60" y="1756"/>
                  </a:lnTo>
                  <a:lnTo>
                    <a:pt x="64" y="1756"/>
                  </a:lnTo>
                  <a:lnTo>
                    <a:pt x="66" y="1756"/>
                  </a:lnTo>
                  <a:lnTo>
                    <a:pt x="68" y="1758"/>
                  </a:lnTo>
                  <a:lnTo>
                    <a:pt x="70" y="1760"/>
                  </a:lnTo>
                  <a:lnTo>
                    <a:pt x="78" y="1764"/>
                  </a:lnTo>
                  <a:lnTo>
                    <a:pt x="78" y="1762"/>
                  </a:lnTo>
                  <a:lnTo>
                    <a:pt x="78" y="1760"/>
                  </a:lnTo>
                  <a:lnTo>
                    <a:pt x="74" y="1758"/>
                  </a:lnTo>
                  <a:lnTo>
                    <a:pt x="70" y="1756"/>
                  </a:lnTo>
                  <a:lnTo>
                    <a:pt x="62" y="1754"/>
                  </a:lnTo>
                  <a:lnTo>
                    <a:pt x="60" y="1752"/>
                  </a:lnTo>
                  <a:lnTo>
                    <a:pt x="60" y="1748"/>
                  </a:lnTo>
                  <a:lnTo>
                    <a:pt x="64" y="1746"/>
                  </a:lnTo>
                  <a:lnTo>
                    <a:pt x="66" y="1746"/>
                  </a:lnTo>
                  <a:lnTo>
                    <a:pt x="68" y="1746"/>
                  </a:lnTo>
                  <a:lnTo>
                    <a:pt x="70" y="1746"/>
                  </a:lnTo>
                  <a:lnTo>
                    <a:pt x="72" y="1746"/>
                  </a:lnTo>
                  <a:lnTo>
                    <a:pt x="72" y="1744"/>
                  </a:lnTo>
                  <a:lnTo>
                    <a:pt x="66" y="1744"/>
                  </a:lnTo>
                  <a:lnTo>
                    <a:pt x="62" y="1746"/>
                  </a:lnTo>
                  <a:lnTo>
                    <a:pt x="60" y="1742"/>
                  </a:lnTo>
                  <a:lnTo>
                    <a:pt x="60" y="1740"/>
                  </a:lnTo>
                  <a:lnTo>
                    <a:pt x="60" y="1738"/>
                  </a:lnTo>
                  <a:lnTo>
                    <a:pt x="64" y="1736"/>
                  </a:lnTo>
                  <a:lnTo>
                    <a:pt x="70" y="1734"/>
                  </a:lnTo>
                  <a:lnTo>
                    <a:pt x="76" y="1736"/>
                  </a:lnTo>
                  <a:lnTo>
                    <a:pt x="78" y="1740"/>
                  </a:lnTo>
                  <a:lnTo>
                    <a:pt x="80" y="1742"/>
                  </a:lnTo>
                  <a:lnTo>
                    <a:pt x="84" y="1744"/>
                  </a:lnTo>
                  <a:lnTo>
                    <a:pt x="84" y="1748"/>
                  </a:lnTo>
                  <a:lnTo>
                    <a:pt x="86" y="1746"/>
                  </a:lnTo>
                  <a:lnTo>
                    <a:pt x="84" y="1744"/>
                  </a:lnTo>
                  <a:lnTo>
                    <a:pt x="84" y="1742"/>
                  </a:lnTo>
                  <a:lnTo>
                    <a:pt x="82" y="1740"/>
                  </a:lnTo>
                  <a:lnTo>
                    <a:pt x="80" y="1740"/>
                  </a:lnTo>
                  <a:lnTo>
                    <a:pt x="78" y="1738"/>
                  </a:lnTo>
                  <a:lnTo>
                    <a:pt x="78" y="1734"/>
                  </a:lnTo>
                  <a:lnTo>
                    <a:pt x="76" y="1734"/>
                  </a:lnTo>
                  <a:lnTo>
                    <a:pt x="74" y="1734"/>
                  </a:lnTo>
                  <a:lnTo>
                    <a:pt x="70" y="1732"/>
                  </a:lnTo>
                  <a:lnTo>
                    <a:pt x="68" y="1728"/>
                  </a:lnTo>
                  <a:lnTo>
                    <a:pt x="70" y="1720"/>
                  </a:lnTo>
                  <a:lnTo>
                    <a:pt x="70" y="1718"/>
                  </a:lnTo>
                  <a:lnTo>
                    <a:pt x="72" y="1718"/>
                  </a:lnTo>
                  <a:lnTo>
                    <a:pt x="74" y="1720"/>
                  </a:lnTo>
                  <a:lnTo>
                    <a:pt x="74" y="1722"/>
                  </a:lnTo>
                  <a:lnTo>
                    <a:pt x="76" y="1722"/>
                  </a:lnTo>
                  <a:lnTo>
                    <a:pt x="78" y="1724"/>
                  </a:lnTo>
                  <a:lnTo>
                    <a:pt x="80" y="1724"/>
                  </a:lnTo>
                  <a:lnTo>
                    <a:pt x="78" y="1722"/>
                  </a:lnTo>
                  <a:lnTo>
                    <a:pt x="76" y="1722"/>
                  </a:lnTo>
                  <a:lnTo>
                    <a:pt x="74" y="1718"/>
                  </a:lnTo>
                  <a:lnTo>
                    <a:pt x="72" y="1710"/>
                  </a:lnTo>
                  <a:lnTo>
                    <a:pt x="74" y="1708"/>
                  </a:lnTo>
                  <a:lnTo>
                    <a:pt x="74" y="1706"/>
                  </a:lnTo>
                  <a:lnTo>
                    <a:pt x="76" y="1706"/>
                  </a:lnTo>
                  <a:lnTo>
                    <a:pt x="78" y="1706"/>
                  </a:lnTo>
                  <a:lnTo>
                    <a:pt x="78" y="1708"/>
                  </a:lnTo>
                  <a:lnTo>
                    <a:pt x="80" y="1708"/>
                  </a:lnTo>
                  <a:lnTo>
                    <a:pt x="80" y="1706"/>
                  </a:lnTo>
                  <a:lnTo>
                    <a:pt x="78" y="1706"/>
                  </a:lnTo>
                  <a:lnTo>
                    <a:pt x="72" y="1706"/>
                  </a:lnTo>
                  <a:lnTo>
                    <a:pt x="72" y="1708"/>
                  </a:lnTo>
                  <a:lnTo>
                    <a:pt x="72" y="1714"/>
                  </a:lnTo>
                  <a:lnTo>
                    <a:pt x="70" y="1718"/>
                  </a:lnTo>
                  <a:lnTo>
                    <a:pt x="68" y="1722"/>
                  </a:lnTo>
                  <a:lnTo>
                    <a:pt x="68" y="1726"/>
                  </a:lnTo>
                  <a:lnTo>
                    <a:pt x="66" y="1734"/>
                  </a:lnTo>
                  <a:lnTo>
                    <a:pt x="64" y="1734"/>
                  </a:lnTo>
                  <a:lnTo>
                    <a:pt x="62" y="1734"/>
                  </a:lnTo>
                  <a:lnTo>
                    <a:pt x="60" y="1728"/>
                  </a:lnTo>
                  <a:lnTo>
                    <a:pt x="58" y="1724"/>
                  </a:lnTo>
                  <a:lnTo>
                    <a:pt x="58" y="1714"/>
                  </a:lnTo>
                  <a:lnTo>
                    <a:pt x="58" y="1702"/>
                  </a:lnTo>
                  <a:lnTo>
                    <a:pt x="56" y="1700"/>
                  </a:lnTo>
                  <a:lnTo>
                    <a:pt x="56" y="1698"/>
                  </a:lnTo>
                  <a:lnTo>
                    <a:pt x="56" y="1696"/>
                  </a:lnTo>
                  <a:lnTo>
                    <a:pt x="56" y="1694"/>
                  </a:lnTo>
                  <a:lnTo>
                    <a:pt x="58" y="1690"/>
                  </a:lnTo>
                  <a:lnTo>
                    <a:pt x="60" y="1692"/>
                  </a:lnTo>
                  <a:lnTo>
                    <a:pt x="62" y="1692"/>
                  </a:lnTo>
                  <a:lnTo>
                    <a:pt x="62" y="1690"/>
                  </a:lnTo>
                  <a:lnTo>
                    <a:pt x="64" y="1690"/>
                  </a:lnTo>
                  <a:lnTo>
                    <a:pt x="68" y="1690"/>
                  </a:lnTo>
                  <a:lnTo>
                    <a:pt x="70" y="1692"/>
                  </a:lnTo>
                  <a:lnTo>
                    <a:pt x="70" y="1690"/>
                  </a:lnTo>
                  <a:lnTo>
                    <a:pt x="68" y="1690"/>
                  </a:lnTo>
                  <a:lnTo>
                    <a:pt x="66" y="1690"/>
                  </a:lnTo>
                  <a:lnTo>
                    <a:pt x="64" y="1690"/>
                  </a:lnTo>
                  <a:lnTo>
                    <a:pt x="62" y="1690"/>
                  </a:lnTo>
                  <a:lnTo>
                    <a:pt x="60" y="1690"/>
                  </a:lnTo>
                  <a:lnTo>
                    <a:pt x="58" y="1688"/>
                  </a:lnTo>
                  <a:lnTo>
                    <a:pt x="58" y="1684"/>
                  </a:lnTo>
                  <a:lnTo>
                    <a:pt x="58" y="1682"/>
                  </a:lnTo>
                  <a:lnTo>
                    <a:pt x="62" y="1678"/>
                  </a:lnTo>
                  <a:lnTo>
                    <a:pt x="64" y="1678"/>
                  </a:lnTo>
                  <a:lnTo>
                    <a:pt x="66" y="1678"/>
                  </a:lnTo>
                  <a:lnTo>
                    <a:pt x="72" y="1682"/>
                  </a:lnTo>
                  <a:lnTo>
                    <a:pt x="72" y="1680"/>
                  </a:lnTo>
                  <a:lnTo>
                    <a:pt x="72" y="1674"/>
                  </a:lnTo>
                  <a:lnTo>
                    <a:pt x="68" y="1672"/>
                  </a:lnTo>
                  <a:lnTo>
                    <a:pt x="68" y="1670"/>
                  </a:lnTo>
                  <a:lnTo>
                    <a:pt x="66" y="1670"/>
                  </a:lnTo>
                  <a:lnTo>
                    <a:pt x="62" y="1670"/>
                  </a:lnTo>
                  <a:lnTo>
                    <a:pt x="64" y="1668"/>
                  </a:lnTo>
                  <a:lnTo>
                    <a:pt x="68" y="1668"/>
                  </a:lnTo>
                  <a:lnTo>
                    <a:pt x="62" y="1666"/>
                  </a:lnTo>
                  <a:lnTo>
                    <a:pt x="56" y="1662"/>
                  </a:lnTo>
                  <a:lnTo>
                    <a:pt x="52" y="1658"/>
                  </a:lnTo>
                  <a:lnTo>
                    <a:pt x="48" y="1656"/>
                  </a:lnTo>
                  <a:lnTo>
                    <a:pt x="46" y="1656"/>
                  </a:lnTo>
                  <a:lnTo>
                    <a:pt x="46" y="1652"/>
                  </a:lnTo>
                  <a:lnTo>
                    <a:pt x="46" y="1650"/>
                  </a:lnTo>
                  <a:lnTo>
                    <a:pt x="50" y="1648"/>
                  </a:lnTo>
                  <a:lnTo>
                    <a:pt x="56" y="1650"/>
                  </a:lnTo>
                  <a:lnTo>
                    <a:pt x="58" y="1652"/>
                  </a:lnTo>
                  <a:lnTo>
                    <a:pt x="60" y="1654"/>
                  </a:lnTo>
                  <a:lnTo>
                    <a:pt x="60" y="1656"/>
                  </a:lnTo>
                  <a:lnTo>
                    <a:pt x="60" y="1660"/>
                  </a:lnTo>
                  <a:lnTo>
                    <a:pt x="60" y="1662"/>
                  </a:lnTo>
                  <a:lnTo>
                    <a:pt x="64" y="1664"/>
                  </a:lnTo>
                  <a:lnTo>
                    <a:pt x="62" y="1656"/>
                  </a:lnTo>
                  <a:lnTo>
                    <a:pt x="60" y="1652"/>
                  </a:lnTo>
                  <a:lnTo>
                    <a:pt x="60" y="1650"/>
                  </a:lnTo>
                  <a:lnTo>
                    <a:pt x="64" y="1650"/>
                  </a:lnTo>
                  <a:lnTo>
                    <a:pt x="70" y="1650"/>
                  </a:lnTo>
                  <a:lnTo>
                    <a:pt x="70" y="1652"/>
                  </a:lnTo>
                  <a:lnTo>
                    <a:pt x="72" y="1652"/>
                  </a:lnTo>
                  <a:lnTo>
                    <a:pt x="74" y="1654"/>
                  </a:lnTo>
                  <a:lnTo>
                    <a:pt x="78" y="1654"/>
                  </a:lnTo>
                  <a:lnTo>
                    <a:pt x="82" y="1652"/>
                  </a:lnTo>
                  <a:lnTo>
                    <a:pt x="90" y="1658"/>
                  </a:lnTo>
                  <a:lnTo>
                    <a:pt x="90" y="1662"/>
                  </a:lnTo>
                  <a:lnTo>
                    <a:pt x="90" y="1664"/>
                  </a:lnTo>
                  <a:lnTo>
                    <a:pt x="92" y="1662"/>
                  </a:lnTo>
                  <a:lnTo>
                    <a:pt x="94" y="1660"/>
                  </a:lnTo>
                  <a:lnTo>
                    <a:pt x="96" y="1660"/>
                  </a:lnTo>
                  <a:lnTo>
                    <a:pt x="96" y="1662"/>
                  </a:lnTo>
                  <a:lnTo>
                    <a:pt x="98" y="1662"/>
                  </a:lnTo>
                  <a:lnTo>
                    <a:pt x="100" y="1660"/>
                  </a:lnTo>
                  <a:lnTo>
                    <a:pt x="102" y="1660"/>
                  </a:lnTo>
                  <a:lnTo>
                    <a:pt x="102" y="1658"/>
                  </a:lnTo>
                  <a:lnTo>
                    <a:pt x="102" y="1656"/>
                  </a:lnTo>
                  <a:lnTo>
                    <a:pt x="102" y="1654"/>
                  </a:lnTo>
                  <a:lnTo>
                    <a:pt x="102" y="1656"/>
                  </a:lnTo>
                  <a:lnTo>
                    <a:pt x="100" y="1658"/>
                  </a:lnTo>
                  <a:lnTo>
                    <a:pt x="98" y="1660"/>
                  </a:lnTo>
                  <a:lnTo>
                    <a:pt x="96" y="1660"/>
                  </a:lnTo>
                  <a:lnTo>
                    <a:pt x="94" y="1658"/>
                  </a:lnTo>
                  <a:lnTo>
                    <a:pt x="90" y="1654"/>
                  </a:lnTo>
                  <a:lnTo>
                    <a:pt x="86" y="1650"/>
                  </a:lnTo>
                  <a:lnTo>
                    <a:pt x="86" y="1646"/>
                  </a:lnTo>
                  <a:lnTo>
                    <a:pt x="90" y="1646"/>
                  </a:lnTo>
                  <a:lnTo>
                    <a:pt x="90" y="1648"/>
                  </a:lnTo>
                  <a:lnTo>
                    <a:pt x="92" y="1648"/>
                  </a:lnTo>
                  <a:lnTo>
                    <a:pt x="92" y="1650"/>
                  </a:lnTo>
                  <a:lnTo>
                    <a:pt x="94" y="1650"/>
                  </a:lnTo>
                  <a:lnTo>
                    <a:pt x="96" y="1650"/>
                  </a:lnTo>
                  <a:lnTo>
                    <a:pt x="104" y="1650"/>
                  </a:lnTo>
                  <a:lnTo>
                    <a:pt x="102" y="1650"/>
                  </a:lnTo>
                  <a:lnTo>
                    <a:pt x="98" y="1648"/>
                  </a:lnTo>
                  <a:lnTo>
                    <a:pt x="96" y="1648"/>
                  </a:lnTo>
                  <a:lnTo>
                    <a:pt x="94" y="1648"/>
                  </a:lnTo>
                  <a:lnTo>
                    <a:pt x="92" y="1648"/>
                  </a:lnTo>
                  <a:lnTo>
                    <a:pt x="84" y="1640"/>
                  </a:lnTo>
                  <a:lnTo>
                    <a:pt x="82" y="1636"/>
                  </a:lnTo>
                  <a:lnTo>
                    <a:pt x="82" y="1634"/>
                  </a:lnTo>
                  <a:lnTo>
                    <a:pt x="84" y="1634"/>
                  </a:lnTo>
                  <a:lnTo>
                    <a:pt x="84" y="1632"/>
                  </a:lnTo>
                  <a:lnTo>
                    <a:pt x="86" y="1630"/>
                  </a:lnTo>
                  <a:lnTo>
                    <a:pt x="86" y="1626"/>
                  </a:lnTo>
                  <a:lnTo>
                    <a:pt x="82" y="1626"/>
                  </a:lnTo>
                  <a:lnTo>
                    <a:pt x="82" y="1628"/>
                  </a:lnTo>
                  <a:lnTo>
                    <a:pt x="82" y="1630"/>
                  </a:lnTo>
                  <a:lnTo>
                    <a:pt x="82" y="1640"/>
                  </a:lnTo>
                  <a:lnTo>
                    <a:pt x="80" y="1640"/>
                  </a:lnTo>
                  <a:lnTo>
                    <a:pt x="76" y="1642"/>
                  </a:lnTo>
                  <a:lnTo>
                    <a:pt x="72" y="1642"/>
                  </a:lnTo>
                  <a:lnTo>
                    <a:pt x="70" y="1642"/>
                  </a:lnTo>
                  <a:lnTo>
                    <a:pt x="70" y="1640"/>
                  </a:lnTo>
                  <a:lnTo>
                    <a:pt x="68" y="1640"/>
                  </a:lnTo>
                  <a:lnTo>
                    <a:pt x="66" y="1640"/>
                  </a:lnTo>
                  <a:lnTo>
                    <a:pt x="60" y="1638"/>
                  </a:lnTo>
                  <a:lnTo>
                    <a:pt x="56" y="1638"/>
                  </a:lnTo>
                  <a:lnTo>
                    <a:pt x="52" y="1638"/>
                  </a:lnTo>
                  <a:lnTo>
                    <a:pt x="50" y="1640"/>
                  </a:lnTo>
                  <a:lnTo>
                    <a:pt x="46" y="1638"/>
                  </a:lnTo>
                  <a:lnTo>
                    <a:pt x="42" y="1638"/>
                  </a:lnTo>
                  <a:lnTo>
                    <a:pt x="42" y="1636"/>
                  </a:lnTo>
                  <a:lnTo>
                    <a:pt x="46" y="1628"/>
                  </a:lnTo>
                  <a:lnTo>
                    <a:pt x="48" y="1626"/>
                  </a:lnTo>
                  <a:lnTo>
                    <a:pt x="50" y="1626"/>
                  </a:lnTo>
                  <a:lnTo>
                    <a:pt x="54" y="1626"/>
                  </a:lnTo>
                  <a:lnTo>
                    <a:pt x="58" y="1628"/>
                  </a:lnTo>
                  <a:lnTo>
                    <a:pt x="58" y="1632"/>
                  </a:lnTo>
                  <a:lnTo>
                    <a:pt x="60" y="1636"/>
                  </a:lnTo>
                  <a:lnTo>
                    <a:pt x="62" y="1638"/>
                  </a:lnTo>
                  <a:lnTo>
                    <a:pt x="64" y="1638"/>
                  </a:lnTo>
                  <a:lnTo>
                    <a:pt x="62" y="1636"/>
                  </a:lnTo>
                  <a:lnTo>
                    <a:pt x="60" y="1636"/>
                  </a:lnTo>
                  <a:lnTo>
                    <a:pt x="60" y="1634"/>
                  </a:lnTo>
                  <a:lnTo>
                    <a:pt x="62" y="1630"/>
                  </a:lnTo>
                  <a:lnTo>
                    <a:pt x="64" y="1630"/>
                  </a:lnTo>
                  <a:lnTo>
                    <a:pt x="68" y="1630"/>
                  </a:lnTo>
                  <a:lnTo>
                    <a:pt x="70" y="1630"/>
                  </a:lnTo>
                  <a:lnTo>
                    <a:pt x="70" y="1626"/>
                  </a:lnTo>
                  <a:lnTo>
                    <a:pt x="66" y="1626"/>
                  </a:lnTo>
                  <a:lnTo>
                    <a:pt x="64" y="1628"/>
                  </a:lnTo>
                  <a:lnTo>
                    <a:pt x="60" y="1630"/>
                  </a:lnTo>
                  <a:lnTo>
                    <a:pt x="50" y="1622"/>
                  </a:lnTo>
                  <a:lnTo>
                    <a:pt x="50" y="1620"/>
                  </a:lnTo>
                  <a:lnTo>
                    <a:pt x="52" y="1616"/>
                  </a:lnTo>
                  <a:lnTo>
                    <a:pt x="56" y="1612"/>
                  </a:lnTo>
                  <a:lnTo>
                    <a:pt x="58" y="1610"/>
                  </a:lnTo>
                  <a:lnTo>
                    <a:pt x="58" y="1608"/>
                  </a:lnTo>
                  <a:lnTo>
                    <a:pt x="64" y="1608"/>
                  </a:lnTo>
                  <a:lnTo>
                    <a:pt x="64" y="1610"/>
                  </a:lnTo>
                  <a:lnTo>
                    <a:pt x="64" y="1612"/>
                  </a:lnTo>
                  <a:lnTo>
                    <a:pt x="66" y="1616"/>
                  </a:lnTo>
                  <a:lnTo>
                    <a:pt x="68" y="1616"/>
                  </a:lnTo>
                  <a:lnTo>
                    <a:pt x="66" y="1614"/>
                  </a:lnTo>
                  <a:lnTo>
                    <a:pt x="66" y="1612"/>
                  </a:lnTo>
                  <a:lnTo>
                    <a:pt x="66" y="1610"/>
                  </a:lnTo>
                  <a:lnTo>
                    <a:pt x="66" y="1608"/>
                  </a:lnTo>
                  <a:lnTo>
                    <a:pt x="70" y="1606"/>
                  </a:lnTo>
                  <a:lnTo>
                    <a:pt x="74" y="1598"/>
                  </a:lnTo>
                  <a:lnTo>
                    <a:pt x="70" y="1596"/>
                  </a:lnTo>
                  <a:lnTo>
                    <a:pt x="68" y="1596"/>
                  </a:lnTo>
                  <a:lnTo>
                    <a:pt x="66" y="1596"/>
                  </a:lnTo>
                  <a:lnTo>
                    <a:pt x="60" y="1590"/>
                  </a:lnTo>
                  <a:lnTo>
                    <a:pt x="60" y="1588"/>
                  </a:lnTo>
                  <a:lnTo>
                    <a:pt x="60" y="1586"/>
                  </a:lnTo>
                  <a:lnTo>
                    <a:pt x="58" y="1584"/>
                  </a:lnTo>
                  <a:lnTo>
                    <a:pt x="46" y="1586"/>
                  </a:lnTo>
                  <a:lnTo>
                    <a:pt x="46" y="1588"/>
                  </a:lnTo>
                  <a:lnTo>
                    <a:pt x="48" y="1588"/>
                  </a:lnTo>
                  <a:lnTo>
                    <a:pt x="54" y="1590"/>
                  </a:lnTo>
                  <a:lnTo>
                    <a:pt x="52" y="1590"/>
                  </a:lnTo>
                  <a:lnTo>
                    <a:pt x="52" y="1592"/>
                  </a:lnTo>
                  <a:lnTo>
                    <a:pt x="50" y="1592"/>
                  </a:lnTo>
                  <a:lnTo>
                    <a:pt x="48" y="1592"/>
                  </a:lnTo>
                  <a:lnTo>
                    <a:pt x="44" y="1590"/>
                  </a:lnTo>
                  <a:lnTo>
                    <a:pt x="34" y="1586"/>
                  </a:lnTo>
                  <a:lnTo>
                    <a:pt x="30" y="1584"/>
                  </a:lnTo>
                  <a:lnTo>
                    <a:pt x="26" y="1578"/>
                  </a:lnTo>
                  <a:lnTo>
                    <a:pt x="26" y="1576"/>
                  </a:lnTo>
                  <a:lnTo>
                    <a:pt x="28" y="1572"/>
                  </a:lnTo>
                  <a:lnTo>
                    <a:pt x="32" y="1572"/>
                  </a:lnTo>
                  <a:lnTo>
                    <a:pt x="32" y="1568"/>
                  </a:lnTo>
                  <a:lnTo>
                    <a:pt x="30" y="1568"/>
                  </a:lnTo>
                  <a:lnTo>
                    <a:pt x="30" y="1570"/>
                  </a:lnTo>
                  <a:lnTo>
                    <a:pt x="26" y="1574"/>
                  </a:lnTo>
                  <a:lnTo>
                    <a:pt x="24" y="1576"/>
                  </a:lnTo>
                  <a:lnTo>
                    <a:pt x="22" y="1576"/>
                  </a:lnTo>
                  <a:lnTo>
                    <a:pt x="16" y="1578"/>
                  </a:lnTo>
                  <a:lnTo>
                    <a:pt x="14" y="1578"/>
                  </a:lnTo>
                  <a:lnTo>
                    <a:pt x="12" y="1578"/>
                  </a:lnTo>
                  <a:lnTo>
                    <a:pt x="8" y="1580"/>
                  </a:lnTo>
                  <a:lnTo>
                    <a:pt x="6" y="1580"/>
                  </a:lnTo>
                  <a:lnTo>
                    <a:pt x="4" y="1582"/>
                  </a:lnTo>
                  <a:lnTo>
                    <a:pt x="4" y="1586"/>
                  </a:lnTo>
                  <a:lnTo>
                    <a:pt x="6" y="1584"/>
                  </a:lnTo>
                  <a:lnTo>
                    <a:pt x="10" y="1582"/>
                  </a:lnTo>
                  <a:lnTo>
                    <a:pt x="12" y="1582"/>
                  </a:lnTo>
                  <a:lnTo>
                    <a:pt x="16" y="1590"/>
                  </a:lnTo>
                  <a:lnTo>
                    <a:pt x="16" y="1592"/>
                  </a:lnTo>
                  <a:lnTo>
                    <a:pt x="12" y="1594"/>
                  </a:lnTo>
                  <a:lnTo>
                    <a:pt x="10" y="1594"/>
                  </a:lnTo>
                  <a:lnTo>
                    <a:pt x="8" y="1594"/>
                  </a:lnTo>
                  <a:lnTo>
                    <a:pt x="6" y="1594"/>
                  </a:lnTo>
                  <a:lnTo>
                    <a:pt x="4" y="1590"/>
                  </a:lnTo>
                  <a:lnTo>
                    <a:pt x="0" y="1586"/>
                  </a:lnTo>
                  <a:lnTo>
                    <a:pt x="0" y="1582"/>
                  </a:lnTo>
                  <a:lnTo>
                    <a:pt x="0" y="1578"/>
                  </a:lnTo>
                  <a:lnTo>
                    <a:pt x="4" y="1574"/>
                  </a:lnTo>
                  <a:lnTo>
                    <a:pt x="6" y="1574"/>
                  </a:lnTo>
                  <a:lnTo>
                    <a:pt x="8" y="1572"/>
                  </a:lnTo>
                  <a:lnTo>
                    <a:pt x="10" y="1572"/>
                  </a:lnTo>
                  <a:lnTo>
                    <a:pt x="12" y="1570"/>
                  </a:lnTo>
                  <a:lnTo>
                    <a:pt x="12" y="1568"/>
                  </a:lnTo>
                  <a:lnTo>
                    <a:pt x="14" y="1566"/>
                  </a:lnTo>
                  <a:lnTo>
                    <a:pt x="16" y="1564"/>
                  </a:lnTo>
                  <a:lnTo>
                    <a:pt x="18" y="1564"/>
                  </a:lnTo>
                  <a:lnTo>
                    <a:pt x="20" y="1564"/>
                  </a:lnTo>
                  <a:lnTo>
                    <a:pt x="20" y="1566"/>
                  </a:lnTo>
                  <a:lnTo>
                    <a:pt x="20" y="1562"/>
                  </a:lnTo>
                  <a:lnTo>
                    <a:pt x="22" y="1560"/>
                  </a:lnTo>
                  <a:lnTo>
                    <a:pt x="24" y="1554"/>
                  </a:lnTo>
                  <a:lnTo>
                    <a:pt x="26" y="1554"/>
                  </a:lnTo>
                  <a:lnTo>
                    <a:pt x="30" y="1554"/>
                  </a:lnTo>
                  <a:lnTo>
                    <a:pt x="36" y="1550"/>
                  </a:lnTo>
                  <a:lnTo>
                    <a:pt x="38" y="1546"/>
                  </a:lnTo>
                  <a:lnTo>
                    <a:pt x="40" y="1538"/>
                  </a:lnTo>
                  <a:lnTo>
                    <a:pt x="42" y="1534"/>
                  </a:lnTo>
                  <a:lnTo>
                    <a:pt x="52" y="1532"/>
                  </a:lnTo>
                  <a:lnTo>
                    <a:pt x="56" y="1532"/>
                  </a:lnTo>
                  <a:lnTo>
                    <a:pt x="58" y="1534"/>
                  </a:lnTo>
                  <a:lnTo>
                    <a:pt x="60" y="1532"/>
                  </a:lnTo>
                  <a:lnTo>
                    <a:pt x="64" y="1532"/>
                  </a:lnTo>
                  <a:lnTo>
                    <a:pt x="66" y="1534"/>
                  </a:lnTo>
                  <a:lnTo>
                    <a:pt x="68" y="1540"/>
                  </a:lnTo>
                  <a:lnTo>
                    <a:pt x="68" y="1546"/>
                  </a:lnTo>
                  <a:lnTo>
                    <a:pt x="66" y="1548"/>
                  </a:lnTo>
                  <a:lnTo>
                    <a:pt x="64" y="1550"/>
                  </a:lnTo>
                  <a:lnTo>
                    <a:pt x="68" y="1548"/>
                  </a:lnTo>
                  <a:lnTo>
                    <a:pt x="68" y="1546"/>
                  </a:lnTo>
                  <a:lnTo>
                    <a:pt x="68" y="1544"/>
                  </a:lnTo>
                  <a:lnTo>
                    <a:pt x="68" y="1542"/>
                  </a:lnTo>
                  <a:lnTo>
                    <a:pt x="72" y="1544"/>
                  </a:lnTo>
                  <a:lnTo>
                    <a:pt x="72" y="1546"/>
                  </a:lnTo>
                  <a:lnTo>
                    <a:pt x="72" y="1548"/>
                  </a:lnTo>
                  <a:lnTo>
                    <a:pt x="72" y="1550"/>
                  </a:lnTo>
                  <a:lnTo>
                    <a:pt x="70" y="1550"/>
                  </a:lnTo>
                  <a:lnTo>
                    <a:pt x="70" y="1552"/>
                  </a:lnTo>
                  <a:lnTo>
                    <a:pt x="68" y="1552"/>
                  </a:lnTo>
                  <a:lnTo>
                    <a:pt x="66" y="1554"/>
                  </a:lnTo>
                  <a:lnTo>
                    <a:pt x="62" y="1554"/>
                  </a:lnTo>
                  <a:lnTo>
                    <a:pt x="58" y="1556"/>
                  </a:lnTo>
                  <a:lnTo>
                    <a:pt x="56" y="1556"/>
                  </a:lnTo>
                  <a:lnTo>
                    <a:pt x="54" y="1554"/>
                  </a:lnTo>
                  <a:lnTo>
                    <a:pt x="52" y="1554"/>
                  </a:lnTo>
                  <a:lnTo>
                    <a:pt x="50" y="1554"/>
                  </a:lnTo>
                  <a:lnTo>
                    <a:pt x="54" y="1556"/>
                  </a:lnTo>
                  <a:lnTo>
                    <a:pt x="56" y="1556"/>
                  </a:lnTo>
                  <a:lnTo>
                    <a:pt x="58" y="1556"/>
                  </a:lnTo>
                  <a:lnTo>
                    <a:pt x="60" y="1556"/>
                  </a:lnTo>
                  <a:lnTo>
                    <a:pt x="64" y="1554"/>
                  </a:lnTo>
                  <a:lnTo>
                    <a:pt x="66" y="1554"/>
                  </a:lnTo>
                  <a:lnTo>
                    <a:pt x="68" y="1554"/>
                  </a:lnTo>
                  <a:lnTo>
                    <a:pt x="70" y="1558"/>
                  </a:lnTo>
                  <a:lnTo>
                    <a:pt x="76" y="1560"/>
                  </a:lnTo>
                  <a:lnTo>
                    <a:pt x="76" y="1562"/>
                  </a:lnTo>
                  <a:lnTo>
                    <a:pt x="78" y="1562"/>
                  </a:lnTo>
                  <a:lnTo>
                    <a:pt x="78" y="1560"/>
                  </a:lnTo>
                  <a:lnTo>
                    <a:pt x="76" y="1560"/>
                  </a:lnTo>
                  <a:lnTo>
                    <a:pt x="76" y="1558"/>
                  </a:lnTo>
                  <a:lnTo>
                    <a:pt x="74" y="1558"/>
                  </a:lnTo>
                  <a:lnTo>
                    <a:pt x="70" y="1554"/>
                  </a:lnTo>
                  <a:lnTo>
                    <a:pt x="72" y="1552"/>
                  </a:lnTo>
                  <a:lnTo>
                    <a:pt x="72" y="1550"/>
                  </a:lnTo>
                  <a:lnTo>
                    <a:pt x="76" y="1550"/>
                  </a:lnTo>
                  <a:lnTo>
                    <a:pt x="80" y="1556"/>
                  </a:lnTo>
                  <a:lnTo>
                    <a:pt x="80" y="1558"/>
                  </a:lnTo>
                  <a:lnTo>
                    <a:pt x="80" y="1560"/>
                  </a:lnTo>
                  <a:lnTo>
                    <a:pt x="80" y="1562"/>
                  </a:lnTo>
                  <a:lnTo>
                    <a:pt x="78" y="1564"/>
                  </a:lnTo>
                  <a:lnTo>
                    <a:pt x="76" y="1568"/>
                  </a:lnTo>
                  <a:lnTo>
                    <a:pt x="72" y="1572"/>
                  </a:lnTo>
                  <a:lnTo>
                    <a:pt x="76" y="1574"/>
                  </a:lnTo>
                  <a:lnTo>
                    <a:pt x="78" y="1574"/>
                  </a:lnTo>
                  <a:lnTo>
                    <a:pt x="80" y="1570"/>
                  </a:lnTo>
                  <a:lnTo>
                    <a:pt x="80" y="1568"/>
                  </a:lnTo>
                  <a:lnTo>
                    <a:pt x="82" y="1566"/>
                  </a:lnTo>
                  <a:lnTo>
                    <a:pt x="84" y="1564"/>
                  </a:lnTo>
                  <a:lnTo>
                    <a:pt x="88" y="1558"/>
                  </a:lnTo>
                  <a:lnTo>
                    <a:pt x="90" y="1554"/>
                  </a:lnTo>
                  <a:lnTo>
                    <a:pt x="96" y="1546"/>
                  </a:lnTo>
                  <a:lnTo>
                    <a:pt x="94" y="1546"/>
                  </a:lnTo>
                  <a:lnTo>
                    <a:pt x="90" y="1552"/>
                  </a:lnTo>
                  <a:lnTo>
                    <a:pt x="88" y="1554"/>
                  </a:lnTo>
                  <a:lnTo>
                    <a:pt x="88" y="1556"/>
                  </a:lnTo>
                  <a:lnTo>
                    <a:pt x="86" y="1558"/>
                  </a:lnTo>
                  <a:lnTo>
                    <a:pt x="84" y="1560"/>
                  </a:lnTo>
                  <a:lnTo>
                    <a:pt x="84" y="1556"/>
                  </a:lnTo>
                  <a:lnTo>
                    <a:pt x="84" y="1554"/>
                  </a:lnTo>
                  <a:lnTo>
                    <a:pt x="86" y="1554"/>
                  </a:lnTo>
                  <a:lnTo>
                    <a:pt x="86" y="1552"/>
                  </a:lnTo>
                  <a:lnTo>
                    <a:pt x="86" y="1550"/>
                  </a:lnTo>
                  <a:lnTo>
                    <a:pt x="86" y="1548"/>
                  </a:lnTo>
                  <a:lnTo>
                    <a:pt x="86" y="1544"/>
                  </a:lnTo>
                  <a:lnTo>
                    <a:pt x="84" y="1542"/>
                  </a:lnTo>
                  <a:lnTo>
                    <a:pt x="90" y="1532"/>
                  </a:lnTo>
                  <a:lnTo>
                    <a:pt x="94" y="1528"/>
                  </a:lnTo>
                  <a:lnTo>
                    <a:pt x="96" y="1528"/>
                  </a:lnTo>
                  <a:lnTo>
                    <a:pt x="96" y="1526"/>
                  </a:lnTo>
                  <a:lnTo>
                    <a:pt x="98" y="1526"/>
                  </a:lnTo>
                  <a:lnTo>
                    <a:pt x="100" y="1526"/>
                  </a:lnTo>
                  <a:lnTo>
                    <a:pt x="102" y="1526"/>
                  </a:lnTo>
                  <a:lnTo>
                    <a:pt x="104" y="1526"/>
                  </a:lnTo>
                  <a:lnTo>
                    <a:pt x="104" y="1524"/>
                  </a:lnTo>
                  <a:lnTo>
                    <a:pt x="98" y="1522"/>
                  </a:lnTo>
                  <a:lnTo>
                    <a:pt x="96" y="1522"/>
                  </a:lnTo>
                  <a:lnTo>
                    <a:pt x="96" y="1524"/>
                  </a:lnTo>
                  <a:lnTo>
                    <a:pt x="94" y="1524"/>
                  </a:lnTo>
                  <a:lnTo>
                    <a:pt x="94" y="1526"/>
                  </a:lnTo>
                  <a:lnTo>
                    <a:pt x="92" y="1528"/>
                  </a:lnTo>
                  <a:lnTo>
                    <a:pt x="90" y="1530"/>
                  </a:lnTo>
                  <a:lnTo>
                    <a:pt x="88" y="1530"/>
                  </a:lnTo>
                  <a:lnTo>
                    <a:pt x="88" y="1526"/>
                  </a:lnTo>
                  <a:lnTo>
                    <a:pt x="90" y="1514"/>
                  </a:lnTo>
                  <a:lnTo>
                    <a:pt x="96" y="1508"/>
                  </a:lnTo>
                  <a:lnTo>
                    <a:pt x="100" y="1506"/>
                  </a:lnTo>
                  <a:lnTo>
                    <a:pt x="104" y="1504"/>
                  </a:lnTo>
                  <a:lnTo>
                    <a:pt x="104" y="1506"/>
                  </a:lnTo>
                  <a:lnTo>
                    <a:pt x="104" y="1508"/>
                  </a:lnTo>
                  <a:lnTo>
                    <a:pt x="106" y="1508"/>
                  </a:lnTo>
                  <a:lnTo>
                    <a:pt x="108" y="1510"/>
                  </a:lnTo>
                  <a:lnTo>
                    <a:pt x="112" y="1512"/>
                  </a:lnTo>
                  <a:lnTo>
                    <a:pt x="114" y="1514"/>
                  </a:lnTo>
                  <a:lnTo>
                    <a:pt x="118" y="1514"/>
                  </a:lnTo>
                  <a:lnTo>
                    <a:pt x="120" y="1512"/>
                  </a:lnTo>
                  <a:lnTo>
                    <a:pt x="120" y="1510"/>
                  </a:lnTo>
                  <a:lnTo>
                    <a:pt x="116" y="1510"/>
                  </a:lnTo>
                  <a:lnTo>
                    <a:pt x="114" y="1510"/>
                  </a:lnTo>
                  <a:lnTo>
                    <a:pt x="110" y="1508"/>
                  </a:lnTo>
                  <a:lnTo>
                    <a:pt x="108" y="1506"/>
                  </a:lnTo>
                  <a:lnTo>
                    <a:pt x="106" y="1504"/>
                  </a:lnTo>
                  <a:lnTo>
                    <a:pt x="102" y="1502"/>
                  </a:lnTo>
                  <a:lnTo>
                    <a:pt x="100" y="1502"/>
                  </a:lnTo>
                  <a:lnTo>
                    <a:pt x="98" y="1502"/>
                  </a:lnTo>
                  <a:lnTo>
                    <a:pt x="98" y="1504"/>
                  </a:lnTo>
                  <a:lnTo>
                    <a:pt x="96" y="1504"/>
                  </a:lnTo>
                  <a:lnTo>
                    <a:pt x="94" y="1504"/>
                  </a:lnTo>
                  <a:lnTo>
                    <a:pt x="94" y="1502"/>
                  </a:lnTo>
                  <a:lnTo>
                    <a:pt x="94" y="1498"/>
                  </a:lnTo>
                  <a:lnTo>
                    <a:pt x="96" y="1498"/>
                  </a:lnTo>
                  <a:lnTo>
                    <a:pt x="98" y="1498"/>
                  </a:lnTo>
                  <a:lnTo>
                    <a:pt x="100" y="1496"/>
                  </a:lnTo>
                  <a:lnTo>
                    <a:pt x="98" y="1496"/>
                  </a:lnTo>
                  <a:lnTo>
                    <a:pt x="96" y="1492"/>
                  </a:lnTo>
                  <a:lnTo>
                    <a:pt x="96" y="1490"/>
                  </a:lnTo>
                  <a:lnTo>
                    <a:pt x="96" y="1488"/>
                  </a:lnTo>
                  <a:lnTo>
                    <a:pt x="96" y="1486"/>
                  </a:lnTo>
                  <a:lnTo>
                    <a:pt x="98" y="1486"/>
                  </a:lnTo>
                  <a:lnTo>
                    <a:pt x="100" y="1486"/>
                  </a:lnTo>
                  <a:lnTo>
                    <a:pt x="102" y="1486"/>
                  </a:lnTo>
                  <a:lnTo>
                    <a:pt x="106" y="1486"/>
                  </a:lnTo>
                  <a:lnTo>
                    <a:pt x="114" y="1480"/>
                  </a:lnTo>
                  <a:lnTo>
                    <a:pt x="116" y="1480"/>
                  </a:lnTo>
                  <a:lnTo>
                    <a:pt x="122" y="1476"/>
                  </a:lnTo>
                  <a:lnTo>
                    <a:pt x="124" y="1472"/>
                  </a:lnTo>
                  <a:lnTo>
                    <a:pt x="126" y="1468"/>
                  </a:lnTo>
                  <a:lnTo>
                    <a:pt x="130" y="1460"/>
                  </a:lnTo>
                  <a:lnTo>
                    <a:pt x="130" y="1454"/>
                  </a:lnTo>
                  <a:lnTo>
                    <a:pt x="126" y="1456"/>
                  </a:lnTo>
                  <a:lnTo>
                    <a:pt x="124" y="1460"/>
                  </a:lnTo>
                  <a:lnTo>
                    <a:pt x="118" y="1456"/>
                  </a:lnTo>
                  <a:lnTo>
                    <a:pt x="114" y="1452"/>
                  </a:lnTo>
                  <a:lnTo>
                    <a:pt x="112" y="1450"/>
                  </a:lnTo>
                  <a:lnTo>
                    <a:pt x="108" y="1448"/>
                  </a:lnTo>
                  <a:lnTo>
                    <a:pt x="106" y="1448"/>
                  </a:lnTo>
                  <a:lnTo>
                    <a:pt x="104" y="1448"/>
                  </a:lnTo>
                  <a:lnTo>
                    <a:pt x="100" y="1444"/>
                  </a:lnTo>
                  <a:lnTo>
                    <a:pt x="100" y="1442"/>
                  </a:lnTo>
                  <a:lnTo>
                    <a:pt x="100" y="1440"/>
                  </a:lnTo>
                  <a:lnTo>
                    <a:pt x="102" y="1438"/>
                  </a:lnTo>
                  <a:lnTo>
                    <a:pt x="106" y="1436"/>
                  </a:lnTo>
                  <a:lnTo>
                    <a:pt x="106" y="1434"/>
                  </a:lnTo>
                  <a:lnTo>
                    <a:pt x="108" y="1430"/>
                  </a:lnTo>
                  <a:lnTo>
                    <a:pt x="112" y="1424"/>
                  </a:lnTo>
                  <a:lnTo>
                    <a:pt x="114" y="1424"/>
                  </a:lnTo>
                  <a:lnTo>
                    <a:pt x="118" y="1422"/>
                  </a:lnTo>
                  <a:lnTo>
                    <a:pt x="118" y="1420"/>
                  </a:lnTo>
                  <a:lnTo>
                    <a:pt x="118" y="1418"/>
                  </a:lnTo>
                  <a:lnTo>
                    <a:pt x="118" y="1420"/>
                  </a:lnTo>
                  <a:lnTo>
                    <a:pt x="116" y="1422"/>
                  </a:lnTo>
                  <a:lnTo>
                    <a:pt x="114" y="1422"/>
                  </a:lnTo>
                  <a:lnTo>
                    <a:pt x="110" y="1420"/>
                  </a:lnTo>
                  <a:lnTo>
                    <a:pt x="110" y="1418"/>
                  </a:lnTo>
                  <a:lnTo>
                    <a:pt x="110" y="1412"/>
                  </a:lnTo>
                  <a:lnTo>
                    <a:pt x="108" y="1406"/>
                  </a:lnTo>
                  <a:lnTo>
                    <a:pt x="108" y="1404"/>
                  </a:lnTo>
                  <a:lnTo>
                    <a:pt x="108" y="1398"/>
                  </a:lnTo>
                  <a:lnTo>
                    <a:pt x="110" y="1396"/>
                  </a:lnTo>
                  <a:lnTo>
                    <a:pt x="112" y="1394"/>
                  </a:lnTo>
                  <a:lnTo>
                    <a:pt x="114" y="1394"/>
                  </a:lnTo>
                  <a:lnTo>
                    <a:pt x="116" y="1392"/>
                  </a:lnTo>
                  <a:lnTo>
                    <a:pt x="116" y="1388"/>
                  </a:lnTo>
                  <a:lnTo>
                    <a:pt x="114" y="1388"/>
                  </a:lnTo>
                  <a:lnTo>
                    <a:pt x="114" y="1386"/>
                  </a:lnTo>
                  <a:lnTo>
                    <a:pt x="116" y="1382"/>
                  </a:lnTo>
                  <a:lnTo>
                    <a:pt x="118" y="1380"/>
                  </a:lnTo>
                  <a:lnTo>
                    <a:pt x="120" y="1380"/>
                  </a:lnTo>
                  <a:lnTo>
                    <a:pt x="122" y="1382"/>
                  </a:lnTo>
                  <a:lnTo>
                    <a:pt x="124" y="1376"/>
                  </a:lnTo>
                  <a:lnTo>
                    <a:pt x="122" y="1374"/>
                  </a:lnTo>
                  <a:lnTo>
                    <a:pt x="120" y="1372"/>
                  </a:lnTo>
                  <a:lnTo>
                    <a:pt x="118" y="1372"/>
                  </a:lnTo>
                  <a:lnTo>
                    <a:pt x="118" y="1370"/>
                  </a:lnTo>
                  <a:lnTo>
                    <a:pt x="118" y="1368"/>
                  </a:lnTo>
                  <a:lnTo>
                    <a:pt x="118" y="1364"/>
                  </a:lnTo>
                  <a:lnTo>
                    <a:pt x="118" y="1356"/>
                  </a:lnTo>
                  <a:lnTo>
                    <a:pt x="120" y="1352"/>
                  </a:lnTo>
                  <a:lnTo>
                    <a:pt x="124" y="1352"/>
                  </a:lnTo>
                  <a:lnTo>
                    <a:pt x="126" y="1352"/>
                  </a:lnTo>
                  <a:lnTo>
                    <a:pt x="126" y="1354"/>
                  </a:lnTo>
                  <a:lnTo>
                    <a:pt x="130" y="1356"/>
                  </a:lnTo>
                  <a:lnTo>
                    <a:pt x="132" y="1356"/>
                  </a:lnTo>
                  <a:lnTo>
                    <a:pt x="132" y="1354"/>
                  </a:lnTo>
                  <a:lnTo>
                    <a:pt x="130" y="1354"/>
                  </a:lnTo>
                  <a:lnTo>
                    <a:pt x="128" y="1352"/>
                  </a:lnTo>
                  <a:lnTo>
                    <a:pt x="126" y="1352"/>
                  </a:lnTo>
                  <a:lnTo>
                    <a:pt x="118" y="1342"/>
                  </a:lnTo>
                  <a:lnTo>
                    <a:pt x="120" y="1340"/>
                  </a:lnTo>
                  <a:lnTo>
                    <a:pt x="122" y="1338"/>
                  </a:lnTo>
                  <a:lnTo>
                    <a:pt x="130" y="1336"/>
                  </a:lnTo>
                  <a:lnTo>
                    <a:pt x="132" y="1338"/>
                  </a:lnTo>
                  <a:lnTo>
                    <a:pt x="132" y="1340"/>
                  </a:lnTo>
                  <a:lnTo>
                    <a:pt x="136" y="1350"/>
                  </a:lnTo>
                  <a:lnTo>
                    <a:pt x="136" y="1346"/>
                  </a:lnTo>
                  <a:lnTo>
                    <a:pt x="134" y="1338"/>
                  </a:lnTo>
                  <a:lnTo>
                    <a:pt x="134" y="1336"/>
                  </a:lnTo>
                  <a:lnTo>
                    <a:pt x="134" y="1332"/>
                  </a:lnTo>
                  <a:lnTo>
                    <a:pt x="134" y="1330"/>
                  </a:lnTo>
                  <a:lnTo>
                    <a:pt x="134" y="1328"/>
                  </a:lnTo>
                  <a:lnTo>
                    <a:pt x="134" y="1326"/>
                  </a:lnTo>
                  <a:lnTo>
                    <a:pt x="134" y="1324"/>
                  </a:lnTo>
                  <a:lnTo>
                    <a:pt x="132" y="1326"/>
                  </a:lnTo>
                  <a:lnTo>
                    <a:pt x="128" y="1328"/>
                  </a:lnTo>
                  <a:lnTo>
                    <a:pt x="122" y="1326"/>
                  </a:lnTo>
                  <a:lnTo>
                    <a:pt x="120" y="1324"/>
                  </a:lnTo>
                  <a:lnTo>
                    <a:pt x="118" y="1322"/>
                  </a:lnTo>
                  <a:lnTo>
                    <a:pt x="118" y="1320"/>
                  </a:lnTo>
                  <a:lnTo>
                    <a:pt x="120" y="1318"/>
                  </a:lnTo>
                  <a:lnTo>
                    <a:pt x="126" y="1312"/>
                  </a:lnTo>
                  <a:lnTo>
                    <a:pt x="128" y="1312"/>
                  </a:lnTo>
                  <a:lnTo>
                    <a:pt x="130" y="1312"/>
                  </a:lnTo>
                  <a:lnTo>
                    <a:pt x="134" y="1310"/>
                  </a:lnTo>
                  <a:lnTo>
                    <a:pt x="138" y="1310"/>
                  </a:lnTo>
                  <a:lnTo>
                    <a:pt x="140" y="1308"/>
                  </a:lnTo>
                  <a:lnTo>
                    <a:pt x="142" y="1306"/>
                  </a:lnTo>
                  <a:lnTo>
                    <a:pt x="142" y="1296"/>
                  </a:lnTo>
                  <a:lnTo>
                    <a:pt x="140" y="1296"/>
                  </a:lnTo>
                  <a:lnTo>
                    <a:pt x="138" y="1306"/>
                  </a:lnTo>
                  <a:lnTo>
                    <a:pt x="138" y="1308"/>
                  </a:lnTo>
                  <a:lnTo>
                    <a:pt x="134" y="1308"/>
                  </a:lnTo>
                  <a:lnTo>
                    <a:pt x="130" y="1310"/>
                  </a:lnTo>
                  <a:lnTo>
                    <a:pt x="128" y="1310"/>
                  </a:lnTo>
                  <a:lnTo>
                    <a:pt x="126" y="1308"/>
                  </a:lnTo>
                  <a:lnTo>
                    <a:pt x="124" y="1304"/>
                  </a:lnTo>
                  <a:lnTo>
                    <a:pt x="124" y="1302"/>
                  </a:lnTo>
                  <a:lnTo>
                    <a:pt x="120" y="1300"/>
                  </a:lnTo>
                  <a:lnTo>
                    <a:pt x="118" y="1298"/>
                  </a:lnTo>
                  <a:lnTo>
                    <a:pt x="114" y="1298"/>
                  </a:lnTo>
                  <a:lnTo>
                    <a:pt x="112" y="1298"/>
                  </a:lnTo>
                  <a:lnTo>
                    <a:pt x="110" y="1300"/>
                  </a:lnTo>
                  <a:lnTo>
                    <a:pt x="106" y="1304"/>
                  </a:lnTo>
                  <a:lnTo>
                    <a:pt x="108" y="1306"/>
                  </a:lnTo>
                  <a:lnTo>
                    <a:pt x="110" y="1310"/>
                  </a:lnTo>
                  <a:lnTo>
                    <a:pt x="106" y="1312"/>
                  </a:lnTo>
                  <a:lnTo>
                    <a:pt x="102" y="1314"/>
                  </a:lnTo>
                  <a:lnTo>
                    <a:pt x="98" y="1314"/>
                  </a:lnTo>
                  <a:lnTo>
                    <a:pt x="96" y="1314"/>
                  </a:lnTo>
                  <a:lnTo>
                    <a:pt x="94" y="1314"/>
                  </a:lnTo>
                  <a:lnTo>
                    <a:pt x="92" y="1314"/>
                  </a:lnTo>
                  <a:lnTo>
                    <a:pt x="90" y="1314"/>
                  </a:lnTo>
                  <a:lnTo>
                    <a:pt x="86" y="1314"/>
                  </a:lnTo>
                  <a:lnTo>
                    <a:pt x="80" y="1314"/>
                  </a:lnTo>
                  <a:lnTo>
                    <a:pt x="78" y="1314"/>
                  </a:lnTo>
                  <a:lnTo>
                    <a:pt x="78" y="1308"/>
                  </a:lnTo>
                  <a:lnTo>
                    <a:pt x="80" y="1306"/>
                  </a:lnTo>
                  <a:lnTo>
                    <a:pt x="82" y="1306"/>
                  </a:lnTo>
                  <a:lnTo>
                    <a:pt x="84" y="1306"/>
                  </a:lnTo>
                  <a:lnTo>
                    <a:pt x="86" y="1304"/>
                  </a:lnTo>
                  <a:lnTo>
                    <a:pt x="90" y="1300"/>
                  </a:lnTo>
                  <a:lnTo>
                    <a:pt x="88" y="1300"/>
                  </a:lnTo>
                  <a:lnTo>
                    <a:pt x="88" y="1302"/>
                  </a:lnTo>
                  <a:lnTo>
                    <a:pt x="86" y="1304"/>
                  </a:lnTo>
                  <a:lnTo>
                    <a:pt x="84" y="1304"/>
                  </a:lnTo>
                  <a:lnTo>
                    <a:pt x="80" y="1304"/>
                  </a:lnTo>
                  <a:lnTo>
                    <a:pt x="78" y="1302"/>
                  </a:lnTo>
                  <a:lnTo>
                    <a:pt x="74" y="1298"/>
                  </a:lnTo>
                  <a:lnTo>
                    <a:pt x="74" y="1296"/>
                  </a:lnTo>
                  <a:lnTo>
                    <a:pt x="74" y="1294"/>
                  </a:lnTo>
                  <a:lnTo>
                    <a:pt x="74" y="1290"/>
                  </a:lnTo>
                  <a:lnTo>
                    <a:pt x="74" y="1288"/>
                  </a:lnTo>
                  <a:lnTo>
                    <a:pt x="72" y="1284"/>
                  </a:lnTo>
                  <a:lnTo>
                    <a:pt x="70" y="1284"/>
                  </a:lnTo>
                  <a:lnTo>
                    <a:pt x="70" y="1282"/>
                  </a:lnTo>
                  <a:lnTo>
                    <a:pt x="68" y="1276"/>
                  </a:lnTo>
                  <a:lnTo>
                    <a:pt x="66" y="1270"/>
                  </a:lnTo>
                  <a:lnTo>
                    <a:pt x="70" y="1264"/>
                  </a:lnTo>
                  <a:lnTo>
                    <a:pt x="74" y="1252"/>
                  </a:lnTo>
                  <a:lnTo>
                    <a:pt x="76" y="1248"/>
                  </a:lnTo>
                  <a:lnTo>
                    <a:pt x="78" y="1246"/>
                  </a:lnTo>
                  <a:lnTo>
                    <a:pt x="78" y="1242"/>
                  </a:lnTo>
                  <a:lnTo>
                    <a:pt x="76" y="1240"/>
                  </a:lnTo>
                  <a:lnTo>
                    <a:pt x="78" y="1226"/>
                  </a:lnTo>
                  <a:lnTo>
                    <a:pt x="80" y="1224"/>
                  </a:lnTo>
                  <a:lnTo>
                    <a:pt x="82" y="1224"/>
                  </a:lnTo>
                  <a:lnTo>
                    <a:pt x="80" y="1222"/>
                  </a:lnTo>
                  <a:lnTo>
                    <a:pt x="80" y="1220"/>
                  </a:lnTo>
                  <a:lnTo>
                    <a:pt x="80" y="1218"/>
                  </a:lnTo>
                  <a:lnTo>
                    <a:pt x="78" y="1216"/>
                  </a:lnTo>
                  <a:lnTo>
                    <a:pt x="80" y="1216"/>
                  </a:lnTo>
                  <a:lnTo>
                    <a:pt x="80" y="1214"/>
                  </a:lnTo>
                  <a:lnTo>
                    <a:pt x="90" y="1210"/>
                  </a:lnTo>
                  <a:lnTo>
                    <a:pt x="94" y="1212"/>
                  </a:lnTo>
                  <a:lnTo>
                    <a:pt x="94" y="1210"/>
                  </a:lnTo>
                  <a:lnTo>
                    <a:pt x="94" y="1204"/>
                  </a:lnTo>
                  <a:lnTo>
                    <a:pt x="96" y="1196"/>
                  </a:lnTo>
                  <a:lnTo>
                    <a:pt x="98" y="1194"/>
                  </a:lnTo>
                  <a:lnTo>
                    <a:pt x="100" y="1190"/>
                  </a:lnTo>
                  <a:lnTo>
                    <a:pt x="100" y="1186"/>
                  </a:lnTo>
                  <a:lnTo>
                    <a:pt x="100" y="1184"/>
                  </a:lnTo>
                  <a:lnTo>
                    <a:pt x="100" y="1182"/>
                  </a:lnTo>
                  <a:lnTo>
                    <a:pt x="100" y="1176"/>
                  </a:lnTo>
                  <a:lnTo>
                    <a:pt x="98" y="1168"/>
                  </a:lnTo>
                  <a:lnTo>
                    <a:pt x="96" y="1160"/>
                  </a:lnTo>
                  <a:lnTo>
                    <a:pt x="90" y="1148"/>
                  </a:lnTo>
                  <a:lnTo>
                    <a:pt x="88" y="1142"/>
                  </a:lnTo>
                  <a:lnTo>
                    <a:pt x="88" y="1138"/>
                  </a:lnTo>
                  <a:lnTo>
                    <a:pt x="86" y="1138"/>
                  </a:lnTo>
                  <a:lnTo>
                    <a:pt x="86" y="1132"/>
                  </a:lnTo>
                  <a:lnTo>
                    <a:pt x="86" y="1130"/>
                  </a:lnTo>
                  <a:lnTo>
                    <a:pt x="86" y="1128"/>
                  </a:lnTo>
                  <a:lnTo>
                    <a:pt x="88" y="1128"/>
                  </a:lnTo>
                  <a:lnTo>
                    <a:pt x="86" y="1124"/>
                  </a:lnTo>
                  <a:lnTo>
                    <a:pt x="88" y="1122"/>
                  </a:lnTo>
                  <a:lnTo>
                    <a:pt x="90" y="1120"/>
                  </a:lnTo>
                  <a:lnTo>
                    <a:pt x="90" y="1112"/>
                  </a:lnTo>
                  <a:lnTo>
                    <a:pt x="90" y="1110"/>
                  </a:lnTo>
                  <a:lnTo>
                    <a:pt x="88" y="1108"/>
                  </a:lnTo>
                  <a:lnTo>
                    <a:pt x="86" y="1102"/>
                  </a:lnTo>
                  <a:lnTo>
                    <a:pt x="82" y="1098"/>
                  </a:lnTo>
                  <a:lnTo>
                    <a:pt x="80" y="1094"/>
                  </a:lnTo>
                  <a:lnTo>
                    <a:pt x="78" y="1088"/>
                  </a:lnTo>
                  <a:lnTo>
                    <a:pt x="80" y="1086"/>
                  </a:lnTo>
                  <a:lnTo>
                    <a:pt x="82" y="1084"/>
                  </a:lnTo>
                  <a:lnTo>
                    <a:pt x="84" y="1080"/>
                  </a:lnTo>
                  <a:lnTo>
                    <a:pt x="82" y="1078"/>
                  </a:lnTo>
                  <a:lnTo>
                    <a:pt x="80" y="1076"/>
                  </a:lnTo>
                  <a:lnTo>
                    <a:pt x="80" y="1074"/>
                  </a:lnTo>
                  <a:lnTo>
                    <a:pt x="78" y="1074"/>
                  </a:lnTo>
                  <a:lnTo>
                    <a:pt x="80" y="1066"/>
                  </a:lnTo>
                  <a:lnTo>
                    <a:pt x="82" y="1064"/>
                  </a:lnTo>
                  <a:lnTo>
                    <a:pt x="84" y="1064"/>
                  </a:lnTo>
                  <a:lnTo>
                    <a:pt x="86" y="1066"/>
                  </a:lnTo>
                  <a:lnTo>
                    <a:pt x="90" y="1068"/>
                  </a:lnTo>
                  <a:lnTo>
                    <a:pt x="92" y="1068"/>
                  </a:lnTo>
                  <a:lnTo>
                    <a:pt x="94" y="1068"/>
                  </a:lnTo>
                  <a:lnTo>
                    <a:pt x="96" y="1068"/>
                  </a:lnTo>
                  <a:lnTo>
                    <a:pt x="98" y="1066"/>
                  </a:lnTo>
                  <a:lnTo>
                    <a:pt x="100" y="1066"/>
                  </a:lnTo>
                  <a:lnTo>
                    <a:pt x="100" y="1064"/>
                  </a:lnTo>
                  <a:lnTo>
                    <a:pt x="102" y="1062"/>
                  </a:lnTo>
                  <a:lnTo>
                    <a:pt x="102" y="1058"/>
                  </a:lnTo>
                  <a:lnTo>
                    <a:pt x="104" y="1048"/>
                  </a:lnTo>
                  <a:lnTo>
                    <a:pt x="104" y="1038"/>
                  </a:lnTo>
                  <a:lnTo>
                    <a:pt x="106" y="1038"/>
                  </a:lnTo>
                  <a:lnTo>
                    <a:pt x="108" y="1040"/>
                  </a:lnTo>
                  <a:lnTo>
                    <a:pt x="110" y="1040"/>
                  </a:lnTo>
                  <a:lnTo>
                    <a:pt x="112" y="1038"/>
                  </a:lnTo>
                  <a:lnTo>
                    <a:pt x="112" y="1036"/>
                  </a:lnTo>
                  <a:lnTo>
                    <a:pt x="114" y="1028"/>
                  </a:lnTo>
                  <a:lnTo>
                    <a:pt x="116" y="1024"/>
                  </a:lnTo>
                  <a:lnTo>
                    <a:pt x="118" y="1020"/>
                  </a:lnTo>
                  <a:lnTo>
                    <a:pt x="118" y="1008"/>
                  </a:lnTo>
                  <a:lnTo>
                    <a:pt x="120" y="1000"/>
                  </a:lnTo>
                  <a:lnTo>
                    <a:pt x="122" y="998"/>
                  </a:lnTo>
                  <a:lnTo>
                    <a:pt x="124" y="996"/>
                  </a:lnTo>
                  <a:lnTo>
                    <a:pt x="130" y="992"/>
                  </a:lnTo>
                  <a:lnTo>
                    <a:pt x="130" y="990"/>
                  </a:lnTo>
                  <a:lnTo>
                    <a:pt x="130" y="988"/>
                  </a:lnTo>
                  <a:lnTo>
                    <a:pt x="130" y="986"/>
                  </a:lnTo>
                  <a:lnTo>
                    <a:pt x="128" y="984"/>
                  </a:lnTo>
                  <a:lnTo>
                    <a:pt x="126" y="980"/>
                  </a:lnTo>
                  <a:lnTo>
                    <a:pt x="126" y="978"/>
                  </a:lnTo>
                  <a:lnTo>
                    <a:pt x="128" y="976"/>
                  </a:lnTo>
                  <a:lnTo>
                    <a:pt x="130" y="976"/>
                  </a:lnTo>
                  <a:lnTo>
                    <a:pt x="134" y="974"/>
                  </a:lnTo>
                  <a:lnTo>
                    <a:pt x="136" y="966"/>
                  </a:lnTo>
                  <a:lnTo>
                    <a:pt x="138" y="962"/>
                  </a:lnTo>
                  <a:lnTo>
                    <a:pt x="138" y="960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4" y="956"/>
                  </a:lnTo>
                  <a:lnTo>
                    <a:pt x="146" y="954"/>
                  </a:lnTo>
                  <a:lnTo>
                    <a:pt x="148" y="952"/>
                  </a:lnTo>
                  <a:lnTo>
                    <a:pt x="148" y="948"/>
                  </a:lnTo>
                  <a:lnTo>
                    <a:pt x="148" y="946"/>
                  </a:lnTo>
                  <a:lnTo>
                    <a:pt x="148" y="944"/>
                  </a:lnTo>
                  <a:lnTo>
                    <a:pt x="148" y="942"/>
                  </a:lnTo>
                  <a:lnTo>
                    <a:pt x="152" y="936"/>
                  </a:lnTo>
                  <a:lnTo>
                    <a:pt x="152" y="934"/>
                  </a:lnTo>
                  <a:lnTo>
                    <a:pt x="154" y="930"/>
                  </a:lnTo>
                  <a:lnTo>
                    <a:pt x="154" y="928"/>
                  </a:lnTo>
                  <a:lnTo>
                    <a:pt x="156" y="920"/>
                  </a:lnTo>
                  <a:lnTo>
                    <a:pt x="154" y="918"/>
                  </a:lnTo>
                  <a:lnTo>
                    <a:pt x="154" y="916"/>
                  </a:lnTo>
                  <a:lnTo>
                    <a:pt x="156" y="914"/>
                  </a:lnTo>
                  <a:lnTo>
                    <a:pt x="158" y="912"/>
                  </a:lnTo>
                  <a:lnTo>
                    <a:pt x="158" y="908"/>
                  </a:lnTo>
                  <a:lnTo>
                    <a:pt x="158" y="904"/>
                  </a:lnTo>
                  <a:lnTo>
                    <a:pt x="156" y="904"/>
                  </a:lnTo>
                  <a:lnTo>
                    <a:pt x="156" y="902"/>
                  </a:lnTo>
                  <a:lnTo>
                    <a:pt x="156" y="900"/>
                  </a:lnTo>
                  <a:lnTo>
                    <a:pt x="162" y="890"/>
                  </a:lnTo>
                  <a:lnTo>
                    <a:pt x="164" y="890"/>
                  </a:lnTo>
                  <a:lnTo>
                    <a:pt x="164" y="888"/>
                  </a:lnTo>
                  <a:lnTo>
                    <a:pt x="166" y="884"/>
                  </a:lnTo>
                  <a:lnTo>
                    <a:pt x="168" y="880"/>
                  </a:lnTo>
                  <a:lnTo>
                    <a:pt x="170" y="880"/>
                  </a:lnTo>
                  <a:lnTo>
                    <a:pt x="172" y="878"/>
                  </a:lnTo>
                  <a:lnTo>
                    <a:pt x="174" y="876"/>
                  </a:lnTo>
                  <a:lnTo>
                    <a:pt x="174" y="874"/>
                  </a:lnTo>
                  <a:lnTo>
                    <a:pt x="174" y="872"/>
                  </a:lnTo>
                  <a:lnTo>
                    <a:pt x="174" y="870"/>
                  </a:lnTo>
                  <a:lnTo>
                    <a:pt x="174" y="866"/>
                  </a:lnTo>
                  <a:lnTo>
                    <a:pt x="172" y="858"/>
                  </a:lnTo>
                  <a:lnTo>
                    <a:pt x="172" y="852"/>
                  </a:lnTo>
                  <a:lnTo>
                    <a:pt x="170" y="844"/>
                  </a:lnTo>
                  <a:lnTo>
                    <a:pt x="172" y="844"/>
                  </a:lnTo>
                  <a:lnTo>
                    <a:pt x="178" y="838"/>
                  </a:lnTo>
                  <a:lnTo>
                    <a:pt x="180" y="834"/>
                  </a:lnTo>
                  <a:lnTo>
                    <a:pt x="182" y="826"/>
                  </a:lnTo>
                  <a:lnTo>
                    <a:pt x="184" y="822"/>
                  </a:lnTo>
                  <a:lnTo>
                    <a:pt x="184" y="820"/>
                  </a:lnTo>
                  <a:lnTo>
                    <a:pt x="186" y="818"/>
                  </a:lnTo>
                  <a:lnTo>
                    <a:pt x="186" y="812"/>
                  </a:lnTo>
                  <a:lnTo>
                    <a:pt x="186" y="806"/>
                  </a:lnTo>
                  <a:lnTo>
                    <a:pt x="184" y="800"/>
                  </a:lnTo>
                  <a:lnTo>
                    <a:pt x="182" y="798"/>
                  </a:lnTo>
                  <a:lnTo>
                    <a:pt x="180" y="794"/>
                  </a:lnTo>
                  <a:lnTo>
                    <a:pt x="180" y="790"/>
                  </a:lnTo>
                  <a:lnTo>
                    <a:pt x="182" y="786"/>
                  </a:lnTo>
                  <a:lnTo>
                    <a:pt x="182" y="784"/>
                  </a:lnTo>
                  <a:lnTo>
                    <a:pt x="182" y="780"/>
                  </a:lnTo>
                  <a:lnTo>
                    <a:pt x="182" y="772"/>
                  </a:lnTo>
                  <a:lnTo>
                    <a:pt x="182" y="770"/>
                  </a:lnTo>
                  <a:lnTo>
                    <a:pt x="180" y="768"/>
                  </a:lnTo>
                  <a:lnTo>
                    <a:pt x="180" y="764"/>
                  </a:lnTo>
                  <a:lnTo>
                    <a:pt x="180" y="760"/>
                  </a:lnTo>
                  <a:lnTo>
                    <a:pt x="176" y="748"/>
                  </a:lnTo>
                  <a:lnTo>
                    <a:pt x="174" y="740"/>
                  </a:lnTo>
                  <a:lnTo>
                    <a:pt x="174" y="738"/>
                  </a:lnTo>
                  <a:lnTo>
                    <a:pt x="174" y="736"/>
                  </a:lnTo>
                  <a:lnTo>
                    <a:pt x="174" y="734"/>
                  </a:lnTo>
                  <a:lnTo>
                    <a:pt x="176" y="730"/>
                  </a:lnTo>
                  <a:lnTo>
                    <a:pt x="174" y="728"/>
                  </a:lnTo>
                  <a:lnTo>
                    <a:pt x="174" y="726"/>
                  </a:lnTo>
                  <a:lnTo>
                    <a:pt x="174" y="724"/>
                  </a:lnTo>
                  <a:lnTo>
                    <a:pt x="172" y="718"/>
                  </a:lnTo>
                  <a:lnTo>
                    <a:pt x="172" y="712"/>
                  </a:lnTo>
                  <a:lnTo>
                    <a:pt x="172" y="706"/>
                  </a:lnTo>
                  <a:lnTo>
                    <a:pt x="172" y="704"/>
                  </a:lnTo>
                  <a:lnTo>
                    <a:pt x="174" y="694"/>
                  </a:lnTo>
                  <a:lnTo>
                    <a:pt x="176" y="690"/>
                  </a:lnTo>
                  <a:lnTo>
                    <a:pt x="178" y="690"/>
                  </a:lnTo>
                  <a:lnTo>
                    <a:pt x="178" y="692"/>
                  </a:lnTo>
                  <a:lnTo>
                    <a:pt x="180" y="692"/>
                  </a:lnTo>
                  <a:lnTo>
                    <a:pt x="182" y="690"/>
                  </a:lnTo>
                  <a:lnTo>
                    <a:pt x="188" y="686"/>
                  </a:lnTo>
                  <a:lnTo>
                    <a:pt x="190" y="674"/>
                  </a:lnTo>
                  <a:lnTo>
                    <a:pt x="194" y="672"/>
                  </a:lnTo>
                  <a:lnTo>
                    <a:pt x="192" y="668"/>
                  </a:lnTo>
                  <a:lnTo>
                    <a:pt x="192" y="666"/>
                  </a:lnTo>
                  <a:lnTo>
                    <a:pt x="190" y="662"/>
                  </a:lnTo>
                  <a:lnTo>
                    <a:pt x="190" y="652"/>
                  </a:lnTo>
                  <a:lnTo>
                    <a:pt x="192" y="648"/>
                  </a:lnTo>
                  <a:lnTo>
                    <a:pt x="192" y="646"/>
                  </a:lnTo>
                  <a:lnTo>
                    <a:pt x="192" y="644"/>
                  </a:lnTo>
                  <a:lnTo>
                    <a:pt x="190" y="640"/>
                  </a:lnTo>
                  <a:lnTo>
                    <a:pt x="190" y="638"/>
                  </a:lnTo>
                  <a:lnTo>
                    <a:pt x="188" y="638"/>
                  </a:lnTo>
                  <a:lnTo>
                    <a:pt x="186" y="636"/>
                  </a:lnTo>
                  <a:lnTo>
                    <a:pt x="186" y="634"/>
                  </a:lnTo>
                  <a:lnTo>
                    <a:pt x="184" y="634"/>
                  </a:lnTo>
                  <a:lnTo>
                    <a:pt x="184" y="632"/>
                  </a:lnTo>
                  <a:lnTo>
                    <a:pt x="184" y="628"/>
                  </a:lnTo>
                  <a:lnTo>
                    <a:pt x="184" y="620"/>
                  </a:lnTo>
                  <a:lnTo>
                    <a:pt x="184" y="616"/>
                  </a:lnTo>
                  <a:lnTo>
                    <a:pt x="184" y="614"/>
                  </a:lnTo>
                  <a:lnTo>
                    <a:pt x="186" y="614"/>
                  </a:lnTo>
                  <a:lnTo>
                    <a:pt x="190" y="610"/>
                  </a:lnTo>
                  <a:lnTo>
                    <a:pt x="194" y="604"/>
                  </a:lnTo>
                  <a:lnTo>
                    <a:pt x="194" y="602"/>
                  </a:lnTo>
                  <a:lnTo>
                    <a:pt x="194" y="598"/>
                  </a:lnTo>
                  <a:lnTo>
                    <a:pt x="196" y="596"/>
                  </a:lnTo>
                  <a:lnTo>
                    <a:pt x="196" y="594"/>
                  </a:lnTo>
                  <a:lnTo>
                    <a:pt x="200" y="586"/>
                  </a:lnTo>
                  <a:lnTo>
                    <a:pt x="200" y="580"/>
                  </a:lnTo>
                  <a:lnTo>
                    <a:pt x="200" y="576"/>
                  </a:lnTo>
                  <a:lnTo>
                    <a:pt x="202" y="566"/>
                  </a:lnTo>
                  <a:lnTo>
                    <a:pt x="204" y="560"/>
                  </a:lnTo>
                  <a:lnTo>
                    <a:pt x="204" y="556"/>
                  </a:lnTo>
                  <a:lnTo>
                    <a:pt x="206" y="554"/>
                  </a:lnTo>
                  <a:lnTo>
                    <a:pt x="208" y="550"/>
                  </a:lnTo>
                  <a:lnTo>
                    <a:pt x="210" y="550"/>
                  </a:lnTo>
                  <a:lnTo>
                    <a:pt x="212" y="548"/>
                  </a:lnTo>
                  <a:lnTo>
                    <a:pt x="214" y="540"/>
                  </a:lnTo>
                  <a:lnTo>
                    <a:pt x="214" y="538"/>
                  </a:lnTo>
                  <a:lnTo>
                    <a:pt x="212" y="532"/>
                  </a:lnTo>
                  <a:lnTo>
                    <a:pt x="210" y="524"/>
                  </a:lnTo>
                  <a:lnTo>
                    <a:pt x="210" y="522"/>
                  </a:lnTo>
                  <a:lnTo>
                    <a:pt x="212" y="522"/>
                  </a:lnTo>
                  <a:lnTo>
                    <a:pt x="212" y="520"/>
                  </a:lnTo>
                  <a:lnTo>
                    <a:pt x="216" y="520"/>
                  </a:lnTo>
                  <a:lnTo>
                    <a:pt x="218" y="516"/>
                  </a:lnTo>
                  <a:lnTo>
                    <a:pt x="220" y="514"/>
                  </a:lnTo>
                  <a:lnTo>
                    <a:pt x="220" y="510"/>
                  </a:lnTo>
                  <a:lnTo>
                    <a:pt x="218" y="508"/>
                  </a:lnTo>
                  <a:lnTo>
                    <a:pt x="218" y="506"/>
                  </a:lnTo>
                  <a:lnTo>
                    <a:pt x="222" y="498"/>
                  </a:lnTo>
                  <a:lnTo>
                    <a:pt x="224" y="492"/>
                  </a:lnTo>
                  <a:lnTo>
                    <a:pt x="226" y="490"/>
                  </a:lnTo>
                  <a:lnTo>
                    <a:pt x="226" y="484"/>
                  </a:lnTo>
                  <a:lnTo>
                    <a:pt x="228" y="476"/>
                  </a:lnTo>
                  <a:lnTo>
                    <a:pt x="226" y="470"/>
                  </a:lnTo>
                  <a:lnTo>
                    <a:pt x="226" y="468"/>
                  </a:lnTo>
                  <a:lnTo>
                    <a:pt x="226" y="464"/>
                  </a:lnTo>
                  <a:lnTo>
                    <a:pt x="228" y="462"/>
                  </a:lnTo>
                  <a:lnTo>
                    <a:pt x="228" y="460"/>
                  </a:lnTo>
                  <a:lnTo>
                    <a:pt x="226" y="456"/>
                  </a:lnTo>
                  <a:lnTo>
                    <a:pt x="226" y="454"/>
                  </a:lnTo>
                  <a:lnTo>
                    <a:pt x="224" y="450"/>
                  </a:lnTo>
                  <a:lnTo>
                    <a:pt x="226" y="444"/>
                  </a:lnTo>
                  <a:lnTo>
                    <a:pt x="226" y="442"/>
                  </a:lnTo>
                  <a:lnTo>
                    <a:pt x="228" y="436"/>
                  </a:lnTo>
                  <a:lnTo>
                    <a:pt x="232" y="432"/>
                  </a:lnTo>
                  <a:lnTo>
                    <a:pt x="234" y="430"/>
                  </a:lnTo>
                  <a:lnTo>
                    <a:pt x="238" y="426"/>
                  </a:lnTo>
                  <a:lnTo>
                    <a:pt x="238" y="420"/>
                  </a:lnTo>
                  <a:lnTo>
                    <a:pt x="238" y="416"/>
                  </a:lnTo>
                  <a:lnTo>
                    <a:pt x="238" y="414"/>
                  </a:lnTo>
                  <a:lnTo>
                    <a:pt x="236" y="410"/>
                  </a:lnTo>
                  <a:lnTo>
                    <a:pt x="236" y="404"/>
                  </a:lnTo>
                  <a:lnTo>
                    <a:pt x="234" y="400"/>
                  </a:lnTo>
                  <a:lnTo>
                    <a:pt x="232" y="396"/>
                  </a:lnTo>
                  <a:lnTo>
                    <a:pt x="230" y="390"/>
                  </a:lnTo>
                  <a:lnTo>
                    <a:pt x="232" y="382"/>
                  </a:lnTo>
                  <a:lnTo>
                    <a:pt x="234" y="374"/>
                  </a:lnTo>
                  <a:lnTo>
                    <a:pt x="234" y="370"/>
                  </a:lnTo>
                  <a:lnTo>
                    <a:pt x="232" y="370"/>
                  </a:lnTo>
                  <a:lnTo>
                    <a:pt x="234" y="364"/>
                  </a:lnTo>
                  <a:lnTo>
                    <a:pt x="234" y="362"/>
                  </a:lnTo>
                  <a:lnTo>
                    <a:pt x="236" y="360"/>
                  </a:lnTo>
                  <a:lnTo>
                    <a:pt x="236" y="356"/>
                  </a:lnTo>
                  <a:lnTo>
                    <a:pt x="236" y="354"/>
                  </a:lnTo>
                  <a:lnTo>
                    <a:pt x="234" y="352"/>
                  </a:lnTo>
                  <a:lnTo>
                    <a:pt x="234" y="350"/>
                  </a:lnTo>
                  <a:lnTo>
                    <a:pt x="236" y="344"/>
                  </a:lnTo>
                  <a:lnTo>
                    <a:pt x="236" y="340"/>
                  </a:lnTo>
                  <a:lnTo>
                    <a:pt x="238" y="338"/>
                  </a:lnTo>
                  <a:lnTo>
                    <a:pt x="240" y="338"/>
                  </a:lnTo>
                  <a:lnTo>
                    <a:pt x="240" y="336"/>
                  </a:lnTo>
                  <a:lnTo>
                    <a:pt x="242" y="334"/>
                  </a:lnTo>
                  <a:lnTo>
                    <a:pt x="242" y="332"/>
                  </a:lnTo>
                  <a:lnTo>
                    <a:pt x="242" y="330"/>
                  </a:lnTo>
                  <a:lnTo>
                    <a:pt x="242" y="328"/>
                  </a:lnTo>
                  <a:lnTo>
                    <a:pt x="242" y="326"/>
                  </a:lnTo>
                  <a:lnTo>
                    <a:pt x="240" y="324"/>
                  </a:lnTo>
                  <a:lnTo>
                    <a:pt x="238" y="322"/>
                  </a:lnTo>
                  <a:lnTo>
                    <a:pt x="236" y="322"/>
                  </a:lnTo>
                  <a:lnTo>
                    <a:pt x="234" y="326"/>
                  </a:lnTo>
                  <a:lnTo>
                    <a:pt x="230" y="324"/>
                  </a:lnTo>
                  <a:lnTo>
                    <a:pt x="230" y="318"/>
                  </a:lnTo>
                  <a:lnTo>
                    <a:pt x="232" y="310"/>
                  </a:lnTo>
                  <a:lnTo>
                    <a:pt x="232" y="302"/>
                  </a:lnTo>
                  <a:lnTo>
                    <a:pt x="234" y="300"/>
                  </a:lnTo>
                  <a:lnTo>
                    <a:pt x="236" y="298"/>
                  </a:lnTo>
                  <a:lnTo>
                    <a:pt x="236" y="302"/>
                  </a:lnTo>
                  <a:lnTo>
                    <a:pt x="238" y="302"/>
                  </a:lnTo>
                  <a:lnTo>
                    <a:pt x="240" y="302"/>
                  </a:lnTo>
                  <a:lnTo>
                    <a:pt x="242" y="302"/>
                  </a:lnTo>
                  <a:lnTo>
                    <a:pt x="244" y="300"/>
                  </a:lnTo>
                  <a:lnTo>
                    <a:pt x="244" y="298"/>
                  </a:lnTo>
                  <a:lnTo>
                    <a:pt x="246" y="294"/>
                  </a:lnTo>
                  <a:lnTo>
                    <a:pt x="248" y="292"/>
                  </a:lnTo>
                  <a:lnTo>
                    <a:pt x="246" y="290"/>
                  </a:lnTo>
                  <a:lnTo>
                    <a:pt x="246" y="288"/>
                  </a:lnTo>
                  <a:lnTo>
                    <a:pt x="246" y="286"/>
                  </a:lnTo>
                  <a:lnTo>
                    <a:pt x="248" y="278"/>
                  </a:lnTo>
                  <a:lnTo>
                    <a:pt x="248" y="268"/>
                  </a:lnTo>
                  <a:lnTo>
                    <a:pt x="250" y="260"/>
                  </a:lnTo>
                  <a:lnTo>
                    <a:pt x="250" y="252"/>
                  </a:lnTo>
                  <a:lnTo>
                    <a:pt x="252" y="248"/>
                  </a:lnTo>
                  <a:lnTo>
                    <a:pt x="252" y="246"/>
                  </a:lnTo>
                  <a:lnTo>
                    <a:pt x="256" y="230"/>
                  </a:lnTo>
                  <a:lnTo>
                    <a:pt x="254" y="228"/>
                  </a:lnTo>
                  <a:lnTo>
                    <a:pt x="254" y="226"/>
                  </a:lnTo>
                  <a:lnTo>
                    <a:pt x="256" y="224"/>
                  </a:lnTo>
                  <a:lnTo>
                    <a:pt x="258" y="220"/>
                  </a:lnTo>
                  <a:lnTo>
                    <a:pt x="258" y="218"/>
                  </a:lnTo>
                  <a:lnTo>
                    <a:pt x="260" y="212"/>
                  </a:lnTo>
                  <a:lnTo>
                    <a:pt x="258" y="210"/>
                  </a:lnTo>
                  <a:lnTo>
                    <a:pt x="258" y="208"/>
                  </a:lnTo>
                  <a:lnTo>
                    <a:pt x="260" y="206"/>
                  </a:lnTo>
                  <a:lnTo>
                    <a:pt x="258" y="194"/>
                  </a:lnTo>
                  <a:lnTo>
                    <a:pt x="256" y="192"/>
                  </a:lnTo>
                  <a:lnTo>
                    <a:pt x="254" y="190"/>
                  </a:lnTo>
                  <a:lnTo>
                    <a:pt x="256" y="188"/>
                  </a:lnTo>
                  <a:lnTo>
                    <a:pt x="256" y="186"/>
                  </a:lnTo>
                  <a:lnTo>
                    <a:pt x="256" y="182"/>
                  </a:lnTo>
                  <a:lnTo>
                    <a:pt x="256" y="180"/>
                  </a:lnTo>
                  <a:lnTo>
                    <a:pt x="254" y="180"/>
                  </a:lnTo>
                  <a:lnTo>
                    <a:pt x="252" y="178"/>
                  </a:lnTo>
                  <a:lnTo>
                    <a:pt x="254" y="156"/>
                  </a:lnTo>
                  <a:lnTo>
                    <a:pt x="256" y="152"/>
                  </a:lnTo>
                  <a:lnTo>
                    <a:pt x="256" y="150"/>
                  </a:lnTo>
                  <a:lnTo>
                    <a:pt x="256" y="146"/>
                  </a:lnTo>
                  <a:lnTo>
                    <a:pt x="256" y="142"/>
                  </a:lnTo>
                  <a:lnTo>
                    <a:pt x="256" y="140"/>
                  </a:lnTo>
                  <a:lnTo>
                    <a:pt x="258" y="140"/>
                  </a:lnTo>
                  <a:lnTo>
                    <a:pt x="258" y="136"/>
                  </a:lnTo>
                  <a:lnTo>
                    <a:pt x="258" y="134"/>
                  </a:lnTo>
                  <a:lnTo>
                    <a:pt x="256" y="130"/>
                  </a:lnTo>
                  <a:lnTo>
                    <a:pt x="256" y="124"/>
                  </a:lnTo>
                  <a:lnTo>
                    <a:pt x="254" y="116"/>
                  </a:lnTo>
                  <a:lnTo>
                    <a:pt x="254" y="108"/>
                  </a:lnTo>
                  <a:lnTo>
                    <a:pt x="252" y="100"/>
                  </a:lnTo>
                  <a:lnTo>
                    <a:pt x="250" y="98"/>
                  </a:lnTo>
                  <a:lnTo>
                    <a:pt x="250" y="92"/>
                  </a:lnTo>
                  <a:lnTo>
                    <a:pt x="250" y="90"/>
                  </a:lnTo>
                  <a:lnTo>
                    <a:pt x="250" y="88"/>
                  </a:lnTo>
                  <a:lnTo>
                    <a:pt x="248" y="76"/>
                  </a:lnTo>
                  <a:lnTo>
                    <a:pt x="248" y="74"/>
                  </a:lnTo>
                  <a:lnTo>
                    <a:pt x="246" y="72"/>
                  </a:lnTo>
                  <a:lnTo>
                    <a:pt x="246" y="62"/>
                  </a:lnTo>
                  <a:lnTo>
                    <a:pt x="246" y="58"/>
                  </a:lnTo>
                  <a:lnTo>
                    <a:pt x="248" y="50"/>
                  </a:lnTo>
                  <a:lnTo>
                    <a:pt x="246" y="48"/>
                  </a:lnTo>
                  <a:lnTo>
                    <a:pt x="246" y="46"/>
                  </a:lnTo>
                  <a:lnTo>
                    <a:pt x="244" y="46"/>
                  </a:lnTo>
                  <a:lnTo>
                    <a:pt x="244" y="44"/>
                  </a:lnTo>
                  <a:lnTo>
                    <a:pt x="246" y="44"/>
                  </a:lnTo>
                  <a:lnTo>
                    <a:pt x="248" y="44"/>
                  </a:lnTo>
                  <a:lnTo>
                    <a:pt x="252" y="44"/>
                  </a:lnTo>
                  <a:lnTo>
                    <a:pt x="254" y="44"/>
                  </a:lnTo>
                  <a:lnTo>
                    <a:pt x="256" y="44"/>
                  </a:lnTo>
                  <a:lnTo>
                    <a:pt x="258" y="44"/>
                  </a:lnTo>
                  <a:lnTo>
                    <a:pt x="264" y="42"/>
                  </a:lnTo>
                  <a:lnTo>
                    <a:pt x="266" y="40"/>
                  </a:lnTo>
                  <a:lnTo>
                    <a:pt x="272" y="36"/>
                  </a:lnTo>
                  <a:lnTo>
                    <a:pt x="272" y="34"/>
                  </a:lnTo>
                  <a:lnTo>
                    <a:pt x="276" y="28"/>
                  </a:lnTo>
                  <a:lnTo>
                    <a:pt x="276" y="26"/>
                  </a:lnTo>
                  <a:lnTo>
                    <a:pt x="278" y="24"/>
                  </a:lnTo>
                  <a:lnTo>
                    <a:pt x="274" y="16"/>
                  </a:lnTo>
                  <a:lnTo>
                    <a:pt x="274" y="14"/>
                  </a:lnTo>
                  <a:lnTo>
                    <a:pt x="272" y="14"/>
                  </a:lnTo>
                  <a:lnTo>
                    <a:pt x="274" y="10"/>
                  </a:lnTo>
                  <a:lnTo>
                    <a:pt x="274" y="8"/>
                  </a:lnTo>
                  <a:lnTo>
                    <a:pt x="278" y="8"/>
                  </a:lnTo>
                  <a:lnTo>
                    <a:pt x="280" y="8"/>
                  </a:lnTo>
                  <a:lnTo>
                    <a:pt x="282" y="8"/>
                  </a:lnTo>
                  <a:lnTo>
                    <a:pt x="284" y="6"/>
                  </a:lnTo>
                  <a:lnTo>
                    <a:pt x="292" y="0"/>
                  </a:lnTo>
                  <a:lnTo>
                    <a:pt x="292" y="6"/>
                  </a:lnTo>
                  <a:lnTo>
                    <a:pt x="298" y="12"/>
                  </a:lnTo>
                  <a:lnTo>
                    <a:pt x="300" y="14"/>
                  </a:lnTo>
                  <a:lnTo>
                    <a:pt x="300" y="16"/>
                  </a:lnTo>
                  <a:lnTo>
                    <a:pt x="300" y="18"/>
                  </a:lnTo>
                  <a:lnTo>
                    <a:pt x="300" y="22"/>
                  </a:lnTo>
                  <a:lnTo>
                    <a:pt x="300" y="24"/>
                  </a:lnTo>
                  <a:lnTo>
                    <a:pt x="300" y="26"/>
                  </a:lnTo>
                  <a:lnTo>
                    <a:pt x="302" y="26"/>
                  </a:lnTo>
                  <a:lnTo>
                    <a:pt x="310" y="28"/>
                  </a:lnTo>
                  <a:lnTo>
                    <a:pt x="314" y="28"/>
                  </a:lnTo>
                  <a:lnTo>
                    <a:pt x="314" y="30"/>
                  </a:lnTo>
                  <a:lnTo>
                    <a:pt x="314" y="32"/>
                  </a:lnTo>
                  <a:lnTo>
                    <a:pt x="312" y="32"/>
                  </a:lnTo>
                  <a:lnTo>
                    <a:pt x="310" y="34"/>
                  </a:lnTo>
                  <a:lnTo>
                    <a:pt x="310" y="36"/>
                  </a:lnTo>
                  <a:lnTo>
                    <a:pt x="312" y="38"/>
                  </a:lnTo>
                  <a:lnTo>
                    <a:pt x="312" y="40"/>
                  </a:lnTo>
                  <a:lnTo>
                    <a:pt x="312" y="42"/>
                  </a:lnTo>
                  <a:lnTo>
                    <a:pt x="314" y="48"/>
                  </a:lnTo>
                  <a:lnTo>
                    <a:pt x="314" y="50"/>
                  </a:lnTo>
                  <a:lnTo>
                    <a:pt x="316" y="50"/>
                  </a:lnTo>
                  <a:lnTo>
                    <a:pt x="316" y="52"/>
                  </a:lnTo>
                  <a:lnTo>
                    <a:pt x="316" y="54"/>
                  </a:lnTo>
                  <a:lnTo>
                    <a:pt x="316" y="58"/>
                  </a:lnTo>
                  <a:lnTo>
                    <a:pt x="316" y="60"/>
                  </a:lnTo>
                  <a:lnTo>
                    <a:pt x="316" y="62"/>
                  </a:lnTo>
                  <a:lnTo>
                    <a:pt x="318" y="68"/>
                  </a:lnTo>
                  <a:lnTo>
                    <a:pt x="318" y="74"/>
                  </a:lnTo>
                  <a:lnTo>
                    <a:pt x="320" y="76"/>
                  </a:lnTo>
                  <a:lnTo>
                    <a:pt x="318" y="80"/>
                  </a:lnTo>
                  <a:lnTo>
                    <a:pt x="322" y="84"/>
                  </a:lnTo>
                  <a:lnTo>
                    <a:pt x="328" y="90"/>
                  </a:lnTo>
                  <a:lnTo>
                    <a:pt x="330" y="92"/>
                  </a:lnTo>
                  <a:lnTo>
                    <a:pt x="334" y="96"/>
                  </a:lnTo>
                  <a:lnTo>
                    <a:pt x="336" y="98"/>
                  </a:lnTo>
                  <a:lnTo>
                    <a:pt x="338" y="98"/>
                  </a:lnTo>
                  <a:lnTo>
                    <a:pt x="340" y="98"/>
                  </a:lnTo>
                  <a:lnTo>
                    <a:pt x="342" y="102"/>
                  </a:lnTo>
                  <a:lnTo>
                    <a:pt x="346" y="104"/>
                  </a:lnTo>
                  <a:lnTo>
                    <a:pt x="340" y="110"/>
                  </a:lnTo>
                  <a:lnTo>
                    <a:pt x="338" y="112"/>
                  </a:lnTo>
                  <a:lnTo>
                    <a:pt x="336" y="114"/>
                  </a:lnTo>
                  <a:lnTo>
                    <a:pt x="332" y="120"/>
                  </a:lnTo>
                  <a:lnTo>
                    <a:pt x="332" y="122"/>
                  </a:lnTo>
                  <a:lnTo>
                    <a:pt x="336" y="124"/>
                  </a:lnTo>
                  <a:lnTo>
                    <a:pt x="338" y="126"/>
                  </a:lnTo>
                  <a:lnTo>
                    <a:pt x="340" y="132"/>
                  </a:lnTo>
                  <a:lnTo>
                    <a:pt x="338" y="138"/>
                  </a:lnTo>
                  <a:lnTo>
                    <a:pt x="336" y="138"/>
                  </a:lnTo>
                  <a:lnTo>
                    <a:pt x="334" y="138"/>
                  </a:lnTo>
                  <a:lnTo>
                    <a:pt x="328" y="140"/>
                  </a:lnTo>
                  <a:lnTo>
                    <a:pt x="326" y="142"/>
                  </a:lnTo>
                  <a:lnTo>
                    <a:pt x="328" y="142"/>
                  </a:lnTo>
                  <a:lnTo>
                    <a:pt x="330" y="148"/>
                  </a:lnTo>
                  <a:lnTo>
                    <a:pt x="330" y="154"/>
                  </a:lnTo>
                  <a:lnTo>
                    <a:pt x="328" y="156"/>
                  </a:lnTo>
                  <a:lnTo>
                    <a:pt x="328" y="158"/>
                  </a:lnTo>
                  <a:lnTo>
                    <a:pt x="328" y="160"/>
                  </a:lnTo>
                  <a:lnTo>
                    <a:pt x="330" y="160"/>
                  </a:lnTo>
                  <a:lnTo>
                    <a:pt x="332" y="162"/>
                  </a:lnTo>
                  <a:lnTo>
                    <a:pt x="334" y="164"/>
                  </a:lnTo>
                  <a:lnTo>
                    <a:pt x="336" y="166"/>
                  </a:lnTo>
                  <a:lnTo>
                    <a:pt x="338" y="166"/>
                  </a:lnTo>
                  <a:lnTo>
                    <a:pt x="342" y="168"/>
                  </a:lnTo>
                  <a:lnTo>
                    <a:pt x="342" y="170"/>
                  </a:lnTo>
                  <a:lnTo>
                    <a:pt x="342" y="172"/>
                  </a:lnTo>
                  <a:lnTo>
                    <a:pt x="340" y="172"/>
                  </a:lnTo>
                  <a:lnTo>
                    <a:pt x="338" y="176"/>
                  </a:lnTo>
                  <a:lnTo>
                    <a:pt x="338" y="182"/>
                  </a:lnTo>
                  <a:lnTo>
                    <a:pt x="338" y="184"/>
                  </a:lnTo>
                  <a:lnTo>
                    <a:pt x="338" y="186"/>
                  </a:lnTo>
                  <a:lnTo>
                    <a:pt x="340" y="186"/>
                  </a:lnTo>
                  <a:lnTo>
                    <a:pt x="342" y="186"/>
                  </a:lnTo>
                  <a:lnTo>
                    <a:pt x="344" y="186"/>
                  </a:lnTo>
                  <a:lnTo>
                    <a:pt x="354" y="202"/>
                  </a:lnTo>
                  <a:lnTo>
                    <a:pt x="356" y="206"/>
                  </a:lnTo>
                  <a:lnTo>
                    <a:pt x="356" y="224"/>
                  </a:lnTo>
                  <a:lnTo>
                    <a:pt x="358" y="226"/>
                  </a:lnTo>
                  <a:lnTo>
                    <a:pt x="360" y="228"/>
                  </a:lnTo>
                  <a:lnTo>
                    <a:pt x="360" y="230"/>
                  </a:lnTo>
                  <a:lnTo>
                    <a:pt x="360" y="234"/>
                  </a:lnTo>
                  <a:lnTo>
                    <a:pt x="362" y="236"/>
                  </a:lnTo>
                  <a:lnTo>
                    <a:pt x="362" y="238"/>
                  </a:lnTo>
                  <a:lnTo>
                    <a:pt x="360" y="240"/>
                  </a:lnTo>
                  <a:lnTo>
                    <a:pt x="360" y="242"/>
                  </a:lnTo>
                  <a:lnTo>
                    <a:pt x="366" y="246"/>
                  </a:lnTo>
                  <a:lnTo>
                    <a:pt x="366" y="248"/>
                  </a:lnTo>
                  <a:lnTo>
                    <a:pt x="368" y="250"/>
                  </a:lnTo>
                  <a:lnTo>
                    <a:pt x="370" y="258"/>
                  </a:lnTo>
                  <a:lnTo>
                    <a:pt x="370" y="260"/>
                  </a:lnTo>
                  <a:lnTo>
                    <a:pt x="368" y="260"/>
                  </a:lnTo>
                  <a:lnTo>
                    <a:pt x="370" y="268"/>
                  </a:lnTo>
                  <a:lnTo>
                    <a:pt x="372" y="274"/>
                  </a:lnTo>
                  <a:lnTo>
                    <a:pt x="370" y="282"/>
                  </a:lnTo>
                  <a:lnTo>
                    <a:pt x="372" y="290"/>
                  </a:lnTo>
                  <a:lnTo>
                    <a:pt x="374" y="292"/>
                  </a:lnTo>
                  <a:lnTo>
                    <a:pt x="386" y="294"/>
                  </a:lnTo>
                  <a:lnTo>
                    <a:pt x="390" y="292"/>
                  </a:lnTo>
                  <a:lnTo>
                    <a:pt x="398" y="290"/>
                  </a:lnTo>
                  <a:lnTo>
                    <a:pt x="406" y="290"/>
                  </a:lnTo>
                  <a:lnTo>
                    <a:pt x="410" y="294"/>
                  </a:lnTo>
                  <a:lnTo>
                    <a:pt x="416" y="300"/>
                  </a:lnTo>
                  <a:lnTo>
                    <a:pt x="412" y="306"/>
                  </a:lnTo>
                  <a:lnTo>
                    <a:pt x="410" y="312"/>
                  </a:lnTo>
                  <a:lnTo>
                    <a:pt x="408" y="318"/>
                  </a:lnTo>
                  <a:lnTo>
                    <a:pt x="408" y="320"/>
                  </a:lnTo>
                  <a:lnTo>
                    <a:pt x="406" y="328"/>
                  </a:lnTo>
                  <a:lnTo>
                    <a:pt x="402" y="338"/>
                  </a:lnTo>
                  <a:lnTo>
                    <a:pt x="396" y="354"/>
                  </a:lnTo>
                  <a:lnTo>
                    <a:pt x="384" y="360"/>
                  </a:lnTo>
                  <a:lnTo>
                    <a:pt x="382" y="360"/>
                  </a:lnTo>
                  <a:lnTo>
                    <a:pt x="368" y="366"/>
                  </a:lnTo>
                  <a:lnTo>
                    <a:pt x="354" y="374"/>
                  </a:lnTo>
                  <a:lnTo>
                    <a:pt x="350" y="374"/>
                  </a:lnTo>
                  <a:lnTo>
                    <a:pt x="348" y="376"/>
                  </a:lnTo>
                  <a:lnTo>
                    <a:pt x="346" y="380"/>
                  </a:lnTo>
                  <a:lnTo>
                    <a:pt x="344" y="378"/>
                  </a:lnTo>
                  <a:lnTo>
                    <a:pt x="342" y="380"/>
                  </a:lnTo>
                  <a:lnTo>
                    <a:pt x="338" y="386"/>
                  </a:lnTo>
                  <a:lnTo>
                    <a:pt x="336" y="388"/>
                  </a:lnTo>
                  <a:lnTo>
                    <a:pt x="336" y="392"/>
                  </a:lnTo>
                  <a:lnTo>
                    <a:pt x="334" y="394"/>
                  </a:lnTo>
                  <a:lnTo>
                    <a:pt x="334" y="396"/>
                  </a:lnTo>
                  <a:lnTo>
                    <a:pt x="334" y="400"/>
                  </a:lnTo>
                  <a:lnTo>
                    <a:pt x="336" y="400"/>
                  </a:lnTo>
                  <a:lnTo>
                    <a:pt x="344" y="412"/>
                  </a:lnTo>
                  <a:lnTo>
                    <a:pt x="340" y="414"/>
                  </a:lnTo>
                  <a:lnTo>
                    <a:pt x="336" y="416"/>
                  </a:lnTo>
                  <a:lnTo>
                    <a:pt x="336" y="418"/>
                  </a:lnTo>
                  <a:lnTo>
                    <a:pt x="336" y="420"/>
                  </a:lnTo>
                  <a:lnTo>
                    <a:pt x="334" y="422"/>
                  </a:lnTo>
                  <a:lnTo>
                    <a:pt x="334" y="424"/>
                  </a:lnTo>
                  <a:lnTo>
                    <a:pt x="332" y="426"/>
                  </a:lnTo>
                  <a:lnTo>
                    <a:pt x="332" y="430"/>
                  </a:lnTo>
                  <a:lnTo>
                    <a:pt x="332" y="432"/>
                  </a:lnTo>
                  <a:lnTo>
                    <a:pt x="332" y="434"/>
                  </a:lnTo>
                  <a:lnTo>
                    <a:pt x="334" y="440"/>
                  </a:lnTo>
                  <a:lnTo>
                    <a:pt x="336" y="446"/>
                  </a:lnTo>
                  <a:lnTo>
                    <a:pt x="336" y="448"/>
                  </a:lnTo>
                  <a:lnTo>
                    <a:pt x="338" y="456"/>
                  </a:lnTo>
                  <a:lnTo>
                    <a:pt x="340" y="470"/>
                  </a:lnTo>
                  <a:lnTo>
                    <a:pt x="338" y="470"/>
                  </a:lnTo>
                  <a:lnTo>
                    <a:pt x="336" y="474"/>
                  </a:lnTo>
                  <a:lnTo>
                    <a:pt x="334" y="474"/>
                  </a:lnTo>
                  <a:lnTo>
                    <a:pt x="334" y="476"/>
                  </a:lnTo>
                  <a:lnTo>
                    <a:pt x="332" y="478"/>
                  </a:lnTo>
                  <a:lnTo>
                    <a:pt x="332" y="480"/>
                  </a:lnTo>
                  <a:lnTo>
                    <a:pt x="332" y="482"/>
                  </a:lnTo>
                  <a:lnTo>
                    <a:pt x="330" y="484"/>
                  </a:lnTo>
                  <a:lnTo>
                    <a:pt x="330" y="486"/>
                  </a:lnTo>
                  <a:lnTo>
                    <a:pt x="330" y="488"/>
                  </a:lnTo>
                  <a:lnTo>
                    <a:pt x="332" y="488"/>
                  </a:lnTo>
                  <a:lnTo>
                    <a:pt x="332" y="490"/>
                  </a:lnTo>
                  <a:lnTo>
                    <a:pt x="332" y="492"/>
                  </a:lnTo>
                  <a:lnTo>
                    <a:pt x="336" y="496"/>
                  </a:lnTo>
                  <a:lnTo>
                    <a:pt x="336" y="498"/>
                  </a:lnTo>
                  <a:lnTo>
                    <a:pt x="338" y="498"/>
                  </a:lnTo>
                  <a:lnTo>
                    <a:pt x="338" y="500"/>
                  </a:lnTo>
                  <a:lnTo>
                    <a:pt x="344" y="508"/>
                  </a:lnTo>
                  <a:lnTo>
                    <a:pt x="344" y="510"/>
                  </a:lnTo>
                  <a:lnTo>
                    <a:pt x="342" y="516"/>
                  </a:lnTo>
                  <a:lnTo>
                    <a:pt x="342" y="518"/>
                  </a:lnTo>
                  <a:lnTo>
                    <a:pt x="340" y="518"/>
                  </a:lnTo>
                  <a:lnTo>
                    <a:pt x="338" y="518"/>
                  </a:lnTo>
                  <a:lnTo>
                    <a:pt x="326" y="522"/>
                  </a:lnTo>
                  <a:lnTo>
                    <a:pt x="324" y="522"/>
                  </a:lnTo>
                  <a:lnTo>
                    <a:pt x="322" y="520"/>
                  </a:lnTo>
                  <a:lnTo>
                    <a:pt x="320" y="520"/>
                  </a:lnTo>
                  <a:lnTo>
                    <a:pt x="318" y="522"/>
                  </a:lnTo>
                  <a:lnTo>
                    <a:pt x="318" y="524"/>
                  </a:lnTo>
                  <a:lnTo>
                    <a:pt x="316" y="526"/>
                  </a:lnTo>
                  <a:lnTo>
                    <a:pt x="316" y="528"/>
                  </a:lnTo>
                  <a:lnTo>
                    <a:pt x="316" y="530"/>
                  </a:lnTo>
                  <a:lnTo>
                    <a:pt x="314" y="534"/>
                  </a:lnTo>
                  <a:lnTo>
                    <a:pt x="306" y="548"/>
                  </a:lnTo>
                  <a:lnTo>
                    <a:pt x="304" y="548"/>
                  </a:lnTo>
                  <a:lnTo>
                    <a:pt x="302" y="554"/>
                  </a:lnTo>
                  <a:lnTo>
                    <a:pt x="302" y="556"/>
                  </a:lnTo>
                  <a:lnTo>
                    <a:pt x="300" y="564"/>
                  </a:lnTo>
                  <a:lnTo>
                    <a:pt x="300" y="566"/>
                  </a:lnTo>
                  <a:lnTo>
                    <a:pt x="298" y="568"/>
                  </a:lnTo>
                  <a:lnTo>
                    <a:pt x="296" y="568"/>
                  </a:lnTo>
                  <a:lnTo>
                    <a:pt x="294" y="568"/>
                  </a:lnTo>
                  <a:lnTo>
                    <a:pt x="292" y="572"/>
                  </a:lnTo>
                  <a:lnTo>
                    <a:pt x="292" y="574"/>
                  </a:lnTo>
                  <a:lnTo>
                    <a:pt x="290" y="576"/>
                  </a:lnTo>
                  <a:lnTo>
                    <a:pt x="288" y="578"/>
                  </a:lnTo>
                  <a:lnTo>
                    <a:pt x="280" y="586"/>
                  </a:lnTo>
                  <a:lnTo>
                    <a:pt x="278" y="588"/>
                  </a:lnTo>
                  <a:lnTo>
                    <a:pt x="276" y="590"/>
                  </a:lnTo>
                  <a:lnTo>
                    <a:pt x="274" y="598"/>
                  </a:lnTo>
                  <a:lnTo>
                    <a:pt x="274" y="600"/>
                  </a:lnTo>
                  <a:lnTo>
                    <a:pt x="272" y="600"/>
                  </a:lnTo>
                  <a:lnTo>
                    <a:pt x="270" y="604"/>
                  </a:lnTo>
                  <a:lnTo>
                    <a:pt x="270" y="608"/>
                  </a:lnTo>
                  <a:lnTo>
                    <a:pt x="272" y="610"/>
                  </a:lnTo>
                  <a:lnTo>
                    <a:pt x="272" y="612"/>
                  </a:lnTo>
                  <a:lnTo>
                    <a:pt x="270" y="616"/>
                  </a:lnTo>
                  <a:lnTo>
                    <a:pt x="268" y="624"/>
                  </a:lnTo>
                  <a:lnTo>
                    <a:pt x="268" y="626"/>
                  </a:lnTo>
                  <a:lnTo>
                    <a:pt x="268" y="628"/>
                  </a:lnTo>
                  <a:lnTo>
                    <a:pt x="266" y="630"/>
                  </a:lnTo>
                  <a:lnTo>
                    <a:pt x="262" y="630"/>
                  </a:lnTo>
                  <a:lnTo>
                    <a:pt x="260" y="632"/>
                  </a:lnTo>
                  <a:lnTo>
                    <a:pt x="256" y="638"/>
                  </a:lnTo>
                  <a:lnTo>
                    <a:pt x="256" y="642"/>
                  </a:lnTo>
                  <a:lnTo>
                    <a:pt x="258" y="646"/>
                  </a:lnTo>
                  <a:lnTo>
                    <a:pt x="260" y="652"/>
                  </a:lnTo>
                  <a:lnTo>
                    <a:pt x="260" y="654"/>
                  </a:lnTo>
                  <a:lnTo>
                    <a:pt x="260" y="656"/>
                  </a:lnTo>
                  <a:lnTo>
                    <a:pt x="258" y="658"/>
                  </a:lnTo>
                  <a:lnTo>
                    <a:pt x="260" y="660"/>
                  </a:lnTo>
                  <a:lnTo>
                    <a:pt x="262" y="662"/>
                  </a:lnTo>
                  <a:lnTo>
                    <a:pt x="262" y="666"/>
                  </a:lnTo>
                  <a:lnTo>
                    <a:pt x="262" y="672"/>
                  </a:lnTo>
                  <a:lnTo>
                    <a:pt x="262" y="676"/>
                  </a:lnTo>
                  <a:lnTo>
                    <a:pt x="260" y="676"/>
                  </a:lnTo>
                  <a:lnTo>
                    <a:pt x="262" y="682"/>
                  </a:lnTo>
                  <a:lnTo>
                    <a:pt x="264" y="684"/>
                  </a:lnTo>
                  <a:lnTo>
                    <a:pt x="264" y="688"/>
                  </a:lnTo>
                  <a:lnTo>
                    <a:pt x="262" y="694"/>
                  </a:lnTo>
                  <a:lnTo>
                    <a:pt x="260" y="696"/>
                  </a:lnTo>
                  <a:lnTo>
                    <a:pt x="256" y="698"/>
                  </a:lnTo>
                  <a:lnTo>
                    <a:pt x="254" y="698"/>
                  </a:lnTo>
                  <a:lnTo>
                    <a:pt x="250" y="700"/>
                  </a:lnTo>
                  <a:lnTo>
                    <a:pt x="246" y="706"/>
                  </a:lnTo>
                  <a:lnTo>
                    <a:pt x="244" y="710"/>
                  </a:lnTo>
                  <a:lnTo>
                    <a:pt x="244" y="714"/>
                  </a:lnTo>
                  <a:lnTo>
                    <a:pt x="240" y="722"/>
                  </a:lnTo>
                  <a:lnTo>
                    <a:pt x="240" y="724"/>
                  </a:lnTo>
                  <a:lnTo>
                    <a:pt x="240" y="726"/>
                  </a:lnTo>
                  <a:lnTo>
                    <a:pt x="240" y="728"/>
                  </a:lnTo>
                  <a:lnTo>
                    <a:pt x="242" y="730"/>
                  </a:lnTo>
                  <a:lnTo>
                    <a:pt x="242" y="732"/>
                  </a:lnTo>
                  <a:lnTo>
                    <a:pt x="238" y="736"/>
                  </a:lnTo>
                  <a:lnTo>
                    <a:pt x="234" y="736"/>
                  </a:lnTo>
                  <a:lnTo>
                    <a:pt x="230" y="740"/>
                  </a:lnTo>
                  <a:lnTo>
                    <a:pt x="228" y="748"/>
                  </a:lnTo>
                  <a:lnTo>
                    <a:pt x="228" y="756"/>
                  </a:lnTo>
                  <a:lnTo>
                    <a:pt x="226" y="760"/>
                  </a:lnTo>
                  <a:lnTo>
                    <a:pt x="226" y="762"/>
                  </a:lnTo>
                  <a:lnTo>
                    <a:pt x="232" y="776"/>
                  </a:lnTo>
                  <a:lnTo>
                    <a:pt x="234" y="776"/>
                  </a:lnTo>
                  <a:lnTo>
                    <a:pt x="234" y="778"/>
                  </a:lnTo>
                  <a:lnTo>
                    <a:pt x="236" y="780"/>
                  </a:lnTo>
                  <a:lnTo>
                    <a:pt x="238" y="780"/>
                  </a:lnTo>
                  <a:lnTo>
                    <a:pt x="240" y="778"/>
                  </a:lnTo>
                  <a:lnTo>
                    <a:pt x="242" y="780"/>
                  </a:lnTo>
                  <a:lnTo>
                    <a:pt x="244" y="782"/>
                  </a:lnTo>
                  <a:lnTo>
                    <a:pt x="242" y="788"/>
                  </a:lnTo>
                  <a:lnTo>
                    <a:pt x="240" y="788"/>
                  </a:lnTo>
                  <a:lnTo>
                    <a:pt x="238" y="790"/>
                  </a:lnTo>
                  <a:lnTo>
                    <a:pt x="240" y="798"/>
                  </a:lnTo>
                  <a:lnTo>
                    <a:pt x="240" y="800"/>
                  </a:lnTo>
                  <a:lnTo>
                    <a:pt x="244" y="802"/>
                  </a:lnTo>
                  <a:lnTo>
                    <a:pt x="244" y="804"/>
                  </a:lnTo>
                  <a:lnTo>
                    <a:pt x="246" y="810"/>
                  </a:lnTo>
                  <a:lnTo>
                    <a:pt x="246" y="812"/>
                  </a:lnTo>
                  <a:lnTo>
                    <a:pt x="246" y="814"/>
                  </a:lnTo>
                  <a:lnTo>
                    <a:pt x="246" y="816"/>
                  </a:lnTo>
                  <a:lnTo>
                    <a:pt x="246" y="818"/>
                  </a:lnTo>
                  <a:lnTo>
                    <a:pt x="246" y="826"/>
                  </a:lnTo>
                  <a:lnTo>
                    <a:pt x="252" y="832"/>
                  </a:lnTo>
                  <a:lnTo>
                    <a:pt x="254" y="832"/>
                  </a:lnTo>
                  <a:lnTo>
                    <a:pt x="252" y="836"/>
                  </a:lnTo>
                  <a:lnTo>
                    <a:pt x="250" y="840"/>
                  </a:lnTo>
                  <a:lnTo>
                    <a:pt x="248" y="842"/>
                  </a:lnTo>
                  <a:lnTo>
                    <a:pt x="250" y="844"/>
                  </a:lnTo>
                  <a:lnTo>
                    <a:pt x="250" y="846"/>
                  </a:lnTo>
                  <a:lnTo>
                    <a:pt x="248" y="848"/>
                  </a:lnTo>
                  <a:lnTo>
                    <a:pt x="248" y="850"/>
                  </a:lnTo>
                  <a:lnTo>
                    <a:pt x="254" y="854"/>
                  </a:lnTo>
                  <a:lnTo>
                    <a:pt x="256" y="854"/>
                  </a:lnTo>
                  <a:lnTo>
                    <a:pt x="258" y="852"/>
                  </a:lnTo>
                  <a:lnTo>
                    <a:pt x="260" y="852"/>
                  </a:lnTo>
                  <a:lnTo>
                    <a:pt x="262" y="854"/>
                  </a:lnTo>
                  <a:lnTo>
                    <a:pt x="264" y="860"/>
                  </a:lnTo>
                  <a:lnTo>
                    <a:pt x="264" y="862"/>
                  </a:lnTo>
                  <a:lnTo>
                    <a:pt x="262" y="862"/>
                  </a:lnTo>
                  <a:lnTo>
                    <a:pt x="260" y="870"/>
                  </a:lnTo>
                  <a:lnTo>
                    <a:pt x="258" y="882"/>
                  </a:lnTo>
                  <a:lnTo>
                    <a:pt x="258" y="884"/>
                  </a:lnTo>
                  <a:lnTo>
                    <a:pt x="258" y="888"/>
                  </a:lnTo>
                  <a:lnTo>
                    <a:pt x="260" y="898"/>
                  </a:lnTo>
                  <a:lnTo>
                    <a:pt x="262" y="906"/>
                  </a:lnTo>
                  <a:lnTo>
                    <a:pt x="258" y="908"/>
                  </a:lnTo>
                  <a:lnTo>
                    <a:pt x="256" y="908"/>
                  </a:lnTo>
                  <a:lnTo>
                    <a:pt x="254" y="908"/>
                  </a:lnTo>
                  <a:lnTo>
                    <a:pt x="252" y="908"/>
                  </a:lnTo>
                  <a:lnTo>
                    <a:pt x="250" y="908"/>
                  </a:lnTo>
                  <a:lnTo>
                    <a:pt x="250" y="912"/>
                  </a:lnTo>
                  <a:lnTo>
                    <a:pt x="250" y="914"/>
                  </a:lnTo>
                  <a:lnTo>
                    <a:pt x="244" y="922"/>
                  </a:lnTo>
                  <a:lnTo>
                    <a:pt x="242" y="928"/>
                  </a:lnTo>
                  <a:lnTo>
                    <a:pt x="238" y="940"/>
                  </a:lnTo>
                  <a:lnTo>
                    <a:pt x="234" y="946"/>
                  </a:lnTo>
                  <a:lnTo>
                    <a:pt x="234" y="948"/>
                  </a:lnTo>
                  <a:lnTo>
                    <a:pt x="234" y="950"/>
                  </a:lnTo>
                  <a:lnTo>
                    <a:pt x="234" y="952"/>
                  </a:lnTo>
                  <a:lnTo>
                    <a:pt x="234" y="956"/>
                  </a:lnTo>
                  <a:lnTo>
                    <a:pt x="230" y="958"/>
                  </a:lnTo>
                  <a:lnTo>
                    <a:pt x="228" y="958"/>
                  </a:lnTo>
                  <a:lnTo>
                    <a:pt x="226" y="958"/>
                  </a:lnTo>
                  <a:lnTo>
                    <a:pt x="226" y="960"/>
                  </a:lnTo>
                  <a:lnTo>
                    <a:pt x="226" y="962"/>
                  </a:lnTo>
                  <a:lnTo>
                    <a:pt x="226" y="964"/>
                  </a:lnTo>
                  <a:lnTo>
                    <a:pt x="232" y="966"/>
                  </a:lnTo>
                  <a:lnTo>
                    <a:pt x="232" y="976"/>
                  </a:lnTo>
                  <a:lnTo>
                    <a:pt x="232" y="980"/>
                  </a:lnTo>
                  <a:lnTo>
                    <a:pt x="232" y="982"/>
                  </a:lnTo>
                  <a:lnTo>
                    <a:pt x="232" y="984"/>
                  </a:lnTo>
                  <a:lnTo>
                    <a:pt x="234" y="986"/>
                  </a:lnTo>
                  <a:lnTo>
                    <a:pt x="234" y="992"/>
                  </a:lnTo>
                  <a:lnTo>
                    <a:pt x="232" y="994"/>
                  </a:lnTo>
                  <a:lnTo>
                    <a:pt x="232" y="996"/>
                  </a:lnTo>
                  <a:lnTo>
                    <a:pt x="232" y="1000"/>
                  </a:lnTo>
                  <a:lnTo>
                    <a:pt x="232" y="1006"/>
                  </a:lnTo>
                  <a:lnTo>
                    <a:pt x="230" y="1008"/>
                  </a:lnTo>
                  <a:lnTo>
                    <a:pt x="230" y="1010"/>
                  </a:lnTo>
                  <a:lnTo>
                    <a:pt x="228" y="1010"/>
                  </a:lnTo>
                  <a:lnTo>
                    <a:pt x="226" y="1010"/>
                  </a:lnTo>
                  <a:lnTo>
                    <a:pt x="224" y="1010"/>
                  </a:lnTo>
                  <a:lnTo>
                    <a:pt x="218" y="1016"/>
                  </a:lnTo>
                  <a:lnTo>
                    <a:pt x="216" y="1020"/>
                  </a:lnTo>
                  <a:lnTo>
                    <a:pt x="218" y="1022"/>
                  </a:lnTo>
                  <a:lnTo>
                    <a:pt x="218" y="1024"/>
                  </a:lnTo>
                  <a:lnTo>
                    <a:pt x="206" y="1028"/>
                  </a:lnTo>
                  <a:lnTo>
                    <a:pt x="204" y="1028"/>
                  </a:lnTo>
                  <a:lnTo>
                    <a:pt x="204" y="1026"/>
                  </a:lnTo>
                  <a:lnTo>
                    <a:pt x="202" y="1028"/>
                  </a:lnTo>
                  <a:lnTo>
                    <a:pt x="202" y="1030"/>
                  </a:lnTo>
                  <a:lnTo>
                    <a:pt x="198" y="1042"/>
                  </a:lnTo>
                  <a:lnTo>
                    <a:pt x="194" y="1046"/>
                  </a:lnTo>
                  <a:lnTo>
                    <a:pt x="196" y="1054"/>
                  </a:lnTo>
                  <a:lnTo>
                    <a:pt x="198" y="1062"/>
                  </a:lnTo>
                  <a:lnTo>
                    <a:pt x="198" y="1066"/>
                  </a:lnTo>
                  <a:lnTo>
                    <a:pt x="196" y="1068"/>
                  </a:lnTo>
                  <a:lnTo>
                    <a:pt x="194" y="1070"/>
                  </a:lnTo>
                  <a:lnTo>
                    <a:pt x="194" y="1072"/>
                  </a:lnTo>
                  <a:lnTo>
                    <a:pt x="196" y="1076"/>
                  </a:lnTo>
                  <a:lnTo>
                    <a:pt x="198" y="1078"/>
                  </a:lnTo>
                  <a:lnTo>
                    <a:pt x="198" y="1080"/>
                  </a:lnTo>
                  <a:lnTo>
                    <a:pt x="198" y="1088"/>
                  </a:lnTo>
                  <a:lnTo>
                    <a:pt x="196" y="1088"/>
                  </a:lnTo>
                  <a:lnTo>
                    <a:pt x="194" y="1090"/>
                  </a:lnTo>
                  <a:lnTo>
                    <a:pt x="194" y="1092"/>
                  </a:lnTo>
                  <a:lnTo>
                    <a:pt x="196" y="1096"/>
                  </a:lnTo>
                  <a:lnTo>
                    <a:pt x="196" y="1098"/>
                  </a:lnTo>
                  <a:lnTo>
                    <a:pt x="196" y="1100"/>
                  </a:lnTo>
                  <a:lnTo>
                    <a:pt x="198" y="1100"/>
                  </a:lnTo>
                  <a:lnTo>
                    <a:pt x="198" y="1104"/>
                  </a:lnTo>
                  <a:lnTo>
                    <a:pt x="202" y="1112"/>
                  </a:lnTo>
                  <a:lnTo>
                    <a:pt x="202" y="1118"/>
                  </a:lnTo>
                  <a:lnTo>
                    <a:pt x="202" y="1120"/>
                  </a:lnTo>
                  <a:lnTo>
                    <a:pt x="202" y="1122"/>
                  </a:lnTo>
                  <a:lnTo>
                    <a:pt x="202" y="1126"/>
                  </a:lnTo>
                  <a:lnTo>
                    <a:pt x="204" y="1132"/>
                  </a:lnTo>
                  <a:lnTo>
                    <a:pt x="206" y="1134"/>
                  </a:lnTo>
                  <a:lnTo>
                    <a:pt x="206" y="1136"/>
                  </a:lnTo>
                  <a:lnTo>
                    <a:pt x="208" y="1136"/>
                  </a:lnTo>
                  <a:lnTo>
                    <a:pt x="210" y="1138"/>
                  </a:lnTo>
                  <a:lnTo>
                    <a:pt x="210" y="1140"/>
                  </a:lnTo>
                  <a:lnTo>
                    <a:pt x="210" y="1142"/>
                  </a:lnTo>
                  <a:lnTo>
                    <a:pt x="208" y="1148"/>
                  </a:lnTo>
                  <a:lnTo>
                    <a:pt x="206" y="1150"/>
                  </a:lnTo>
                  <a:lnTo>
                    <a:pt x="202" y="1150"/>
                  </a:lnTo>
                  <a:lnTo>
                    <a:pt x="200" y="1150"/>
                  </a:lnTo>
                  <a:lnTo>
                    <a:pt x="198" y="1150"/>
                  </a:lnTo>
                  <a:lnTo>
                    <a:pt x="190" y="1154"/>
                  </a:lnTo>
                  <a:lnTo>
                    <a:pt x="188" y="1156"/>
                  </a:lnTo>
                  <a:lnTo>
                    <a:pt x="186" y="1158"/>
                  </a:lnTo>
                  <a:lnTo>
                    <a:pt x="184" y="1158"/>
                  </a:lnTo>
                  <a:lnTo>
                    <a:pt x="184" y="1160"/>
                  </a:lnTo>
                  <a:lnTo>
                    <a:pt x="184" y="1162"/>
                  </a:lnTo>
                  <a:lnTo>
                    <a:pt x="182" y="1164"/>
                  </a:lnTo>
                  <a:lnTo>
                    <a:pt x="182" y="1166"/>
                  </a:lnTo>
                  <a:lnTo>
                    <a:pt x="184" y="1166"/>
                  </a:lnTo>
                  <a:lnTo>
                    <a:pt x="184" y="1170"/>
                  </a:lnTo>
                  <a:lnTo>
                    <a:pt x="184" y="1176"/>
                  </a:lnTo>
                  <a:lnTo>
                    <a:pt x="184" y="1182"/>
                  </a:lnTo>
                  <a:lnTo>
                    <a:pt x="182" y="1186"/>
                  </a:lnTo>
                  <a:lnTo>
                    <a:pt x="180" y="1194"/>
                  </a:lnTo>
                  <a:lnTo>
                    <a:pt x="180" y="1196"/>
                  </a:lnTo>
                  <a:lnTo>
                    <a:pt x="178" y="1198"/>
                  </a:lnTo>
                  <a:lnTo>
                    <a:pt x="174" y="1198"/>
                  </a:lnTo>
                  <a:lnTo>
                    <a:pt x="172" y="1196"/>
                  </a:lnTo>
                  <a:lnTo>
                    <a:pt x="170" y="1194"/>
                  </a:lnTo>
                  <a:lnTo>
                    <a:pt x="170" y="1198"/>
                  </a:lnTo>
                  <a:lnTo>
                    <a:pt x="170" y="1204"/>
                  </a:lnTo>
                  <a:lnTo>
                    <a:pt x="170" y="1210"/>
                  </a:lnTo>
                  <a:lnTo>
                    <a:pt x="172" y="1216"/>
                  </a:lnTo>
                  <a:lnTo>
                    <a:pt x="170" y="1220"/>
                  </a:lnTo>
                  <a:lnTo>
                    <a:pt x="168" y="1222"/>
                  </a:lnTo>
                  <a:lnTo>
                    <a:pt x="166" y="1224"/>
                  </a:lnTo>
                  <a:lnTo>
                    <a:pt x="164" y="1228"/>
                  </a:lnTo>
                  <a:lnTo>
                    <a:pt x="166" y="1230"/>
                  </a:lnTo>
                  <a:lnTo>
                    <a:pt x="170" y="1234"/>
                  </a:lnTo>
                  <a:lnTo>
                    <a:pt x="170" y="1232"/>
                  </a:lnTo>
                  <a:lnTo>
                    <a:pt x="170" y="1234"/>
                  </a:lnTo>
                  <a:lnTo>
                    <a:pt x="170" y="1236"/>
                  </a:lnTo>
                  <a:lnTo>
                    <a:pt x="170" y="1240"/>
                  </a:lnTo>
                  <a:lnTo>
                    <a:pt x="168" y="1240"/>
                  </a:lnTo>
                  <a:lnTo>
                    <a:pt x="166" y="1240"/>
                  </a:lnTo>
                  <a:lnTo>
                    <a:pt x="164" y="1246"/>
                  </a:lnTo>
                  <a:lnTo>
                    <a:pt x="164" y="1248"/>
                  </a:lnTo>
                  <a:lnTo>
                    <a:pt x="164" y="1250"/>
                  </a:lnTo>
                  <a:lnTo>
                    <a:pt x="162" y="1252"/>
                  </a:lnTo>
                  <a:lnTo>
                    <a:pt x="162" y="1254"/>
                  </a:lnTo>
                  <a:lnTo>
                    <a:pt x="160" y="1254"/>
                  </a:lnTo>
                  <a:lnTo>
                    <a:pt x="160" y="1256"/>
                  </a:lnTo>
                  <a:lnTo>
                    <a:pt x="158" y="1258"/>
                  </a:lnTo>
                  <a:lnTo>
                    <a:pt x="160" y="1260"/>
                  </a:lnTo>
                  <a:lnTo>
                    <a:pt x="162" y="1266"/>
                  </a:lnTo>
                  <a:lnTo>
                    <a:pt x="164" y="1270"/>
                  </a:lnTo>
                  <a:lnTo>
                    <a:pt x="162" y="1272"/>
                  </a:lnTo>
                  <a:lnTo>
                    <a:pt x="164" y="1276"/>
                  </a:lnTo>
                  <a:lnTo>
                    <a:pt x="162" y="1284"/>
                  </a:lnTo>
                  <a:lnTo>
                    <a:pt x="162" y="1286"/>
                  </a:lnTo>
                  <a:lnTo>
                    <a:pt x="162" y="1288"/>
                  </a:lnTo>
                  <a:lnTo>
                    <a:pt x="160" y="1292"/>
                  </a:lnTo>
                  <a:lnTo>
                    <a:pt x="160" y="1294"/>
                  </a:lnTo>
                  <a:lnTo>
                    <a:pt x="162" y="1294"/>
                  </a:lnTo>
                  <a:lnTo>
                    <a:pt x="162" y="1296"/>
                  </a:lnTo>
                  <a:lnTo>
                    <a:pt x="162" y="1302"/>
                  </a:lnTo>
                  <a:lnTo>
                    <a:pt x="160" y="1304"/>
                  </a:lnTo>
                  <a:lnTo>
                    <a:pt x="160" y="1306"/>
                  </a:lnTo>
                  <a:lnTo>
                    <a:pt x="160" y="1308"/>
                  </a:lnTo>
                  <a:lnTo>
                    <a:pt x="162" y="1314"/>
                  </a:lnTo>
                  <a:lnTo>
                    <a:pt x="166" y="1318"/>
                  </a:lnTo>
                  <a:lnTo>
                    <a:pt x="166" y="1320"/>
                  </a:lnTo>
                  <a:lnTo>
                    <a:pt x="166" y="1322"/>
                  </a:lnTo>
                  <a:lnTo>
                    <a:pt x="166" y="1326"/>
                  </a:lnTo>
                  <a:lnTo>
                    <a:pt x="168" y="1328"/>
                  </a:lnTo>
                  <a:lnTo>
                    <a:pt x="168" y="1332"/>
                  </a:lnTo>
                  <a:lnTo>
                    <a:pt x="166" y="1332"/>
                  </a:lnTo>
                  <a:lnTo>
                    <a:pt x="160" y="1336"/>
                  </a:lnTo>
                  <a:lnTo>
                    <a:pt x="158" y="1334"/>
                  </a:lnTo>
                  <a:lnTo>
                    <a:pt x="158" y="1332"/>
                  </a:lnTo>
                  <a:lnTo>
                    <a:pt x="156" y="1332"/>
                  </a:lnTo>
                  <a:lnTo>
                    <a:pt x="154" y="1332"/>
                  </a:lnTo>
                  <a:lnTo>
                    <a:pt x="154" y="1334"/>
                  </a:lnTo>
                  <a:lnTo>
                    <a:pt x="150" y="1342"/>
                  </a:lnTo>
                  <a:lnTo>
                    <a:pt x="152" y="1344"/>
                  </a:lnTo>
                  <a:lnTo>
                    <a:pt x="154" y="1346"/>
                  </a:lnTo>
                  <a:lnTo>
                    <a:pt x="152" y="1354"/>
                  </a:lnTo>
                  <a:lnTo>
                    <a:pt x="150" y="1356"/>
                  </a:lnTo>
                  <a:lnTo>
                    <a:pt x="150" y="1358"/>
                  </a:lnTo>
                  <a:lnTo>
                    <a:pt x="150" y="1362"/>
                  </a:lnTo>
                  <a:lnTo>
                    <a:pt x="152" y="1366"/>
                  </a:lnTo>
                  <a:lnTo>
                    <a:pt x="152" y="1368"/>
                  </a:lnTo>
                  <a:lnTo>
                    <a:pt x="152" y="1372"/>
                  </a:lnTo>
                  <a:lnTo>
                    <a:pt x="152" y="1374"/>
                  </a:lnTo>
                  <a:lnTo>
                    <a:pt x="150" y="1376"/>
                  </a:lnTo>
                  <a:lnTo>
                    <a:pt x="150" y="1378"/>
                  </a:lnTo>
                  <a:lnTo>
                    <a:pt x="150" y="1380"/>
                  </a:lnTo>
                  <a:lnTo>
                    <a:pt x="150" y="1382"/>
                  </a:lnTo>
                  <a:lnTo>
                    <a:pt x="152" y="1386"/>
                  </a:lnTo>
                  <a:lnTo>
                    <a:pt x="156" y="1388"/>
                  </a:lnTo>
                  <a:lnTo>
                    <a:pt x="158" y="1388"/>
                  </a:lnTo>
                  <a:lnTo>
                    <a:pt x="162" y="1388"/>
                  </a:lnTo>
                  <a:lnTo>
                    <a:pt x="168" y="1390"/>
                  </a:lnTo>
                  <a:lnTo>
                    <a:pt x="168" y="1396"/>
                  </a:lnTo>
                  <a:lnTo>
                    <a:pt x="166" y="1396"/>
                  </a:lnTo>
                  <a:lnTo>
                    <a:pt x="164" y="1396"/>
                  </a:lnTo>
                  <a:lnTo>
                    <a:pt x="160" y="1398"/>
                  </a:lnTo>
                  <a:lnTo>
                    <a:pt x="158" y="1402"/>
                  </a:lnTo>
                  <a:lnTo>
                    <a:pt x="158" y="1404"/>
                  </a:lnTo>
                  <a:lnTo>
                    <a:pt x="162" y="1406"/>
                  </a:lnTo>
                  <a:lnTo>
                    <a:pt x="168" y="1412"/>
                  </a:lnTo>
                  <a:lnTo>
                    <a:pt x="170" y="1416"/>
                  </a:lnTo>
                  <a:lnTo>
                    <a:pt x="168" y="1418"/>
                  </a:lnTo>
                  <a:lnTo>
                    <a:pt x="166" y="1420"/>
                  </a:lnTo>
                  <a:lnTo>
                    <a:pt x="164" y="1420"/>
                  </a:lnTo>
                  <a:lnTo>
                    <a:pt x="164" y="1422"/>
                  </a:lnTo>
                  <a:lnTo>
                    <a:pt x="166" y="1424"/>
                  </a:lnTo>
                  <a:lnTo>
                    <a:pt x="168" y="1426"/>
                  </a:lnTo>
                  <a:lnTo>
                    <a:pt x="170" y="1430"/>
                  </a:lnTo>
                  <a:lnTo>
                    <a:pt x="170" y="1432"/>
                  </a:lnTo>
                  <a:lnTo>
                    <a:pt x="166" y="1438"/>
                  </a:lnTo>
                  <a:lnTo>
                    <a:pt x="164" y="1440"/>
                  </a:lnTo>
                  <a:lnTo>
                    <a:pt x="164" y="1442"/>
                  </a:lnTo>
                  <a:lnTo>
                    <a:pt x="164" y="1444"/>
                  </a:lnTo>
                  <a:lnTo>
                    <a:pt x="164" y="1446"/>
                  </a:lnTo>
                  <a:lnTo>
                    <a:pt x="164" y="1452"/>
                  </a:lnTo>
                  <a:lnTo>
                    <a:pt x="162" y="1454"/>
                  </a:lnTo>
                  <a:lnTo>
                    <a:pt x="162" y="1456"/>
                  </a:lnTo>
                  <a:lnTo>
                    <a:pt x="164" y="1456"/>
                  </a:lnTo>
                  <a:lnTo>
                    <a:pt x="170" y="1456"/>
                  </a:lnTo>
                  <a:lnTo>
                    <a:pt x="174" y="1456"/>
                  </a:lnTo>
                  <a:lnTo>
                    <a:pt x="178" y="1456"/>
                  </a:lnTo>
                  <a:lnTo>
                    <a:pt x="180" y="1456"/>
                  </a:lnTo>
                  <a:lnTo>
                    <a:pt x="190" y="1458"/>
                  </a:lnTo>
                  <a:lnTo>
                    <a:pt x="190" y="1460"/>
                  </a:lnTo>
                  <a:lnTo>
                    <a:pt x="192" y="1462"/>
                  </a:lnTo>
                  <a:lnTo>
                    <a:pt x="192" y="1464"/>
                  </a:lnTo>
                  <a:lnTo>
                    <a:pt x="192" y="1466"/>
                  </a:lnTo>
                  <a:lnTo>
                    <a:pt x="190" y="1466"/>
                  </a:lnTo>
                  <a:lnTo>
                    <a:pt x="188" y="1470"/>
                  </a:lnTo>
                  <a:lnTo>
                    <a:pt x="188" y="1472"/>
                  </a:lnTo>
                  <a:lnTo>
                    <a:pt x="188" y="1474"/>
                  </a:lnTo>
                  <a:lnTo>
                    <a:pt x="186" y="1478"/>
                  </a:lnTo>
                  <a:lnTo>
                    <a:pt x="184" y="1478"/>
                  </a:lnTo>
                  <a:lnTo>
                    <a:pt x="182" y="1478"/>
                  </a:lnTo>
                  <a:lnTo>
                    <a:pt x="180" y="1478"/>
                  </a:lnTo>
                  <a:lnTo>
                    <a:pt x="178" y="1476"/>
                  </a:lnTo>
                  <a:lnTo>
                    <a:pt x="178" y="1474"/>
                  </a:lnTo>
                  <a:lnTo>
                    <a:pt x="176" y="1474"/>
                  </a:lnTo>
                  <a:lnTo>
                    <a:pt x="174" y="1476"/>
                  </a:lnTo>
                  <a:lnTo>
                    <a:pt x="172" y="1476"/>
                  </a:lnTo>
                  <a:lnTo>
                    <a:pt x="170" y="1476"/>
                  </a:lnTo>
                  <a:lnTo>
                    <a:pt x="168" y="1476"/>
                  </a:lnTo>
                  <a:lnTo>
                    <a:pt x="164" y="1476"/>
                  </a:lnTo>
                  <a:lnTo>
                    <a:pt x="164" y="1478"/>
                  </a:lnTo>
                  <a:lnTo>
                    <a:pt x="162" y="1478"/>
                  </a:lnTo>
                  <a:lnTo>
                    <a:pt x="156" y="1476"/>
                  </a:lnTo>
                  <a:lnTo>
                    <a:pt x="154" y="1476"/>
                  </a:lnTo>
                  <a:lnTo>
                    <a:pt x="152" y="1476"/>
                  </a:lnTo>
                  <a:lnTo>
                    <a:pt x="152" y="1478"/>
                  </a:lnTo>
                  <a:lnTo>
                    <a:pt x="152" y="1482"/>
                  </a:lnTo>
                  <a:lnTo>
                    <a:pt x="158" y="1484"/>
                  </a:lnTo>
                  <a:lnTo>
                    <a:pt x="164" y="1484"/>
                  </a:lnTo>
                  <a:lnTo>
                    <a:pt x="166" y="1484"/>
                  </a:lnTo>
                  <a:lnTo>
                    <a:pt x="172" y="1486"/>
                  </a:lnTo>
                  <a:lnTo>
                    <a:pt x="174" y="1488"/>
                  </a:lnTo>
                  <a:lnTo>
                    <a:pt x="176" y="1492"/>
                  </a:lnTo>
                  <a:lnTo>
                    <a:pt x="184" y="1500"/>
                  </a:lnTo>
                  <a:lnTo>
                    <a:pt x="184" y="1504"/>
                  </a:lnTo>
                  <a:lnTo>
                    <a:pt x="178" y="1514"/>
                  </a:lnTo>
                  <a:lnTo>
                    <a:pt x="170" y="1516"/>
                  </a:lnTo>
                  <a:lnTo>
                    <a:pt x="168" y="1516"/>
                  </a:lnTo>
                  <a:lnTo>
                    <a:pt x="168" y="1518"/>
                  </a:lnTo>
                  <a:lnTo>
                    <a:pt x="166" y="1518"/>
                  </a:lnTo>
                  <a:lnTo>
                    <a:pt x="164" y="1524"/>
                  </a:lnTo>
                  <a:lnTo>
                    <a:pt x="164" y="1528"/>
                  </a:lnTo>
                  <a:lnTo>
                    <a:pt x="166" y="1534"/>
                  </a:lnTo>
                  <a:lnTo>
                    <a:pt x="168" y="1534"/>
                  </a:lnTo>
                  <a:lnTo>
                    <a:pt x="170" y="1536"/>
                  </a:lnTo>
                  <a:lnTo>
                    <a:pt x="170" y="1542"/>
                  </a:lnTo>
                  <a:lnTo>
                    <a:pt x="170" y="1544"/>
                  </a:lnTo>
                  <a:lnTo>
                    <a:pt x="168" y="1544"/>
                  </a:lnTo>
                  <a:lnTo>
                    <a:pt x="166" y="1546"/>
                  </a:lnTo>
                  <a:lnTo>
                    <a:pt x="166" y="1548"/>
                  </a:lnTo>
                  <a:lnTo>
                    <a:pt x="164" y="1550"/>
                  </a:lnTo>
                  <a:lnTo>
                    <a:pt x="162" y="1550"/>
                  </a:lnTo>
                  <a:lnTo>
                    <a:pt x="160" y="1550"/>
                  </a:lnTo>
                  <a:lnTo>
                    <a:pt x="158" y="1550"/>
                  </a:lnTo>
                  <a:lnTo>
                    <a:pt x="162" y="1554"/>
                  </a:lnTo>
                  <a:lnTo>
                    <a:pt x="164" y="1554"/>
                  </a:lnTo>
                  <a:lnTo>
                    <a:pt x="166" y="1556"/>
                  </a:lnTo>
                  <a:lnTo>
                    <a:pt x="166" y="1566"/>
                  </a:lnTo>
                  <a:lnTo>
                    <a:pt x="168" y="1570"/>
                  </a:lnTo>
                  <a:lnTo>
                    <a:pt x="168" y="1572"/>
                  </a:lnTo>
                  <a:lnTo>
                    <a:pt x="168" y="1578"/>
                  </a:lnTo>
                  <a:lnTo>
                    <a:pt x="168" y="1580"/>
                  </a:lnTo>
                  <a:lnTo>
                    <a:pt x="162" y="1586"/>
                  </a:lnTo>
                  <a:lnTo>
                    <a:pt x="160" y="1586"/>
                  </a:lnTo>
                  <a:lnTo>
                    <a:pt x="158" y="1586"/>
                  </a:lnTo>
                  <a:lnTo>
                    <a:pt x="156" y="1586"/>
                  </a:lnTo>
                  <a:lnTo>
                    <a:pt x="154" y="1598"/>
                  </a:lnTo>
                  <a:lnTo>
                    <a:pt x="158" y="1604"/>
                  </a:lnTo>
                  <a:lnTo>
                    <a:pt x="160" y="1604"/>
                  </a:lnTo>
                  <a:lnTo>
                    <a:pt x="160" y="1606"/>
                  </a:lnTo>
                  <a:lnTo>
                    <a:pt x="160" y="1608"/>
                  </a:lnTo>
                  <a:lnTo>
                    <a:pt x="158" y="1608"/>
                  </a:lnTo>
                  <a:lnTo>
                    <a:pt x="154" y="1612"/>
                  </a:lnTo>
                  <a:lnTo>
                    <a:pt x="152" y="1616"/>
                  </a:lnTo>
                  <a:lnTo>
                    <a:pt x="148" y="1618"/>
                  </a:lnTo>
                  <a:lnTo>
                    <a:pt x="146" y="1620"/>
                  </a:lnTo>
                  <a:lnTo>
                    <a:pt x="144" y="1618"/>
                  </a:lnTo>
                  <a:lnTo>
                    <a:pt x="142" y="1620"/>
                  </a:lnTo>
                  <a:lnTo>
                    <a:pt x="140" y="1620"/>
                  </a:lnTo>
                  <a:lnTo>
                    <a:pt x="140" y="1622"/>
                  </a:lnTo>
                  <a:lnTo>
                    <a:pt x="140" y="1624"/>
                  </a:lnTo>
                  <a:lnTo>
                    <a:pt x="142" y="1624"/>
                  </a:lnTo>
                  <a:lnTo>
                    <a:pt x="140" y="1628"/>
                  </a:lnTo>
                  <a:lnTo>
                    <a:pt x="140" y="1630"/>
                  </a:lnTo>
                  <a:lnTo>
                    <a:pt x="138" y="1632"/>
                  </a:lnTo>
                  <a:lnTo>
                    <a:pt x="138" y="1634"/>
                  </a:lnTo>
                  <a:lnTo>
                    <a:pt x="136" y="1636"/>
                  </a:lnTo>
                  <a:lnTo>
                    <a:pt x="136" y="1638"/>
                  </a:lnTo>
                  <a:lnTo>
                    <a:pt x="132" y="1646"/>
                  </a:lnTo>
                  <a:lnTo>
                    <a:pt x="132" y="1648"/>
                  </a:lnTo>
                  <a:lnTo>
                    <a:pt x="134" y="1648"/>
                  </a:lnTo>
                  <a:lnTo>
                    <a:pt x="134" y="1650"/>
                  </a:lnTo>
                  <a:lnTo>
                    <a:pt x="136" y="1650"/>
                  </a:lnTo>
                  <a:lnTo>
                    <a:pt x="138" y="1650"/>
                  </a:lnTo>
                  <a:lnTo>
                    <a:pt x="140" y="1654"/>
                  </a:lnTo>
                  <a:lnTo>
                    <a:pt x="142" y="1662"/>
                  </a:lnTo>
                  <a:lnTo>
                    <a:pt x="142" y="1670"/>
                  </a:lnTo>
                  <a:lnTo>
                    <a:pt x="136" y="1672"/>
                  </a:lnTo>
                  <a:lnTo>
                    <a:pt x="134" y="1674"/>
                  </a:lnTo>
                  <a:lnTo>
                    <a:pt x="132" y="1674"/>
                  </a:lnTo>
                  <a:lnTo>
                    <a:pt x="130" y="1676"/>
                  </a:lnTo>
                  <a:lnTo>
                    <a:pt x="130" y="1678"/>
                  </a:lnTo>
                  <a:lnTo>
                    <a:pt x="130" y="1680"/>
                  </a:lnTo>
                  <a:lnTo>
                    <a:pt x="130" y="1682"/>
                  </a:lnTo>
                  <a:lnTo>
                    <a:pt x="132" y="1686"/>
                  </a:lnTo>
                  <a:lnTo>
                    <a:pt x="132" y="1688"/>
                  </a:lnTo>
                  <a:lnTo>
                    <a:pt x="132" y="1690"/>
                  </a:lnTo>
                  <a:lnTo>
                    <a:pt x="132" y="1692"/>
                  </a:lnTo>
                  <a:lnTo>
                    <a:pt x="132" y="1694"/>
                  </a:lnTo>
                  <a:lnTo>
                    <a:pt x="130" y="1696"/>
                  </a:lnTo>
                  <a:lnTo>
                    <a:pt x="126" y="1700"/>
                  </a:lnTo>
                  <a:lnTo>
                    <a:pt x="124" y="1700"/>
                  </a:lnTo>
                  <a:lnTo>
                    <a:pt x="122" y="1702"/>
                  </a:lnTo>
                  <a:lnTo>
                    <a:pt x="120" y="1702"/>
                  </a:lnTo>
                  <a:lnTo>
                    <a:pt x="118" y="1702"/>
                  </a:lnTo>
                  <a:lnTo>
                    <a:pt x="116" y="1702"/>
                  </a:lnTo>
                  <a:lnTo>
                    <a:pt x="114" y="1702"/>
                  </a:lnTo>
                  <a:lnTo>
                    <a:pt x="114" y="1704"/>
                  </a:lnTo>
                  <a:lnTo>
                    <a:pt x="110" y="1708"/>
                  </a:lnTo>
                  <a:lnTo>
                    <a:pt x="106" y="1718"/>
                  </a:lnTo>
                  <a:lnTo>
                    <a:pt x="110" y="1718"/>
                  </a:lnTo>
                  <a:lnTo>
                    <a:pt x="108" y="1720"/>
                  </a:lnTo>
                  <a:lnTo>
                    <a:pt x="106" y="1722"/>
                  </a:lnTo>
                  <a:lnTo>
                    <a:pt x="96" y="1722"/>
                  </a:lnTo>
                  <a:lnTo>
                    <a:pt x="92" y="1728"/>
                  </a:lnTo>
                  <a:lnTo>
                    <a:pt x="90" y="1734"/>
                  </a:lnTo>
                  <a:lnTo>
                    <a:pt x="92" y="1736"/>
                  </a:lnTo>
                  <a:lnTo>
                    <a:pt x="94" y="1738"/>
                  </a:lnTo>
                  <a:lnTo>
                    <a:pt x="96" y="1748"/>
                  </a:lnTo>
                  <a:lnTo>
                    <a:pt x="94" y="1750"/>
                  </a:lnTo>
                  <a:lnTo>
                    <a:pt x="92" y="1752"/>
                  </a:lnTo>
                  <a:lnTo>
                    <a:pt x="92" y="1756"/>
                  </a:lnTo>
                  <a:lnTo>
                    <a:pt x="94" y="1756"/>
                  </a:lnTo>
                  <a:lnTo>
                    <a:pt x="94" y="1758"/>
                  </a:lnTo>
                  <a:lnTo>
                    <a:pt x="96" y="1758"/>
                  </a:lnTo>
                  <a:lnTo>
                    <a:pt x="96" y="1760"/>
                  </a:lnTo>
                  <a:lnTo>
                    <a:pt x="94" y="1762"/>
                  </a:lnTo>
                  <a:lnTo>
                    <a:pt x="94" y="1764"/>
                  </a:lnTo>
                  <a:lnTo>
                    <a:pt x="92" y="1766"/>
                  </a:lnTo>
                  <a:lnTo>
                    <a:pt x="94" y="1768"/>
                  </a:lnTo>
                  <a:lnTo>
                    <a:pt x="96" y="1770"/>
                  </a:lnTo>
                  <a:lnTo>
                    <a:pt x="100" y="1772"/>
                  </a:lnTo>
                  <a:lnTo>
                    <a:pt x="102" y="1774"/>
                  </a:lnTo>
                  <a:lnTo>
                    <a:pt x="102" y="1776"/>
                  </a:lnTo>
                  <a:lnTo>
                    <a:pt x="104" y="1778"/>
                  </a:lnTo>
                  <a:lnTo>
                    <a:pt x="104" y="1786"/>
                  </a:lnTo>
                  <a:lnTo>
                    <a:pt x="104" y="1792"/>
                  </a:lnTo>
                  <a:lnTo>
                    <a:pt x="108" y="1798"/>
                  </a:lnTo>
                  <a:lnTo>
                    <a:pt x="108" y="1800"/>
                  </a:lnTo>
                  <a:lnTo>
                    <a:pt x="110" y="1800"/>
                  </a:lnTo>
                  <a:lnTo>
                    <a:pt x="112" y="1800"/>
                  </a:lnTo>
                  <a:lnTo>
                    <a:pt x="114" y="1800"/>
                  </a:lnTo>
                  <a:lnTo>
                    <a:pt x="114" y="1798"/>
                  </a:lnTo>
                  <a:lnTo>
                    <a:pt x="116" y="1796"/>
                  </a:lnTo>
                  <a:lnTo>
                    <a:pt x="118" y="1794"/>
                  </a:lnTo>
                  <a:lnTo>
                    <a:pt x="124" y="1792"/>
                  </a:lnTo>
                  <a:lnTo>
                    <a:pt x="126" y="1794"/>
                  </a:lnTo>
                  <a:lnTo>
                    <a:pt x="128" y="1794"/>
                  </a:lnTo>
                  <a:lnTo>
                    <a:pt x="130" y="1794"/>
                  </a:lnTo>
                  <a:lnTo>
                    <a:pt x="132" y="1792"/>
                  </a:lnTo>
                  <a:lnTo>
                    <a:pt x="134" y="1792"/>
                  </a:lnTo>
                  <a:lnTo>
                    <a:pt x="138" y="1792"/>
                  </a:lnTo>
                  <a:lnTo>
                    <a:pt x="142" y="1794"/>
                  </a:lnTo>
                  <a:lnTo>
                    <a:pt x="142" y="1796"/>
                  </a:lnTo>
                  <a:lnTo>
                    <a:pt x="140" y="1798"/>
                  </a:lnTo>
                  <a:lnTo>
                    <a:pt x="140" y="1800"/>
                  </a:lnTo>
                  <a:lnTo>
                    <a:pt x="142" y="1802"/>
                  </a:lnTo>
                  <a:lnTo>
                    <a:pt x="144" y="1804"/>
                  </a:lnTo>
                  <a:lnTo>
                    <a:pt x="144" y="1806"/>
                  </a:lnTo>
                  <a:lnTo>
                    <a:pt x="142" y="1814"/>
                  </a:lnTo>
                  <a:lnTo>
                    <a:pt x="140" y="1814"/>
                  </a:lnTo>
                  <a:lnTo>
                    <a:pt x="138" y="1818"/>
                  </a:lnTo>
                  <a:lnTo>
                    <a:pt x="138" y="1822"/>
                  </a:lnTo>
                  <a:lnTo>
                    <a:pt x="140" y="1824"/>
                  </a:lnTo>
                  <a:lnTo>
                    <a:pt x="142" y="1824"/>
                  </a:lnTo>
                  <a:lnTo>
                    <a:pt x="144" y="1826"/>
                  </a:lnTo>
                  <a:lnTo>
                    <a:pt x="142" y="1828"/>
                  </a:lnTo>
                  <a:lnTo>
                    <a:pt x="140" y="1830"/>
                  </a:lnTo>
                  <a:lnTo>
                    <a:pt x="140" y="1832"/>
                  </a:lnTo>
                  <a:lnTo>
                    <a:pt x="140" y="1834"/>
                  </a:lnTo>
                  <a:lnTo>
                    <a:pt x="140" y="1840"/>
                  </a:lnTo>
                  <a:lnTo>
                    <a:pt x="138" y="1840"/>
                  </a:lnTo>
                  <a:lnTo>
                    <a:pt x="138" y="1842"/>
                  </a:lnTo>
                  <a:lnTo>
                    <a:pt x="142" y="1850"/>
                  </a:lnTo>
                  <a:lnTo>
                    <a:pt x="142" y="1852"/>
                  </a:lnTo>
                  <a:lnTo>
                    <a:pt x="144" y="1852"/>
                  </a:lnTo>
                  <a:lnTo>
                    <a:pt x="146" y="1852"/>
                  </a:lnTo>
                  <a:lnTo>
                    <a:pt x="148" y="1852"/>
                  </a:lnTo>
                  <a:lnTo>
                    <a:pt x="150" y="1854"/>
                  </a:lnTo>
                  <a:lnTo>
                    <a:pt x="154" y="1860"/>
                  </a:lnTo>
                  <a:lnTo>
                    <a:pt x="154" y="1862"/>
                  </a:lnTo>
                  <a:lnTo>
                    <a:pt x="156" y="1866"/>
                  </a:lnTo>
                  <a:lnTo>
                    <a:pt x="164" y="1866"/>
                  </a:lnTo>
                  <a:lnTo>
                    <a:pt x="182" y="1866"/>
                  </a:lnTo>
                  <a:lnTo>
                    <a:pt x="204" y="1868"/>
                  </a:lnTo>
                  <a:lnTo>
                    <a:pt x="212" y="1868"/>
                  </a:lnTo>
                  <a:lnTo>
                    <a:pt x="226" y="1868"/>
                  </a:lnTo>
                  <a:lnTo>
                    <a:pt x="230" y="1868"/>
                  </a:lnTo>
                  <a:lnTo>
                    <a:pt x="232" y="1868"/>
                  </a:lnTo>
                  <a:lnTo>
                    <a:pt x="234" y="1870"/>
                  </a:lnTo>
                  <a:lnTo>
                    <a:pt x="238" y="1872"/>
                  </a:lnTo>
                  <a:lnTo>
                    <a:pt x="250" y="1876"/>
                  </a:lnTo>
                  <a:lnTo>
                    <a:pt x="256" y="1876"/>
                  </a:lnTo>
                  <a:lnTo>
                    <a:pt x="258" y="1876"/>
                  </a:lnTo>
                  <a:lnTo>
                    <a:pt x="266" y="1880"/>
                  </a:lnTo>
                  <a:lnTo>
                    <a:pt x="268" y="1880"/>
                  </a:lnTo>
                  <a:lnTo>
                    <a:pt x="270" y="1882"/>
                  </a:lnTo>
                  <a:lnTo>
                    <a:pt x="272" y="1882"/>
                  </a:lnTo>
                  <a:lnTo>
                    <a:pt x="274" y="1884"/>
                  </a:lnTo>
                  <a:lnTo>
                    <a:pt x="278" y="1884"/>
                  </a:lnTo>
                  <a:lnTo>
                    <a:pt x="280" y="1884"/>
                  </a:lnTo>
                  <a:lnTo>
                    <a:pt x="282" y="1886"/>
                  </a:lnTo>
                  <a:lnTo>
                    <a:pt x="288" y="1886"/>
                  </a:lnTo>
                  <a:lnTo>
                    <a:pt x="288" y="1890"/>
                  </a:lnTo>
                  <a:lnTo>
                    <a:pt x="286" y="1886"/>
                  </a:lnTo>
                  <a:lnTo>
                    <a:pt x="280" y="1886"/>
                  </a:lnTo>
                  <a:lnTo>
                    <a:pt x="276" y="1884"/>
                  </a:lnTo>
                  <a:lnTo>
                    <a:pt x="274" y="1884"/>
                  </a:lnTo>
                  <a:lnTo>
                    <a:pt x="270" y="1884"/>
                  </a:lnTo>
                  <a:lnTo>
                    <a:pt x="268" y="1884"/>
                  </a:lnTo>
                  <a:lnTo>
                    <a:pt x="266" y="1884"/>
                  </a:lnTo>
                  <a:lnTo>
                    <a:pt x="266" y="1882"/>
                  </a:lnTo>
                  <a:lnTo>
                    <a:pt x="264" y="1882"/>
                  </a:lnTo>
                  <a:lnTo>
                    <a:pt x="262" y="1880"/>
                  </a:lnTo>
                  <a:lnTo>
                    <a:pt x="260" y="1880"/>
                  </a:lnTo>
                  <a:lnTo>
                    <a:pt x="258" y="1880"/>
                  </a:lnTo>
                  <a:lnTo>
                    <a:pt x="250" y="1882"/>
                  </a:lnTo>
                  <a:lnTo>
                    <a:pt x="250" y="1884"/>
                  </a:lnTo>
                  <a:lnTo>
                    <a:pt x="248" y="1884"/>
                  </a:lnTo>
                  <a:lnTo>
                    <a:pt x="248" y="1888"/>
                  </a:lnTo>
                  <a:lnTo>
                    <a:pt x="246" y="1892"/>
                  </a:lnTo>
                  <a:lnTo>
                    <a:pt x="244" y="1894"/>
                  </a:lnTo>
                  <a:lnTo>
                    <a:pt x="242" y="1896"/>
                  </a:lnTo>
                  <a:lnTo>
                    <a:pt x="238" y="1896"/>
                  </a:lnTo>
                  <a:lnTo>
                    <a:pt x="236" y="1896"/>
                  </a:lnTo>
                  <a:lnTo>
                    <a:pt x="232" y="1896"/>
                  </a:lnTo>
                  <a:lnTo>
                    <a:pt x="224" y="1900"/>
                  </a:lnTo>
                  <a:lnTo>
                    <a:pt x="222" y="1900"/>
                  </a:lnTo>
                  <a:lnTo>
                    <a:pt x="210" y="1906"/>
                  </a:lnTo>
                  <a:lnTo>
                    <a:pt x="208" y="1906"/>
                  </a:lnTo>
                  <a:lnTo>
                    <a:pt x="202" y="1906"/>
                  </a:lnTo>
                  <a:lnTo>
                    <a:pt x="198" y="1908"/>
                  </a:lnTo>
                  <a:lnTo>
                    <a:pt x="196" y="19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2" name="Freeform 152"/>
            <p:cNvSpPr>
              <a:spLocks/>
            </p:cNvSpPr>
            <p:nvPr/>
          </p:nvSpPr>
          <p:spPr bwMode="auto">
            <a:xfrm>
              <a:off x="2300" y="3248"/>
              <a:ext cx="46" cy="88"/>
            </a:xfrm>
            <a:custGeom>
              <a:avLst/>
              <a:gdLst/>
              <a:ahLst/>
              <a:cxnLst>
                <a:cxn ang="0">
                  <a:pos x="38" y="70"/>
                </a:cxn>
                <a:cxn ang="0">
                  <a:pos x="40" y="74"/>
                </a:cxn>
                <a:cxn ang="0">
                  <a:pos x="28" y="74"/>
                </a:cxn>
                <a:cxn ang="0">
                  <a:pos x="30" y="78"/>
                </a:cxn>
                <a:cxn ang="0">
                  <a:pos x="32" y="82"/>
                </a:cxn>
                <a:cxn ang="0">
                  <a:pos x="24" y="88"/>
                </a:cxn>
                <a:cxn ang="0">
                  <a:pos x="22" y="86"/>
                </a:cxn>
                <a:cxn ang="0">
                  <a:pos x="16" y="86"/>
                </a:cxn>
                <a:cxn ang="0">
                  <a:pos x="6" y="84"/>
                </a:cxn>
                <a:cxn ang="0">
                  <a:pos x="2" y="80"/>
                </a:cxn>
                <a:cxn ang="0">
                  <a:pos x="4" y="72"/>
                </a:cxn>
                <a:cxn ang="0">
                  <a:pos x="8" y="66"/>
                </a:cxn>
                <a:cxn ang="0">
                  <a:pos x="10" y="60"/>
                </a:cxn>
                <a:cxn ang="0">
                  <a:pos x="12" y="44"/>
                </a:cxn>
                <a:cxn ang="0">
                  <a:pos x="10" y="38"/>
                </a:cxn>
                <a:cxn ang="0">
                  <a:pos x="10" y="24"/>
                </a:cxn>
                <a:cxn ang="0">
                  <a:pos x="12" y="22"/>
                </a:cxn>
                <a:cxn ang="0">
                  <a:pos x="14" y="20"/>
                </a:cxn>
                <a:cxn ang="0">
                  <a:pos x="16" y="8"/>
                </a:cxn>
                <a:cxn ang="0">
                  <a:pos x="14" y="2"/>
                </a:cxn>
                <a:cxn ang="0">
                  <a:pos x="22" y="0"/>
                </a:cxn>
                <a:cxn ang="0">
                  <a:pos x="22" y="4"/>
                </a:cxn>
                <a:cxn ang="0">
                  <a:pos x="20" y="2"/>
                </a:cxn>
                <a:cxn ang="0">
                  <a:pos x="18" y="4"/>
                </a:cxn>
                <a:cxn ang="0">
                  <a:pos x="24" y="6"/>
                </a:cxn>
                <a:cxn ang="0">
                  <a:pos x="30" y="2"/>
                </a:cxn>
                <a:cxn ang="0">
                  <a:pos x="36" y="2"/>
                </a:cxn>
                <a:cxn ang="0">
                  <a:pos x="38" y="10"/>
                </a:cxn>
                <a:cxn ang="0">
                  <a:pos x="42" y="18"/>
                </a:cxn>
                <a:cxn ang="0">
                  <a:pos x="40" y="20"/>
                </a:cxn>
                <a:cxn ang="0">
                  <a:pos x="46" y="26"/>
                </a:cxn>
                <a:cxn ang="0">
                  <a:pos x="44" y="28"/>
                </a:cxn>
                <a:cxn ang="0">
                  <a:pos x="38" y="30"/>
                </a:cxn>
                <a:cxn ang="0">
                  <a:pos x="34" y="32"/>
                </a:cxn>
                <a:cxn ang="0">
                  <a:pos x="32" y="36"/>
                </a:cxn>
                <a:cxn ang="0">
                  <a:pos x="34" y="38"/>
                </a:cxn>
                <a:cxn ang="0">
                  <a:pos x="30" y="42"/>
                </a:cxn>
                <a:cxn ang="0">
                  <a:pos x="28" y="36"/>
                </a:cxn>
                <a:cxn ang="0">
                  <a:pos x="26" y="40"/>
                </a:cxn>
                <a:cxn ang="0">
                  <a:pos x="34" y="52"/>
                </a:cxn>
                <a:cxn ang="0">
                  <a:pos x="40" y="54"/>
                </a:cxn>
                <a:cxn ang="0">
                  <a:pos x="40" y="60"/>
                </a:cxn>
                <a:cxn ang="0">
                  <a:pos x="34" y="60"/>
                </a:cxn>
                <a:cxn ang="0">
                  <a:pos x="34" y="64"/>
                </a:cxn>
              </a:cxnLst>
              <a:rect l="0" t="0" r="r" b="b"/>
              <a:pathLst>
                <a:path w="46" h="88">
                  <a:moveTo>
                    <a:pt x="38" y="66"/>
                  </a:moveTo>
                  <a:lnTo>
                    <a:pt x="38" y="70"/>
                  </a:lnTo>
                  <a:lnTo>
                    <a:pt x="40" y="72"/>
                  </a:lnTo>
                  <a:lnTo>
                    <a:pt x="40" y="74"/>
                  </a:lnTo>
                  <a:lnTo>
                    <a:pt x="30" y="72"/>
                  </a:lnTo>
                  <a:lnTo>
                    <a:pt x="28" y="74"/>
                  </a:lnTo>
                  <a:lnTo>
                    <a:pt x="28" y="78"/>
                  </a:lnTo>
                  <a:lnTo>
                    <a:pt x="30" y="78"/>
                  </a:lnTo>
                  <a:lnTo>
                    <a:pt x="30" y="80"/>
                  </a:lnTo>
                  <a:lnTo>
                    <a:pt x="32" y="82"/>
                  </a:lnTo>
                  <a:lnTo>
                    <a:pt x="30" y="86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2" y="86"/>
                  </a:lnTo>
                  <a:lnTo>
                    <a:pt x="20" y="86"/>
                  </a:lnTo>
                  <a:lnTo>
                    <a:pt x="16" y="86"/>
                  </a:lnTo>
                  <a:lnTo>
                    <a:pt x="12" y="84"/>
                  </a:lnTo>
                  <a:lnTo>
                    <a:pt x="6" y="84"/>
                  </a:lnTo>
                  <a:lnTo>
                    <a:pt x="2" y="82"/>
                  </a:lnTo>
                  <a:lnTo>
                    <a:pt x="2" y="80"/>
                  </a:lnTo>
                  <a:lnTo>
                    <a:pt x="0" y="80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6"/>
                  </a:lnTo>
                  <a:lnTo>
                    <a:pt x="10" y="64"/>
                  </a:lnTo>
                  <a:lnTo>
                    <a:pt x="10" y="60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24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6" y="16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20" y="6"/>
                  </a:lnTo>
                  <a:lnTo>
                    <a:pt x="24" y="6"/>
                  </a:lnTo>
                  <a:lnTo>
                    <a:pt x="26" y="4"/>
                  </a:lnTo>
                  <a:lnTo>
                    <a:pt x="30" y="2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40" y="4"/>
                  </a:lnTo>
                  <a:lnTo>
                    <a:pt x="38" y="10"/>
                  </a:lnTo>
                  <a:lnTo>
                    <a:pt x="42" y="16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44" y="22"/>
                  </a:lnTo>
                  <a:lnTo>
                    <a:pt x="46" y="26"/>
                  </a:lnTo>
                  <a:lnTo>
                    <a:pt x="46" y="28"/>
                  </a:lnTo>
                  <a:lnTo>
                    <a:pt x="44" y="28"/>
                  </a:lnTo>
                  <a:lnTo>
                    <a:pt x="40" y="30"/>
                  </a:lnTo>
                  <a:lnTo>
                    <a:pt x="38" y="30"/>
                  </a:lnTo>
                  <a:lnTo>
                    <a:pt x="36" y="30"/>
                  </a:lnTo>
                  <a:lnTo>
                    <a:pt x="34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8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0" y="42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6" y="40"/>
                  </a:lnTo>
                  <a:lnTo>
                    <a:pt x="26" y="44"/>
                  </a:lnTo>
                  <a:lnTo>
                    <a:pt x="34" y="52"/>
                  </a:lnTo>
                  <a:lnTo>
                    <a:pt x="36" y="54"/>
                  </a:lnTo>
                  <a:lnTo>
                    <a:pt x="40" y="54"/>
                  </a:lnTo>
                  <a:lnTo>
                    <a:pt x="40" y="58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4" y="60"/>
                  </a:lnTo>
                  <a:lnTo>
                    <a:pt x="34" y="62"/>
                  </a:lnTo>
                  <a:lnTo>
                    <a:pt x="34" y="64"/>
                  </a:lnTo>
                  <a:lnTo>
                    <a:pt x="38" y="6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3" name="Freeform 153"/>
            <p:cNvSpPr>
              <a:spLocks/>
            </p:cNvSpPr>
            <p:nvPr/>
          </p:nvSpPr>
          <p:spPr bwMode="auto">
            <a:xfrm>
              <a:off x="2332" y="3280"/>
              <a:ext cx="12" cy="10"/>
            </a:xfrm>
            <a:custGeom>
              <a:avLst/>
              <a:gdLst/>
              <a:ahLst/>
              <a:cxnLst>
                <a:cxn ang="0">
                  <a:pos x="10" y="10"/>
                </a:cxn>
                <a:cxn ang="0">
                  <a:pos x="10" y="8"/>
                </a:cxn>
                <a:cxn ang="0">
                  <a:pos x="10" y="6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12" y="8"/>
                </a:cxn>
                <a:cxn ang="0">
                  <a:pos x="12" y="10"/>
                </a:cxn>
                <a:cxn ang="0">
                  <a:pos x="10" y="10"/>
                </a:cxn>
              </a:cxnLst>
              <a:rect l="0" t="0" r="r" b="b"/>
              <a:pathLst>
                <a:path w="12" h="10">
                  <a:moveTo>
                    <a:pt x="10" y="10"/>
                  </a:moveTo>
                  <a:lnTo>
                    <a:pt x="10" y="8"/>
                  </a:lnTo>
                  <a:lnTo>
                    <a:pt x="10" y="6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4" name="Freeform 154"/>
            <p:cNvSpPr>
              <a:spLocks/>
            </p:cNvSpPr>
            <p:nvPr/>
          </p:nvSpPr>
          <p:spPr bwMode="auto">
            <a:xfrm>
              <a:off x="2282" y="3342"/>
              <a:ext cx="10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0" y="4"/>
                </a:cxn>
                <a:cxn ang="0">
                  <a:pos x="8" y="6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8"/>
                </a:cxn>
              </a:cxnLst>
              <a:rect l="0" t="0" r="r" b="b"/>
              <a:pathLst>
                <a:path w="10" h="8">
                  <a:moveTo>
                    <a:pt x="2" y="8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8" y="2"/>
                  </a:lnTo>
                  <a:lnTo>
                    <a:pt x="10" y="4"/>
                  </a:lnTo>
                  <a:lnTo>
                    <a:pt x="8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5" name="Freeform 155"/>
            <p:cNvSpPr>
              <a:spLocks/>
            </p:cNvSpPr>
            <p:nvPr/>
          </p:nvSpPr>
          <p:spPr bwMode="auto">
            <a:xfrm>
              <a:off x="2312" y="3356"/>
              <a:ext cx="16" cy="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6" y="8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10" y="2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6" y="4"/>
                </a:cxn>
                <a:cxn ang="0">
                  <a:pos x="16" y="6"/>
                </a:cxn>
                <a:cxn ang="0">
                  <a:pos x="14" y="6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4" y="4"/>
                </a:cxn>
                <a:cxn ang="0">
                  <a:pos x="12" y="4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8" y="8"/>
                </a:cxn>
              </a:cxnLst>
              <a:rect l="0" t="0" r="r" b="b"/>
              <a:pathLst>
                <a:path w="16" h="8">
                  <a:moveTo>
                    <a:pt x="8" y="8"/>
                  </a:moveTo>
                  <a:lnTo>
                    <a:pt x="6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6" name="Freeform 156"/>
            <p:cNvSpPr>
              <a:spLocks/>
            </p:cNvSpPr>
            <p:nvPr/>
          </p:nvSpPr>
          <p:spPr bwMode="auto">
            <a:xfrm>
              <a:off x="2350" y="3362"/>
              <a:ext cx="6" cy="8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8"/>
                </a:cxn>
                <a:cxn ang="0">
                  <a:pos x="4" y="8"/>
                </a:cxn>
              </a:cxnLst>
              <a:rect l="0" t="0" r="r" b="b"/>
              <a:pathLst>
                <a:path w="6" h="8">
                  <a:moveTo>
                    <a:pt x="4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7" name="Freeform 157"/>
            <p:cNvSpPr>
              <a:spLocks/>
            </p:cNvSpPr>
            <p:nvPr/>
          </p:nvSpPr>
          <p:spPr bwMode="auto">
            <a:xfrm>
              <a:off x="2330" y="3364"/>
              <a:ext cx="6" cy="12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4"/>
                </a:cxn>
                <a:cxn ang="0">
                  <a:pos x="6" y="8"/>
                </a:cxn>
                <a:cxn ang="0">
                  <a:pos x="6" y="10"/>
                </a:cxn>
                <a:cxn ang="0">
                  <a:pos x="4" y="12"/>
                </a:cxn>
              </a:cxnLst>
              <a:rect l="0" t="0" r="r" b="b"/>
              <a:pathLst>
                <a:path w="6" h="12">
                  <a:moveTo>
                    <a:pt x="4" y="12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4"/>
                  </a:lnTo>
                  <a:lnTo>
                    <a:pt x="6" y="8"/>
                  </a:lnTo>
                  <a:lnTo>
                    <a:pt x="6" y="10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8" name="Freeform 158"/>
            <p:cNvSpPr>
              <a:spLocks/>
            </p:cNvSpPr>
            <p:nvPr/>
          </p:nvSpPr>
          <p:spPr bwMode="auto">
            <a:xfrm>
              <a:off x="2318" y="3374"/>
              <a:ext cx="8" cy="4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8" y="4"/>
                </a:cxn>
              </a:cxnLst>
              <a:rect l="0" t="0" r="r" b="b"/>
              <a:pathLst>
                <a:path w="8" h="4">
                  <a:moveTo>
                    <a:pt x="8" y="4"/>
                  </a:moveTo>
                  <a:lnTo>
                    <a:pt x="4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49" name="Freeform 159"/>
            <p:cNvSpPr>
              <a:spLocks/>
            </p:cNvSpPr>
            <p:nvPr/>
          </p:nvSpPr>
          <p:spPr bwMode="auto">
            <a:xfrm>
              <a:off x="2314" y="3376"/>
              <a:ext cx="8" cy="10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10"/>
                </a:cxn>
                <a:cxn ang="0">
                  <a:pos x="2" y="8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4"/>
                </a:cxn>
                <a:cxn ang="0">
                  <a:pos x="8" y="6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6" y="10"/>
                </a:cxn>
              </a:cxnLst>
              <a:rect l="0" t="0" r="r" b="b"/>
              <a:pathLst>
                <a:path w="8" h="10">
                  <a:moveTo>
                    <a:pt x="6" y="10"/>
                  </a:moveTo>
                  <a:lnTo>
                    <a:pt x="4" y="10"/>
                  </a:lnTo>
                  <a:lnTo>
                    <a:pt x="2" y="8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4"/>
                  </a:lnTo>
                  <a:lnTo>
                    <a:pt x="8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0" name="Freeform 160"/>
            <p:cNvSpPr>
              <a:spLocks/>
            </p:cNvSpPr>
            <p:nvPr/>
          </p:nvSpPr>
          <p:spPr bwMode="auto">
            <a:xfrm>
              <a:off x="2320" y="3382"/>
              <a:ext cx="8" cy="4"/>
            </a:xfrm>
            <a:custGeom>
              <a:avLst/>
              <a:gdLst/>
              <a:ahLst/>
              <a:cxnLst>
                <a:cxn ang="0">
                  <a:pos x="6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6" y="4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8" y="0"/>
                  </a:lnTo>
                  <a:lnTo>
                    <a:pt x="8" y="4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1" name="Freeform 161"/>
            <p:cNvSpPr>
              <a:spLocks/>
            </p:cNvSpPr>
            <p:nvPr/>
          </p:nvSpPr>
          <p:spPr bwMode="auto">
            <a:xfrm>
              <a:off x="2314" y="3386"/>
              <a:ext cx="8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2"/>
                </a:cxn>
                <a:cxn ang="0">
                  <a:pos x="8" y="6"/>
                </a:cxn>
                <a:cxn ang="0">
                  <a:pos x="6" y="6"/>
                </a:cxn>
              </a:cxnLst>
              <a:rect l="0" t="0" r="r" b="b"/>
              <a:pathLst>
                <a:path w="8" h="6">
                  <a:moveTo>
                    <a:pt x="6" y="6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2"/>
                  </a:lnTo>
                  <a:lnTo>
                    <a:pt x="8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2" name="Freeform 162"/>
            <p:cNvSpPr>
              <a:spLocks/>
            </p:cNvSpPr>
            <p:nvPr/>
          </p:nvSpPr>
          <p:spPr bwMode="auto">
            <a:xfrm>
              <a:off x="2342" y="3388"/>
              <a:ext cx="32" cy="32"/>
            </a:xfrm>
            <a:custGeom>
              <a:avLst/>
              <a:gdLst/>
              <a:ahLst/>
              <a:cxnLst>
                <a:cxn ang="0">
                  <a:pos x="26" y="20"/>
                </a:cxn>
                <a:cxn ang="0">
                  <a:pos x="24" y="22"/>
                </a:cxn>
                <a:cxn ang="0">
                  <a:pos x="22" y="24"/>
                </a:cxn>
                <a:cxn ang="0">
                  <a:pos x="18" y="26"/>
                </a:cxn>
                <a:cxn ang="0">
                  <a:pos x="18" y="28"/>
                </a:cxn>
                <a:cxn ang="0">
                  <a:pos x="14" y="30"/>
                </a:cxn>
                <a:cxn ang="0">
                  <a:pos x="12" y="30"/>
                </a:cxn>
                <a:cxn ang="0">
                  <a:pos x="10" y="30"/>
                </a:cxn>
                <a:cxn ang="0">
                  <a:pos x="10" y="32"/>
                </a:cxn>
                <a:cxn ang="0">
                  <a:pos x="8" y="30"/>
                </a:cxn>
                <a:cxn ang="0">
                  <a:pos x="4" y="26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0" y="24"/>
                </a:cxn>
                <a:cxn ang="0">
                  <a:pos x="12" y="24"/>
                </a:cxn>
                <a:cxn ang="0">
                  <a:pos x="10" y="22"/>
                </a:cxn>
                <a:cxn ang="0">
                  <a:pos x="8" y="22"/>
                </a:cxn>
                <a:cxn ang="0">
                  <a:pos x="6" y="22"/>
                </a:cxn>
                <a:cxn ang="0">
                  <a:pos x="4" y="24"/>
                </a:cxn>
                <a:cxn ang="0">
                  <a:pos x="4" y="22"/>
                </a:cxn>
                <a:cxn ang="0">
                  <a:pos x="2" y="20"/>
                </a:cxn>
                <a:cxn ang="0">
                  <a:pos x="2" y="18"/>
                </a:cxn>
                <a:cxn ang="0">
                  <a:pos x="0" y="16"/>
                </a:cxn>
                <a:cxn ang="0">
                  <a:pos x="2" y="12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6" y="2"/>
                </a:cxn>
                <a:cxn ang="0">
                  <a:pos x="20" y="0"/>
                </a:cxn>
                <a:cxn ang="0">
                  <a:pos x="22" y="0"/>
                </a:cxn>
                <a:cxn ang="0">
                  <a:pos x="26" y="4"/>
                </a:cxn>
                <a:cxn ang="0">
                  <a:pos x="30" y="6"/>
                </a:cxn>
                <a:cxn ang="0">
                  <a:pos x="32" y="8"/>
                </a:cxn>
                <a:cxn ang="0">
                  <a:pos x="32" y="10"/>
                </a:cxn>
                <a:cxn ang="0">
                  <a:pos x="28" y="14"/>
                </a:cxn>
                <a:cxn ang="0">
                  <a:pos x="26" y="14"/>
                </a:cxn>
                <a:cxn ang="0">
                  <a:pos x="24" y="14"/>
                </a:cxn>
                <a:cxn ang="0">
                  <a:pos x="22" y="14"/>
                </a:cxn>
                <a:cxn ang="0">
                  <a:pos x="22" y="12"/>
                </a:cxn>
                <a:cxn ang="0">
                  <a:pos x="22" y="14"/>
                </a:cxn>
                <a:cxn ang="0">
                  <a:pos x="24" y="16"/>
                </a:cxn>
                <a:cxn ang="0">
                  <a:pos x="26" y="16"/>
                </a:cxn>
                <a:cxn ang="0">
                  <a:pos x="28" y="18"/>
                </a:cxn>
                <a:cxn ang="0">
                  <a:pos x="26" y="18"/>
                </a:cxn>
                <a:cxn ang="0">
                  <a:pos x="26" y="20"/>
                </a:cxn>
              </a:cxnLst>
              <a:rect l="0" t="0" r="r" b="b"/>
              <a:pathLst>
                <a:path w="32" h="32">
                  <a:moveTo>
                    <a:pt x="26" y="20"/>
                  </a:moveTo>
                  <a:lnTo>
                    <a:pt x="24" y="22"/>
                  </a:lnTo>
                  <a:lnTo>
                    <a:pt x="22" y="24"/>
                  </a:lnTo>
                  <a:lnTo>
                    <a:pt x="18" y="26"/>
                  </a:lnTo>
                  <a:lnTo>
                    <a:pt x="18" y="28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10" y="32"/>
                  </a:lnTo>
                  <a:lnTo>
                    <a:pt x="8" y="30"/>
                  </a:lnTo>
                  <a:lnTo>
                    <a:pt x="4" y="26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0" y="24"/>
                  </a:lnTo>
                  <a:lnTo>
                    <a:pt x="12" y="24"/>
                  </a:lnTo>
                  <a:lnTo>
                    <a:pt x="10" y="22"/>
                  </a:lnTo>
                  <a:lnTo>
                    <a:pt x="8" y="22"/>
                  </a:lnTo>
                  <a:lnTo>
                    <a:pt x="6" y="22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16"/>
                  </a:lnTo>
                  <a:lnTo>
                    <a:pt x="2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6" y="4"/>
                  </a:lnTo>
                  <a:lnTo>
                    <a:pt x="30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28" y="14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4" y="16"/>
                  </a:lnTo>
                  <a:lnTo>
                    <a:pt x="26" y="16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6" y="2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3" name="Freeform 163"/>
            <p:cNvSpPr>
              <a:spLocks/>
            </p:cNvSpPr>
            <p:nvPr/>
          </p:nvSpPr>
          <p:spPr bwMode="auto">
            <a:xfrm>
              <a:off x="2296" y="3390"/>
              <a:ext cx="14" cy="8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14" y="4"/>
                </a:cxn>
                <a:cxn ang="0">
                  <a:pos x="10" y="6"/>
                </a:cxn>
                <a:cxn ang="0">
                  <a:pos x="6" y="6"/>
                </a:cxn>
                <a:cxn ang="0">
                  <a:pos x="6" y="8"/>
                </a:cxn>
              </a:cxnLst>
              <a:rect l="0" t="0" r="r" b="b"/>
              <a:pathLst>
                <a:path w="14" h="8">
                  <a:moveTo>
                    <a:pt x="6" y="8"/>
                  </a:move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4"/>
                  </a:lnTo>
                  <a:lnTo>
                    <a:pt x="10" y="6"/>
                  </a:lnTo>
                  <a:lnTo>
                    <a:pt x="6" y="6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4" name="Freeform 164"/>
            <p:cNvSpPr>
              <a:spLocks/>
            </p:cNvSpPr>
            <p:nvPr/>
          </p:nvSpPr>
          <p:spPr bwMode="auto">
            <a:xfrm>
              <a:off x="2314" y="3394"/>
              <a:ext cx="8" cy="4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4" y="4"/>
                </a:cxn>
              </a:cxnLst>
              <a:rect l="0" t="0" r="r" b="b"/>
              <a:pathLst>
                <a:path w="8" h="4">
                  <a:moveTo>
                    <a:pt x="4" y="4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5" name="Freeform 165"/>
            <p:cNvSpPr>
              <a:spLocks/>
            </p:cNvSpPr>
            <p:nvPr/>
          </p:nvSpPr>
          <p:spPr bwMode="auto">
            <a:xfrm>
              <a:off x="2304" y="3396"/>
              <a:ext cx="10" cy="4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2" y="4"/>
                </a:cxn>
              </a:cxnLst>
              <a:rect l="0" t="0" r="r" b="b"/>
              <a:pathLst>
                <a:path w="10" h="4">
                  <a:moveTo>
                    <a:pt x="2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2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6" name="Freeform 166"/>
            <p:cNvSpPr>
              <a:spLocks/>
            </p:cNvSpPr>
            <p:nvPr/>
          </p:nvSpPr>
          <p:spPr bwMode="auto">
            <a:xfrm>
              <a:off x="2328" y="3398"/>
              <a:ext cx="10" cy="10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0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4"/>
                </a:cxn>
                <a:cxn ang="0">
                  <a:pos x="10" y="8"/>
                </a:cxn>
                <a:cxn ang="0">
                  <a:pos x="8" y="10"/>
                </a:cxn>
                <a:cxn ang="0">
                  <a:pos x="4" y="10"/>
                </a:cxn>
                <a:cxn ang="0">
                  <a:pos x="2" y="10"/>
                </a:cxn>
              </a:cxnLst>
              <a:rect l="0" t="0" r="r" b="b"/>
              <a:pathLst>
                <a:path w="10" h="10">
                  <a:moveTo>
                    <a:pt x="2" y="10"/>
                  </a:moveTo>
                  <a:lnTo>
                    <a:pt x="0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4"/>
                  </a:lnTo>
                  <a:lnTo>
                    <a:pt x="10" y="8"/>
                  </a:lnTo>
                  <a:lnTo>
                    <a:pt x="8" y="10"/>
                  </a:lnTo>
                  <a:lnTo>
                    <a:pt x="4" y="10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7" name="Freeform 167"/>
            <p:cNvSpPr>
              <a:spLocks/>
            </p:cNvSpPr>
            <p:nvPr/>
          </p:nvSpPr>
          <p:spPr bwMode="auto">
            <a:xfrm>
              <a:off x="2284" y="3398"/>
              <a:ext cx="4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2" y="8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8" name="Freeform 168"/>
            <p:cNvSpPr>
              <a:spLocks/>
            </p:cNvSpPr>
            <p:nvPr/>
          </p:nvSpPr>
          <p:spPr bwMode="auto">
            <a:xfrm>
              <a:off x="2302" y="3400"/>
              <a:ext cx="24" cy="12"/>
            </a:xfrm>
            <a:custGeom>
              <a:avLst/>
              <a:gdLst/>
              <a:ahLst/>
              <a:cxnLst>
                <a:cxn ang="0">
                  <a:pos x="6" y="12"/>
                </a:cxn>
                <a:cxn ang="0">
                  <a:pos x="4" y="12"/>
                </a:cxn>
                <a:cxn ang="0">
                  <a:pos x="2" y="10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8" y="2"/>
                </a:cxn>
                <a:cxn ang="0">
                  <a:pos x="20" y="2"/>
                </a:cxn>
                <a:cxn ang="0">
                  <a:pos x="22" y="2"/>
                </a:cxn>
                <a:cxn ang="0">
                  <a:pos x="22" y="4"/>
                </a:cxn>
                <a:cxn ang="0">
                  <a:pos x="24" y="6"/>
                </a:cxn>
                <a:cxn ang="0">
                  <a:pos x="16" y="8"/>
                </a:cxn>
                <a:cxn ang="0">
                  <a:pos x="10" y="10"/>
                </a:cxn>
                <a:cxn ang="0">
                  <a:pos x="8" y="12"/>
                </a:cxn>
                <a:cxn ang="0">
                  <a:pos x="6" y="12"/>
                </a:cxn>
              </a:cxnLst>
              <a:rect l="0" t="0" r="r" b="b"/>
              <a:pathLst>
                <a:path w="24" h="12">
                  <a:moveTo>
                    <a:pt x="6" y="12"/>
                  </a:moveTo>
                  <a:lnTo>
                    <a:pt x="4" y="12"/>
                  </a:lnTo>
                  <a:lnTo>
                    <a:pt x="2" y="10"/>
                  </a:lnTo>
                  <a:lnTo>
                    <a:pt x="0" y="6"/>
                  </a:lnTo>
                  <a:lnTo>
                    <a:pt x="0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2" y="4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59" name="Freeform 169"/>
            <p:cNvSpPr>
              <a:spLocks/>
            </p:cNvSpPr>
            <p:nvPr/>
          </p:nvSpPr>
          <p:spPr bwMode="auto">
            <a:xfrm>
              <a:off x="2292" y="3402"/>
              <a:ext cx="8" cy="4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6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</a:cxnLst>
              <a:rect l="0" t="0" r="r" b="b"/>
              <a:pathLst>
                <a:path w="8" h="4">
                  <a:moveTo>
                    <a:pt x="8" y="4"/>
                  </a:moveTo>
                  <a:lnTo>
                    <a:pt x="6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0" name="Freeform 170"/>
            <p:cNvSpPr>
              <a:spLocks/>
            </p:cNvSpPr>
            <p:nvPr/>
          </p:nvSpPr>
          <p:spPr bwMode="auto">
            <a:xfrm>
              <a:off x="2296" y="3408"/>
              <a:ext cx="10" cy="6"/>
            </a:xfrm>
            <a:custGeom>
              <a:avLst/>
              <a:gdLst/>
              <a:ahLst/>
              <a:cxnLst>
                <a:cxn ang="0">
                  <a:pos x="8" y="6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10" y="6"/>
                </a:cxn>
                <a:cxn ang="0">
                  <a:pos x="8" y="6"/>
                </a:cxn>
              </a:cxnLst>
              <a:rect l="0" t="0" r="r" b="b"/>
              <a:pathLst>
                <a:path w="10" h="6">
                  <a:moveTo>
                    <a:pt x="8" y="6"/>
                  </a:moveTo>
                  <a:lnTo>
                    <a:pt x="6" y="6"/>
                  </a:lnTo>
                  <a:lnTo>
                    <a:pt x="4" y="6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1" name="Freeform 171"/>
            <p:cNvSpPr>
              <a:spLocks/>
            </p:cNvSpPr>
            <p:nvPr/>
          </p:nvSpPr>
          <p:spPr bwMode="auto">
            <a:xfrm>
              <a:off x="2330" y="3408"/>
              <a:ext cx="6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6"/>
                </a:cxn>
              </a:cxnLst>
              <a:rect l="0" t="0" r="r" b="b"/>
              <a:pathLst>
                <a:path w="6" h="6">
                  <a:moveTo>
                    <a:pt x="2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2" name="Freeform 172"/>
            <p:cNvSpPr>
              <a:spLocks/>
            </p:cNvSpPr>
            <p:nvPr/>
          </p:nvSpPr>
          <p:spPr bwMode="auto">
            <a:xfrm>
              <a:off x="2322" y="3410"/>
              <a:ext cx="8" cy="10"/>
            </a:xfrm>
            <a:custGeom>
              <a:avLst/>
              <a:gdLst/>
              <a:ahLst/>
              <a:cxnLst>
                <a:cxn ang="0">
                  <a:pos x="4" y="10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8" y="6"/>
                </a:cxn>
                <a:cxn ang="0">
                  <a:pos x="8" y="8"/>
                </a:cxn>
                <a:cxn ang="0">
                  <a:pos x="8" y="10"/>
                </a:cxn>
                <a:cxn ang="0">
                  <a:pos x="6" y="10"/>
                </a:cxn>
                <a:cxn ang="0">
                  <a:pos x="4" y="10"/>
                </a:cxn>
              </a:cxnLst>
              <a:rect l="0" t="0" r="r" b="b"/>
              <a:pathLst>
                <a:path w="8" h="10">
                  <a:moveTo>
                    <a:pt x="4" y="10"/>
                  </a:moveTo>
                  <a:lnTo>
                    <a:pt x="4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8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3" name="Freeform 173"/>
            <p:cNvSpPr>
              <a:spLocks/>
            </p:cNvSpPr>
            <p:nvPr/>
          </p:nvSpPr>
          <p:spPr bwMode="auto">
            <a:xfrm>
              <a:off x="2312" y="3410"/>
              <a:ext cx="10" cy="4"/>
            </a:xfrm>
            <a:custGeom>
              <a:avLst/>
              <a:gdLst/>
              <a:ahLst/>
              <a:cxnLst>
                <a:cxn ang="0">
                  <a:pos x="6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8" y="4"/>
                </a:cxn>
                <a:cxn ang="0">
                  <a:pos x="6" y="4"/>
                </a:cxn>
              </a:cxnLst>
              <a:rect l="0" t="0" r="r" b="b"/>
              <a:pathLst>
                <a:path w="10" h="4">
                  <a:moveTo>
                    <a:pt x="6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4" name="Freeform 174"/>
            <p:cNvSpPr>
              <a:spLocks/>
            </p:cNvSpPr>
            <p:nvPr/>
          </p:nvSpPr>
          <p:spPr bwMode="auto">
            <a:xfrm>
              <a:off x="2272" y="3412"/>
              <a:ext cx="4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2" y="6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5" name="Freeform 175"/>
            <p:cNvSpPr>
              <a:spLocks/>
            </p:cNvSpPr>
            <p:nvPr/>
          </p:nvSpPr>
          <p:spPr bwMode="auto">
            <a:xfrm>
              <a:off x="2304" y="3414"/>
              <a:ext cx="20" cy="10"/>
            </a:xfrm>
            <a:custGeom>
              <a:avLst/>
              <a:gdLst/>
              <a:ahLst/>
              <a:cxnLst>
                <a:cxn ang="0">
                  <a:pos x="4" y="10"/>
                </a:cxn>
                <a:cxn ang="0">
                  <a:pos x="0" y="10"/>
                </a:cxn>
                <a:cxn ang="0">
                  <a:pos x="2" y="8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8" y="2"/>
                </a:cxn>
                <a:cxn ang="0">
                  <a:pos x="18" y="4"/>
                </a:cxn>
                <a:cxn ang="0">
                  <a:pos x="20" y="6"/>
                </a:cxn>
                <a:cxn ang="0">
                  <a:pos x="18" y="8"/>
                </a:cxn>
                <a:cxn ang="0">
                  <a:pos x="16" y="8"/>
                </a:cxn>
                <a:cxn ang="0">
                  <a:pos x="14" y="8"/>
                </a:cxn>
                <a:cxn ang="0">
                  <a:pos x="10" y="8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4" y="10"/>
                </a:cxn>
              </a:cxnLst>
              <a:rect l="0" t="0" r="r" b="b"/>
              <a:pathLst>
                <a:path w="20" h="10">
                  <a:moveTo>
                    <a:pt x="4" y="10"/>
                  </a:moveTo>
                  <a:lnTo>
                    <a:pt x="0" y="10"/>
                  </a:lnTo>
                  <a:lnTo>
                    <a:pt x="2" y="8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20" y="6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6" name="Freeform 176"/>
            <p:cNvSpPr>
              <a:spLocks/>
            </p:cNvSpPr>
            <p:nvPr/>
          </p:nvSpPr>
          <p:spPr bwMode="auto">
            <a:xfrm>
              <a:off x="2310" y="3422"/>
              <a:ext cx="22" cy="16"/>
            </a:xfrm>
            <a:custGeom>
              <a:avLst/>
              <a:gdLst/>
              <a:ahLst/>
              <a:cxnLst>
                <a:cxn ang="0">
                  <a:pos x="22" y="16"/>
                </a:cxn>
                <a:cxn ang="0">
                  <a:pos x="18" y="14"/>
                </a:cxn>
                <a:cxn ang="0">
                  <a:pos x="16" y="14"/>
                </a:cxn>
                <a:cxn ang="0">
                  <a:pos x="14" y="14"/>
                </a:cxn>
                <a:cxn ang="0">
                  <a:pos x="12" y="14"/>
                </a:cxn>
                <a:cxn ang="0">
                  <a:pos x="10" y="14"/>
                </a:cxn>
                <a:cxn ang="0">
                  <a:pos x="10" y="12"/>
                </a:cxn>
                <a:cxn ang="0">
                  <a:pos x="6" y="10"/>
                </a:cxn>
                <a:cxn ang="0">
                  <a:pos x="4" y="10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2"/>
                </a:cxn>
                <a:cxn ang="0">
                  <a:pos x="20" y="4"/>
                </a:cxn>
                <a:cxn ang="0">
                  <a:pos x="22" y="6"/>
                </a:cxn>
                <a:cxn ang="0">
                  <a:pos x="22" y="8"/>
                </a:cxn>
                <a:cxn ang="0">
                  <a:pos x="22" y="10"/>
                </a:cxn>
                <a:cxn ang="0">
                  <a:pos x="22" y="16"/>
                </a:cxn>
              </a:cxnLst>
              <a:rect l="0" t="0" r="r" b="b"/>
              <a:pathLst>
                <a:path w="22" h="16">
                  <a:moveTo>
                    <a:pt x="22" y="16"/>
                  </a:moveTo>
                  <a:lnTo>
                    <a:pt x="18" y="14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0" y="14"/>
                  </a:lnTo>
                  <a:lnTo>
                    <a:pt x="10" y="12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22" y="10"/>
                  </a:lnTo>
                  <a:lnTo>
                    <a:pt x="22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7" name="Freeform 177"/>
            <p:cNvSpPr>
              <a:spLocks/>
            </p:cNvSpPr>
            <p:nvPr/>
          </p:nvSpPr>
          <p:spPr bwMode="auto">
            <a:xfrm>
              <a:off x="2302" y="3432"/>
              <a:ext cx="6" cy="8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6" y="6"/>
                </a:cxn>
                <a:cxn ang="0">
                  <a:pos x="6" y="8"/>
                </a:cxn>
                <a:cxn ang="0">
                  <a:pos x="4" y="6"/>
                </a:cxn>
              </a:cxnLst>
              <a:rect l="0" t="0" r="r" b="b"/>
              <a:pathLst>
                <a:path w="6" h="8">
                  <a:moveTo>
                    <a:pt x="4" y="6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8" name="Freeform 178"/>
            <p:cNvSpPr>
              <a:spLocks/>
            </p:cNvSpPr>
            <p:nvPr/>
          </p:nvSpPr>
          <p:spPr bwMode="auto">
            <a:xfrm>
              <a:off x="2312" y="3434"/>
              <a:ext cx="16" cy="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2" y="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6" y="2"/>
                </a:cxn>
                <a:cxn ang="0">
                  <a:pos x="16" y="4"/>
                </a:cxn>
                <a:cxn ang="0">
                  <a:pos x="16" y="6"/>
                </a:cxn>
                <a:cxn ang="0">
                  <a:pos x="16" y="8"/>
                </a:cxn>
                <a:cxn ang="0">
                  <a:pos x="14" y="8"/>
                </a:cxn>
                <a:cxn ang="0">
                  <a:pos x="10" y="8"/>
                </a:cxn>
                <a:cxn ang="0">
                  <a:pos x="8" y="8"/>
                </a:cxn>
              </a:cxnLst>
              <a:rect l="0" t="0" r="r" b="b"/>
              <a:pathLst>
                <a:path w="16" h="8">
                  <a:moveTo>
                    <a:pt x="8" y="8"/>
                  </a:moveTo>
                  <a:lnTo>
                    <a:pt x="2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0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69" name="Freeform 179"/>
            <p:cNvSpPr>
              <a:spLocks/>
            </p:cNvSpPr>
            <p:nvPr/>
          </p:nvSpPr>
          <p:spPr bwMode="auto">
            <a:xfrm>
              <a:off x="2298" y="3438"/>
              <a:ext cx="10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10" y="6"/>
                </a:cxn>
                <a:cxn ang="0">
                  <a:pos x="8" y="6"/>
                </a:cxn>
                <a:cxn ang="0">
                  <a:pos x="6" y="6"/>
                </a:cxn>
              </a:cxnLst>
              <a:rect l="0" t="0" r="r" b="b"/>
              <a:pathLst>
                <a:path w="10" h="6">
                  <a:moveTo>
                    <a:pt x="6" y="6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10" y="6"/>
                  </a:lnTo>
                  <a:lnTo>
                    <a:pt x="8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0" name="Freeform 180"/>
            <p:cNvSpPr>
              <a:spLocks/>
            </p:cNvSpPr>
            <p:nvPr/>
          </p:nvSpPr>
          <p:spPr bwMode="auto">
            <a:xfrm>
              <a:off x="2320" y="3442"/>
              <a:ext cx="8" cy="4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6" y="4"/>
                </a:cxn>
                <a:cxn ang="0">
                  <a:pos x="4" y="4"/>
                </a:cxn>
              </a:cxnLst>
              <a:rect l="0" t="0" r="r" b="b"/>
              <a:pathLst>
                <a:path w="8" h="4">
                  <a:moveTo>
                    <a:pt x="4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6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1" name="Freeform 181"/>
            <p:cNvSpPr>
              <a:spLocks/>
            </p:cNvSpPr>
            <p:nvPr/>
          </p:nvSpPr>
          <p:spPr bwMode="auto">
            <a:xfrm>
              <a:off x="2314" y="3446"/>
              <a:ext cx="14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4" y="4"/>
                </a:cxn>
                <a:cxn ang="0">
                  <a:pos x="12" y="6"/>
                </a:cxn>
                <a:cxn ang="0">
                  <a:pos x="10" y="6"/>
                </a:cxn>
                <a:cxn ang="0">
                  <a:pos x="8" y="6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2" y="6"/>
                </a:cxn>
                <a:cxn ang="0">
                  <a:pos x="0" y="8"/>
                </a:cxn>
              </a:cxnLst>
              <a:rect l="0" t="0" r="r" b="b"/>
              <a:pathLst>
                <a:path w="14" h="8">
                  <a:moveTo>
                    <a:pt x="0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2" name="Freeform 182"/>
            <p:cNvSpPr>
              <a:spLocks/>
            </p:cNvSpPr>
            <p:nvPr/>
          </p:nvSpPr>
          <p:spPr bwMode="auto">
            <a:xfrm>
              <a:off x="2328" y="3446"/>
              <a:ext cx="10" cy="18"/>
            </a:xfrm>
            <a:custGeom>
              <a:avLst/>
              <a:gdLst/>
              <a:ahLst/>
              <a:cxnLst>
                <a:cxn ang="0">
                  <a:pos x="6" y="18"/>
                </a:cxn>
                <a:cxn ang="0">
                  <a:pos x="2" y="12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8" y="14"/>
                </a:cxn>
                <a:cxn ang="0">
                  <a:pos x="8" y="16"/>
                </a:cxn>
                <a:cxn ang="0">
                  <a:pos x="8" y="18"/>
                </a:cxn>
                <a:cxn ang="0">
                  <a:pos x="6" y="18"/>
                </a:cxn>
              </a:cxnLst>
              <a:rect l="0" t="0" r="r" b="b"/>
              <a:pathLst>
                <a:path w="10" h="18">
                  <a:moveTo>
                    <a:pt x="6" y="18"/>
                  </a:moveTo>
                  <a:lnTo>
                    <a:pt x="2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3" name="Freeform 183"/>
            <p:cNvSpPr>
              <a:spLocks/>
            </p:cNvSpPr>
            <p:nvPr/>
          </p:nvSpPr>
          <p:spPr bwMode="auto">
            <a:xfrm>
              <a:off x="2300" y="3446"/>
              <a:ext cx="12" cy="20"/>
            </a:xfrm>
            <a:custGeom>
              <a:avLst/>
              <a:gdLst/>
              <a:ahLst/>
              <a:cxnLst>
                <a:cxn ang="0">
                  <a:pos x="2" y="20"/>
                </a:cxn>
                <a:cxn ang="0">
                  <a:pos x="0" y="18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2" y="14"/>
                </a:cxn>
                <a:cxn ang="0">
                  <a:pos x="2" y="12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10" y="4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12" y="10"/>
                </a:cxn>
                <a:cxn ang="0">
                  <a:pos x="10" y="12"/>
                </a:cxn>
                <a:cxn ang="0">
                  <a:pos x="10" y="14"/>
                </a:cxn>
                <a:cxn ang="0">
                  <a:pos x="4" y="18"/>
                </a:cxn>
                <a:cxn ang="0">
                  <a:pos x="2" y="20"/>
                </a:cxn>
              </a:cxnLst>
              <a:rect l="0" t="0" r="r" b="b"/>
              <a:pathLst>
                <a:path w="12" h="20">
                  <a:moveTo>
                    <a:pt x="2" y="20"/>
                  </a:moveTo>
                  <a:lnTo>
                    <a:pt x="0" y="18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4" y="18"/>
                  </a:lnTo>
                  <a:lnTo>
                    <a:pt x="2" y="2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4" name="Freeform 184"/>
            <p:cNvSpPr>
              <a:spLocks/>
            </p:cNvSpPr>
            <p:nvPr/>
          </p:nvSpPr>
          <p:spPr bwMode="auto">
            <a:xfrm>
              <a:off x="2316" y="3452"/>
              <a:ext cx="10" cy="10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10" y="4"/>
                </a:cxn>
                <a:cxn ang="0">
                  <a:pos x="8" y="6"/>
                </a:cxn>
                <a:cxn ang="0">
                  <a:pos x="8" y="8"/>
                </a:cxn>
                <a:cxn ang="0">
                  <a:pos x="6" y="10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lnTo>
                    <a:pt x="4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10" y="4"/>
                  </a:lnTo>
                  <a:lnTo>
                    <a:pt x="8" y="6"/>
                  </a:lnTo>
                  <a:lnTo>
                    <a:pt x="8" y="8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5" name="Freeform 185"/>
            <p:cNvSpPr>
              <a:spLocks/>
            </p:cNvSpPr>
            <p:nvPr/>
          </p:nvSpPr>
          <p:spPr bwMode="auto">
            <a:xfrm>
              <a:off x="2292" y="3454"/>
              <a:ext cx="6" cy="10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0" y="10"/>
                </a:cxn>
                <a:cxn ang="0">
                  <a:pos x="0" y="8"/>
                </a:cxn>
              </a:cxnLst>
              <a:rect l="0" t="0" r="r" b="b"/>
              <a:pathLst>
                <a:path w="6" h="10">
                  <a:moveTo>
                    <a:pt x="0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6" name="Freeform 186"/>
            <p:cNvSpPr>
              <a:spLocks/>
            </p:cNvSpPr>
            <p:nvPr/>
          </p:nvSpPr>
          <p:spPr bwMode="auto">
            <a:xfrm>
              <a:off x="2316" y="3462"/>
              <a:ext cx="6" cy="10"/>
            </a:xfrm>
            <a:custGeom>
              <a:avLst/>
              <a:gdLst/>
              <a:ahLst/>
              <a:cxnLst>
                <a:cxn ang="0">
                  <a:pos x="4" y="10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6" y="8"/>
                </a:cxn>
                <a:cxn ang="0">
                  <a:pos x="4" y="10"/>
                </a:cxn>
              </a:cxnLst>
              <a:rect l="0" t="0" r="r" b="b"/>
              <a:pathLst>
                <a:path w="6" h="10">
                  <a:moveTo>
                    <a:pt x="4" y="10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7" name="Freeform 187"/>
            <p:cNvSpPr>
              <a:spLocks/>
            </p:cNvSpPr>
            <p:nvPr/>
          </p:nvSpPr>
          <p:spPr bwMode="auto">
            <a:xfrm>
              <a:off x="2324" y="3466"/>
              <a:ext cx="8" cy="1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4" y="6"/>
                </a:cxn>
                <a:cxn ang="0">
                  <a:pos x="4" y="10"/>
                </a:cxn>
                <a:cxn ang="0">
                  <a:pos x="0" y="10"/>
                </a:cxn>
              </a:cxnLst>
              <a:rect l="0" t="0" r="r" b="b"/>
              <a:pathLst>
                <a:path w="8" h="10">
                  <a:moveTo>
                    <a:pt x="0" y="10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6"/>
                  </a:lnTo>
                  <a:lnTo>
                    <a:pt x="4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8" name="Freeform 188"/>
            <p:cNvSpPr>
              <a:spLocks/>
            </p:cNvSpPr>
            <p:nvPr/>
          </p:nvSpPr>
          <p:spPr bwMode="auto">
            <a:xfrm>
              <a:off x="2274" y="3466"/>
              <a:ext cx="18" cy="18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6" y="12"/>
                </a:cxn>
                <a:cxn ang="0">
                  <a:pos x="6" y="10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10" y="4"/>
                </a:cxn>
                <a:cxn ang="0">
                  <a:pos x="14" y="2"/>
                </a:cxn>
                <a:cxn ang="0">
                  <a:pos x="16" y="0"/>
                </a:cxn>
                <a:cxn ang="0">
                  <a:pos x="18" y="2"/>
                </a:cxn>
                <a:cxn ang="0">
                  <a:pos x="16" y="2"/>
                </a:cxn>
                <a:cxn ang="0">
                  <a:pos x="16" y="10"/>
                </a:cxn>
                <a:cxn ang="0">
                  <a:pos x="14" y="10"/>
                </a:cxn>
                <a:cxn ang="0">
                  <a:pos x="14" y="12"/>
                </a:cxn>
                <a:cxn ang="0">
                  <a:pos x="8" y="16"/>
                </a:cxn>
                <a:cxn ang="0">
                  <a:pos x="8" y="18"/>
                </a:cxn>
                <a:cxn ang="0">
                  <a:pos x="4" y="18"/>
                </a:cxn>
                <a:cxn ang="0">
                  <a:pos x="2" y="16"/>
                </a:cxn>
              </a:cxnLst>
              <a:rect l="0" t="0" r="r" b="b"/>
              <a:pathLst>
                <a:path w="18" h="18">
                  <a:moveTo>
                    <a:pt x="2" y="16"/>
                  </a:move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0" y="4"/>
                  </a:lnTo>
                  <a:lnTo>
                    <a:pt x="2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6" y="10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4" y="18"/>
                  </a:lnTo>
                  <a:lnTo>
                    <a:pt x="2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79" name="Freeform 189"/>
            <p:cNvSpPr>
              <a:spLocks/>
            </p:cNvSpPr>
            <p:nvPr/>
          </p:nvSpPr>
          <p:spPr bwMode="auto">
            <a:xfrm>
              <a:off x="2328" y="3470"/>
              <a:ext cx="6" cy="8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6" y="8"/>
                </a:cxn>
              </a:cxnLst>
              <a:rect l="0" t="0" r="r" b="b"/>
              <a:pathLst>
                <a:path w="6" h="8">
                  <a:moveTo>
                    <a:pt x="6" y="8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0" name="Freeform 190"/>
            <p:cNvSpPr>
              <a:spLocks/>
            </p:cNvSpPr>
            <p:nvPr/>
          </p:nvSpPr>
          <p:spPr bwMode="auto">
            <a:xfrm>
              <a:off x="2324" y="3478"/>
              <a:ext cx="10" cy="10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10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8" y="10"/>
                </a:cxn>
                <a:cxn ang="0">
                  <a:pos x="6" y="10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lnTo>
                    <a:pt x="4" y="10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8" y="10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1" name="Freeform 191"/>
            <p:cNvSpPr>
              <a:spLocks/>
            </p:cNvSpPr>
            <p:nvPr/>
          </p:nvSpPr>
          <p:spPr bwMode="auto">
            <a:xfrm>
              <a:off x="2312" y="3532"/>
              <a:ext cx="10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8" y="6"/>
                </a:cxn>
                <a:cxn ang="0">
                  <a:pos x="6" y="8"/>
                </a:cxn>
                <a:cxn ang="0">
                  <a:pos x="4" y="8"/>
                </a:cxn>
                <a:cxn ang="0">
                  <a:pos x="2" y="8"/>
                </a:cxn>
              </a:cxnLst>
              <a:rect l="0" t="0" r="r" b="b"/>
              <a:pathLst>
                <a:path w="10" h="8">
                  <a:moveTo>
                    <a:pt x="2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8" y="0"/>
                  </a:lnTo>
                  <a:lnTo>
                    <a:pt x="10" y="2"/>
                  </a:lnTo>
                  <a:lnTo>
                    <a:pt x="8" y="6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2" name="Freeform 192"/>
            <p:cNvSpPr>
              <a:spLocks/>
            </p:cNvSpPr>
            <p:nvPr/>
          </p:nvSpPr>
          <p:spPr bwMode="auto">
            <a:xfrm>
              <a:off x="2302" y="3534"/>
              <a:ext cx="8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6" y="2"/>
                </a:cxn>
                <a:cxn ang="0">
                  <a:pos x="2" y="6"/>
                </a:cxn>
                <a:cxn ang="0">
                  <a:pos x="0" y="6"/>
                </a:cxn>
              </a:cxnLst>
              <a:rect l="0" t="0" r="r" b="b"/>
              <a:pathLst>
                <a:path w="8" h="6">
                  <a:moveTo>
                    <a:pt x="0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3" name="Freeform 193"/>
            <p:cNvSpPr>
              <a:spLocks/>
            </p:cNvSpPr>
            <p:nvPr/>
          </p:nvSpPr>
          <p:spPr bwMode="auto">
            <a:xfrm>
              <a:off x="2278" y="3568"/>
              <a:ext cx="8" cy="6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2" y="6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4" y="6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lnTo>
                    <a:pt x="2" y="6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4" name="Freeform 194"/>
            <p:cNvSpPr>
              <a:spLocks/>
            </p:cNvSpPr>
            <p:nvPr/>
          </p:nvSpPr>
          <p:spPr bwMode="auto">
            <a:xfrm>
              <a:off x="2270" y="3570"/>
              <a:ext cx="8" cy="8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6" y="6"/>
                </a:cxn>
                <a:cxn ang="0">
                  <a:pos x="6" y="8"/>
                </a:cxn>
                <a:cxn ang="0">
                  <a:pos x="2" y="8"/>
                </a:cxn>
                <a:cxn ang="0">
                  <a:pos x="4" y="6"/>
                </a:cxn>
              </a:cxnLst>
              <a:rect l="0" t="0" r="r" b="b"/>
              <a:pathLst>
                <a:path w="8" h="8">
                  <a:moveTo>
                    <a:pt x="4" y="6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6" y="6"/>
                  </a:lnTo>
                  <a:lnTo>
                    <a:pt x="6" y="8"/>
                  </a:lnTo>
                  <a:lnTo>
                    <a:pt x="2" y="8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5" name="Freeform 195"/>
            <p:cNvSpPr>
              <a:spLocks/>
            </p:cNvSpPr>
            <p:nvPr/>
          </p:nvSpPr>
          <p:spPr bwMode="auto">
            <a:xfrm>
              <a:off x="2302" y="3574"/>
              <a:ext cx="28" cy="10"/>
            </a:xfrm>
            <a:custGeom>
              <a:avLst/>
              <a:gdLst/>
              <a:ahLst/>
              <a:cxnLst>
                <a:cxn ang="0">
                  <a:pos x="8" y="10"/>
                </a:cxn>
                <a:cxn ang="0">
                  <a:pos x="6" y="10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8" y="0"/>
                </a:cxn>
                <a:cxn ang="0">
                  <a:pos x="18" y="4"/>
                </a:cxn>
                <a:cxn ang="0">
                  <a:pos x="24" y="6"/>
                </a:cxn>
                <a:cxn ang="0">
                  <a:pos x="26" y="6"/>
                </a:cxn>
                <a:cxn ang="0">
                  <a:pos x="26" y="4"/>
                </a:cxn>
                <a:cxn ang="0">
                  <a:pos x="28" y="4"/>
                </a:cxn>
                <a:cxn ang="0">
                  <a:pos x="28" y="6"/>
                </a:cxn>
                <a:cxn ang="0">
                  <a:pos x="26" y="8"/>
                </a:cxn>
                <a:cxn ang="0">
                  <a:pos x="24" y="8"/>
                </a:cxn>
                <a:cxn ang="0">
                  <a:pos x="18" y="8"/>
                </a:cxn>
                <a:cxn ang="0">
                  <a:pos x="16" y="8"/>
                </a:cxn>
                <a:cxn ang="0">
                  <a:pos x="8" y="10"/>
                </a:cxn>
              </a:cxnLst>
              <a:rect l="0" t="0" r="r" b="b"/>
              <a:pathLst>
                <a:path w="28" h="10">
                  <a:moveTo>
                    <a:pt x="8" y="10"/>
                  </a:moveTo>
                  <a:lnTo>
                    <a:pt x="6" y="10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8" y="0"/>
                  </a:lnTo>
                  <a:lnTo>
                    <a:pt x="18" y="4"/>
                  </a:lnTo>
                  <a:lnTo>
                    <a:pt x="24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8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6" name="Freeform 196"/>
            <p:cNvSpPr>
              <a:spLocks/>
            </p:cNvSpPr>
            <p:nvPr/>
          </p:nvSpPr>
          <p:spPr bwMode="auto">
            <a:xfrm>
              <a:off x="2272" y="3576"/>
              <a:ext cx="18" cy="14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4" y="10"/>
                </a:cxn>
                <a:cxn ang="0">
                  <a:pos x="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2" y="6"/>
                </a:cxn>
                <a:cxn ang="0">
                  <a:pos x="6" y="6"/>
                </a:cxn>
                <a:cxn ang="0">
                  <a:pos x="8" y="6"/>
                </a:cxn>
                <a:cxn ang="0">
                  <a:pos x="12" y="4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18" y="4"/>
                </a:cxn>
                <a:cxn ang="0">
                  <a:pos x="18" y="12"/>
                </a:cxn>
                <a:cxn ang="0">
                  <a:pos x="16" y="12"/>
                </a:cxn>
                <a:cxn ang="0">
                  <a:pos x="16" y="14"/>
                </a:cxn>
                <a:cxn ang="0">
                  <a:pos x="14" y="14"/>
                </a:cxn>
              </a:cxnLst>
              <a:rect l="0" t="0" r="r" b="b"/>
              <a:pathLst>
                <a:path w="18" h="14">
                  <a:moveTo>
                    <a:pt x="14" y="14"/>
                  </a:moveTo>
                  <a:lnTo>
                    <a:pt x="12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6"/>
                  </a:lnTo>
                  <a:lnTo>
                    <a:pt x="6" y="6"/>
                  </a:lnTo>
                  <a:lnTo>
                    <a:pt x="8" y="6"/>
                  </a:lnTo>
                  <a:lnTo>
                    <a:pt x="12" y="4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8" y="12"/>
                  </a:lnTo>
                  <a:lnTo>
                    <a:pt x="16" y="12"/>
                  </a:lnTo>
                  <a:lnTo>
                    <a:pt x="16" y="14"/>
                  </a:lnTo>
                  <a:lnTo>
                    <a:pt x="14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7" name="Freeform 197"/>
            <p:cNvSpPr>
              <a:spLocks/>
            </p:cNvSpPr>
            <p:nvPr/>
          </p:nvSpPr>
          <p:spPr bwMode="auto">
            <a:xfrm>
              <a:off x="2258" y="3586"/>
              <a:ext cx="22" cy="38"/>
            </a:xfrm>
            <a:custGeom>
              <a:avLst/>
              <a:gdLst/>
              <a:ahLst/>
              <a:cxnLst>
                <a:cxn ang="0">
                  <a:pos x="16" y="38"/>
                </a:cxn>
                <a:cxn ang="0">
                  <a:pos x="14" y="38"/>
                </a:cxn>
                <a:cxn ang="0">
                  <a:pos x="14" y="34"/>
                </a:cxn>
                <a:cxn ang="0">
                  <a:pos x="12" y="30"/>
                </a:cxn>
                <a:cxn ang="0">
                  <a:pos x="12" y="26"/>
                </a:cxn>
                <a:cxn ang="0">
                  <a:pos x="12" y="24"/>
                </a:cxn>
                <a:cxn ang="0">
                  <a:pos x="8" y="22"/>
                </a:cxn>
                <a:cxn ang="0">
                  <a:pos x="6" y="22"/>
                </a:cxn>
                <a:cxn ang="0">
                  <a:pos x="4" y="22"/>
                </a:cxn>
                <a:cxn ang="0">
                  <a:pos x="2" y="22"/>
                </a:cxn>
                <a:cxn ang="0">
                  <a:pos x="2" y="20"/>
                </a:cxn>
                <a:cxn ang="0">
                  <a:pos x="4" y="18"/>
                </a:cxn>
                <a:cxn ang="0">
                  <a:pos x="6" y="18"/>
                </a:cxn>
                <a:cxn ang="0">
                  <a:pos x="8" y="18"/>
                </a:cxn>
                <a:cxn ang="0">
                  <a:pos x="10" y="16"/>
                </a:cxn>
                <a:cxn ang="0">
                  <a:pos x="8" y="16"/>
                </a:cxn>
                <a:cxn ang="0">
                  <a:pos x="2" y="18"/>
                </a:cxn>
                <a:cxn ang="0">
                  <a:pos x="2" y="1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2" y="8"/>
                </a:cxn>
                <a:cxn ang="0">
                  <a:pos x="14" y="8"/>
                </a:cxn>
                <a:cxn ang="0">
                  <a:pos x="14" y="12"/>
                </a:cxn>
                <a:cxn ang="0">
                  <a:pos x="14" y="14"/>
                </a:cxn>
                <a:cxn ang="0">
                  <a:pos x="14" y="16"/>
                </a:cxn>
                <a:cxn ang="0">
                  <a:pos x="16" y="18"/>
                </a:cxn>
                <a:cxn ang="0">
                  <a:pos x="16" y="20"/>
                </a:cxn>
                <a:cxn ang="0">
                  <a:pos x="18" y="22"/>
                </a:cxn>
                <a:cxn ang="0">
                  <a:pos x="20" y="28"/>
                </a:cxn>
                <a:cxn ang="0">
                  <a:pos x="22" y="32"/>
                </a:cxn>
                <a:cxn ang="0">
                  <a:pos x="20" y="32"/>
                </a:cxn>
                <a:cxn ang="0">
                  <a:pos x="16" y="36"/>
                </a:cxn>
                <a:cxn ang="0">
                  <a:pos x="16" y="38"/>
                </a:cxn>
              </a:cxnLst>
              <a:rect l="0" t="0" r="r" b="b"/>
              <a:pathLst>
                <a:path w="22" h="38">
                  <a:moveTo>
                    <a:pt x="16" y="38"/>
                  </a:moveTo>
                  <a:lnTo>
                    <a:pt x="14" y="38"/>
                  </a:lnTo>
                  <a:lnTo>
                    <a:pt x="14" y="34"/>
                  </a:lnTo>
                  <a:lnTo>
                    <a:pt x="12" y="30"/>
                  </a:lnTo>
                  <a:lnTo>
                    <a:pt x="12" y="26"/>
                  </a:lnTo>
                  <a:lnTo>
                    <a:pt x="12" y="24"/>
                  </a:lnTo>
                  <a:lnTo>
                    <a:pt x="8" y="22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10" y="16"/>
                  </a:lnTo>
                  <a:lnTo>
                    <a:pt x="8" y="16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0" y="4"/>
                  </a:lnTo>
                  <a:lnTo>
                    <a:pt x="2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6" y="18"/>
                  </a:lnTo>
                  <a:lnTo>
                    <a:pt x="16" y="20"/>
                  </a:lnTo>
                  <a:lnTo>
                    <a:pt x="18" y="22"/>
                  </a:lnTo>
                  <a:lnTo>
                    <a:pt x="20" y="28"/>
                  </a:lnTo>
                  <a:lnTo>
                    <a:pt x="22" y="32"/>
                  </a:lnTo>
                  <a:lnTo>
                    <a:pt x="20" y="32"/>
                  </a:lnTo>
                  <a:lnTo>
                    <a:pt x="16" y="36"/>
                  </a:lnTo>
                  <a:lnTo>
                    <a:pt x="16" y="3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8" name="Freeform 198"/>
            <p:cNvSpPr>
              <a:spLocks/>
            </p:cNvSpPr>
            <p:nvPr/>
          </p:nvSpPr>
          <p:spPr bwMode="auto">
            <a:xfrm>
              <a:off x="2272" y="3590"/>
              <a:ext cx="18" cy="20"/>
            </a:xfrm>
            <a:custGeom>
              <a:avLst/>
              <a:gdLst/>
              <a:ahLst/>
              <a:cxnLst>
                <a:cxn ang="0">
                  <a:pos x="10" y="20"/>
                </a:cxn>
                <a:cxn ang="0">
                  <a:pos x="8" y="20"/>
                </a:cxn>
                <a:cxn ang="0">
                  <a:pos x="2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12" y="4"/>
                </a:cxn>
                <a:cxn ang="0">
                  <a:pos x="18" y="4"/>
                </a:cxn>
                <a:cxn ang="0">
                  <a:pos x="18" y="6"/>
                </a:cxn>
                <a:cxn ang="0">
                  <a:pos x="18" y="8"/>
                </a:cxn>
                <a:cxn ang="0">
                  <a:pos x="16" y="14"/>
                </a:cxn>
                <a:cxn ang="0">
                  <a:pos x="16" y="16"/>
                </a:cxn>
                <a:cxn ang="0">
                  <a:pos x="14" y="16"/>
                </a:cxn>
                <a:cxn ang="0">
                  <a:pos x="12" y="16"/>
                </a:cxn>
                <a:cxn ang="0">
                  <a:pos x="12" y="18"/>
                </a:cxn>
                <a:cxn ang="0">
                  <a:pos x="10" y="18"/>
                </a:cxn>
                <a:cxn ang="0">
                  <a:pos x="10" y="20"/>
                </a:cxn>
              </a:cxnLst>
              <a:rect l="0" t="0" r="r" b="b"/>
              <a:pathLst>
                <a:path w="18" h="20">
                  <a:moveTo>
                    <a:pt x="10" y="20"/>
                  </a:moveTo>
                  <a:lnTo>
                    <a:pt x="8" y="20"/>
                  </a:lnTo>
                  <a:lnTo>
                    <a:pt x="2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0"/>
                  </a:lnTo>
                  <a:lnTo>
                    <a:pt x="10" y="2"/>
                  </a:lnTo>
                  <a:lnTo>
                    <a:pt x="12" y="4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8" y="8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89" name="Freeform 199"/>
            <p:cNvSpPr>
              <a:spLocks/>
            </p:cNvSpPr>
            <p:nvPr/>
          </p:nvSpPr>
          <p:spPr bwMode="auto">
            <a:xfrm>
              <a:off x="2298" y="3592"/>
              <a:ext cx="10" cy="12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2" y="12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8" y="6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8" y="10"/>
                </a:cxn>
                <a:cxn ang="0">
                  <a:pos x="4" y="12"/>
                </a:cxn>
              </a:cxnLst>
              <a:rect l="0" t="0" r="r" b="b"/>
              <a:pathLst>
                <a:path w="10" h="12">
                  <a:moveTo>
                    <a:pt x="4" y="12"/>
                  </a:moveTo>
                  <a:lnTo>
                    <a:pt x="2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8" y="6"/>
                  </a:lnTo>
                  <a:lnTo>
                    <a:pt x="10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0" name="Freeform 200"/>
            <p:cNvSpPr>
              <a:spLocks/>
            </p:cNvSpPr>
            <p:nvPr/>
          </p:nvSpPr>
          <p:spPr bwMode="auto">
            <a:xfrm>
              <a:off x="2280" y="3592"/>
              <a:ext cx="24" cy="30"/>
            </a:xfrm>
            <a:custGeom>
              <a:avLst/>
              <a:gdLst/>
              <a:ahLst/>
              <a:cxnLst>
                <a:cxn ang="0">
                  <a:pos x="18" y="30"/>
                </a:cxn>
                <a:cxn ang="0">
                  <a:pos x="12" y="28"/>
                </a:cxn>
                <a:cxn ang="0">
                  <a:pos x="10" y="28"/>
                </a:cxn>
                <a:cxn ang="0">
                  <a:pos x="6" y="26"/>
                </a:cxn>
                <a:cxn ang="0">
                  <a:pos x="2" y="26"/>
                </a:cxn>
                <a:cxn ang="0">
                  <a:pos x="2" y="24"/>
                </a:cxn>
                <a:cxn ang="0">
                  <a:pos x="0" y="22"/>
                </a:cxn>
                <a:cxn ang="0">
                  <a:pos x="2" y="20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8" y="16"/>
                </a:cxn>
                <a:cxn ang="0">
                  <a:pos x="10" y="16"/>
                </a:cxn>
                <a:cxn ang="0">
                  <a:pos x="10" y="18"/>
                </a:cxn>
                <a:cxn ang="0">
                  <a:pos x="12" y="20"/>
                </a:cxn>
                <a:cxn ang="0">
                  <a:pos x="14" y="18"/>
                </a:cxn>
                <a:cxn ang="0">
                  <a:pos x="14" y="16"/>
                </a:cxn>
                <a:cxn ang="0">
                  <a:pos x="12" y="16"/>
                </a:cxn>
                <a:cxn ang="0">
                  <a:pos x="10" y="14"/>
                </a:cxn>
                <a:cxn ang="0">
                  <a:pos x="10" y="10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4" y="2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14" y="10"/>
                </a:cxn>
                <a:cxn ang="0">
                  <a:pos x="18" y="16"/>
                </a:cxn>
                <a:cxn ang="0">
                  <a:pos x="18" y="18"/>
                </a:cxn>
                <a:cxn ang="0">
                  <a:pos x="18" y="22"/>
                </a:cxn>
                <a:cxn ang="0">
                  <a:pos x="18" y="24"/>
                </a:cxn>
                <a:cxn ang="0">
                  <a:pos x="20" y="26"/>
                </a:cxn>
                <a:cxn ang="0">
                  <a:pos x="22" y="26"/>
                </a:cxn>
                <a:cxn ang="0">
                  <a:pos x="22" y="24"/>
                </a:cxn>
                <a:cxn ang="0">
                  <a:pos x="24" y="24"/>
                </a:cxn>
                <a:cxn ang="0">
                  <a:pos x="24" y="26"/>
                </a:cxn>
                <a:cxn ang="0">
                  <a:pos x="24" y="28"/>
                </a:cxn>
                <a:cxn ang="0">
                  <a:pos x="22" y="28"/>
                </a:cxn>
                <a:cxn ang="0">
                  <a:pos x="22" y="30"/>
                </a:cxn>
                <a:cxn ang="0">
                  <a:pos x="20" y="30"/>
                </a:cxn>
                <a:cxn ang="0">
                  <a:pos x="18" y="30"/>
                </a:cxn>
              </a:cxnLst>
              <a:rect l="0" t="0" r="r" b="b"/>
              <a:pathLst>
                <a:path w="24" h="30">
                  <a:moveTo>
                    <a:pt x="18" y="30"/>
                  </a:moveTo>
                  <a:lnTo>
                    <a:pt x="12" y="28"/>
                  </a:lnTo>
                  <a:lnTo>
                    <a:pt x="10" y="28"/>
                  </a:lnTo>
                  <a:lnTo>
                    <a:pt x="6" y="26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2" y="20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2" y="20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0" y="14"/>
                  </a:lnTo>
                  <a:lnTo>
                    <a:pt x="10" y="10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4" y="10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2" y="24"/>
                  </a:lnTo>
                  <a:lnTo>
                    <a:pt x="24" y="24"/>
                  </a:lnTo>
                  <a:lnTo>
                    <a:pt x="24" y="26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18" y="3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1" name="Freeform 201"/>
            <p:cNvSpPr>
              <a:spLocks/>
            </p:cNvSpPr>
            <p:nvPr/>
          </p:nvSpPr>
          <p:spPr bwMode="auto">
            <a:xfrm>
              <a:off x="2302" y="3600"/>
              <a:ext cx="12" cy="10"/>
            </a:xfrm>
            <a:custGeom>
              <a:avLst/>
              <a:gdLst/>
              <a:ahLst/>
              <a:cxnLst>
                <a:cxn ang="0">
                  <a:pos x="10" y="10"/>
                </a:cxn>
                <a:cxn ang="0">
                  <a:pos x="8" y="10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12" y="8"/>
                </a:cxn>
                <a:cxn ang="0">
                  <a:pos x="12" y="10"/>
                </a:cxn>
                <a:cxn ang="0">
                  <a:pos x="10" y="10"/>
                </a:cxn>
              </a:cxnLst>
              <a:rect l="0" t="0" r="r" b="b"/>
              <a:pathLst>
                <a:path w="12" h="10">
                  <a:moveTo>
                    <a:pt x="10" y="10"/>
                  </a:moveTo>
                  <a:lnTo>
                    <a:pt x="8" y="10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2" name="Freeform 202"/>
            <p:cNvSpPr>
              <a:spLocks/>
            </p:cNvSpPr>
            <p:nvPr/>
          </p:nvSpPr>
          <p:spPr bwMode="auto">
            <a:xfrm>
              <a:off x="2312" y="3604"/>
              <a:ext cx="8" cy="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6" y="8"/>
                </a:cxn>
                <a:cxn ang="0">
                  <a:pos x="4" y="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8" y="8"/>
                </a:cxn>
              </a:cxnLst>
              <a:rect l="0" t="0" r="r" b="b"/>
              <a:pathLst>
                <a:path w="8" h="8">
                  <a:moveTo>
                    <a:pt x="8" y="8"/>
                  </a:moveTo>
                  <a:lnTo>
                    <a:pt x="6" y="8"/>
                  </a:lnTo>
                  <a:lnTo>
                    <a:pt x="4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3" name="Freeform 203"/>
            <p:cNvSpPr>
              <a:spLocks/>
            </p:cNvSpPr>
            <p:nvPr/>
          </p:nvSpPr>
          <p:spPr bwMode="auto">
            <a:xfrm>
              <a:off x="2302" y="3606"/>
              <a:ext cx="8" cy="8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6" y="2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6" y="8"/>
                </a:cxn>
                <a:cxn ang="0">
                  <a:pos x="4" y="8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6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6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4" name="Freeform 204"/>
            <p:cNvSpPr>
              <a:spLocks/>
            </p:cNvSpPr>
            <p:nvPr/>
          </p:nvSpPr>
          <p:spPr bwMode="auto">
            <a:xfrm>
              <a:off x="2254" y="3608"/>
              <a:ext cx="16" cy="16"/>
            </a:xfrm>
            <a:custGeom>
              <a:avLst/>
              <a:gdLst/>
              <a:ahLst/>
              <a:cxnLst>
                <a:cxn ang="0">
                  <a:pos x="4" y="14"/>
                </a:cxn>
                <a:cxn ang="0">
                  <a:pos x="6" y="14"/>
                </a:cxn>
                <a:cxn ang="0">
                  <a:pos x="8" y="14"/>
                </a:cxn>
                <a:cxn ang="0">
                  <a:pos x="10" y="12"/>
                </a:cxn>
                <a:cxn ang="0">
                  <a:pos x="10" y="10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2" y="10"/>
                </a:cxn>
                <a:cxn ang="0">
                  <a:pos x="0" y="10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12" y="0"/>
                </a:cxn>
                <a:cxn ang="0">
                  <a:pos x="14" y="2"/>
                </a:cxn>
                <a:cxn ang="0">
                  <a:pos x="16" y="10"/>
                </a:cxn>
                <a:cxn ang="0">
                  <a:pos x="14" y="12"/>
                </a:cxn>
                <a:cxn ang="0">
                  <a:pos x="12" y="12"/>
                </a:cxn>
                <a:cxn ang="0">
                  <a:pos x="10" y="14"/>
                </a:cxn>
                <a:cxn ang="0">
                  <a:pos x="8" y="14"/>
                </a:cxn>
                <a:cxn ang="0">
                  <a:pos x="8" y="16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4" y="14"/>
                </a:cxn>
              </a:cxnLst>
              <a:rect l="0" t="0" r="r" b="b"/>
              <a:pathLst>
                <a:path w="16" h="16">
                  <a:moveTo>
                    <a:pt x="4" y="14"/>
                  </a:moveTo>
                  <a:lnTo>
                    <a:pt x="6" y="14"/>
                  </a:lnTo>
                  <a:lnTo>
                    <a:pt x="8" y="14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2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5" name="Freeform 205"/>
            <p:cNvSpPr>
              <a:spLocks/>
            </p:cNvSpPr>
            <p:nvPr/>
          </p:nvSpPr>
          <p:spPr bwMode="auto">
            <a:xfrm>
              <a:off x="2256" y="3620"/>
              <a:ext cx="16" cy="10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10" y="2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6" y="4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6" y="8"/>
                </a:cxn>
                <a:cxn ang="0">
                  <a:pos x="2" y="10"/>
                </a:cxn>
              </a:cxnLst>
              <a:rect l="0" t="0" r="r" b="b"/>
              <a:pathLst>
                <a:path w="16" h="10">
                  <a:moveTo>
                    <a:pt x="2" y="10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6" y="8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6" name="Freeform 206"/>
            <p:cNvSpPr>
              <a:spLocks/>
            </p:cNvSpPr>
            <p:nvPr/>
          </p:nvSpPr>
          <p:spPr bwMode="auto">
            <a:xfrm>
              <a:off x="2272" y="3620"/>
              <a:ext cx="8" cy="10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2" y="4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6" y="10"/>
                </a:cxn>
              </a:cxnLst>
              <a:rect l="0" t="0" r="r" b="b"/>
              <a:pathLst>
                <a:path w="8" h="10">
                  <a:moveTo>
                    <a:pt x="6" y="10"/>
                  </a:moveTo>
                  <a:lnTo>
                    <a:pt x="4" y="10"/>
                  </a:lnTo>
                  <a:lnTo>
                    <a:pt x="0" y="8"/>
                  </a:lnTo>
                  <a:lnTo>
                    <a:pt x="2" y="4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8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7" name="Freeform 207"/>
            <p:cNvSpPr>
              <a:spLocks/>
            </p:cNvSpPr>
            <p:nvPr/>
          </p:nvSpPr>
          <p:spPr bwMode="auto">
            <a:xfrm>
              <a:off x="2280" y="3620"/>
              <a:ext cx="10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2" y="6"/>
                </a:cxn>
              </a:cxnLst>
              <a:rect l="0" t="0" r="r" b="b"/>
              <a:pathLst>
                <a:path w="10" h="6">
                  <a:moveTo>
                    <a:pt x="2" y="6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6" y="4"/>
                  </a:lnTo>
                  <a:lnTo>
                    <a:pt x="4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8" name="Freeform 208"/>
            <p:cNvSpPr>
              <a:spLocks/>
            </p:cNvSpPr>
            <p:nvPr/>
          </p:nvSpPr>
          <p:spPr bwMode="auto">
            <a:xfrm>
              <a:off x="2264" y="3622"/>
              <a:ext cx="44" cy="74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10" y="40"/>
                </a:cxn>
                <a:cxn ang="0">
                  <a:pos x="8" y="38"/>
                </a:cxn>
                <a:cxn ang="0">
                  <a:pos x="6" y="32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20" y="32"/>
                </a:cxn>
                <a:cxn ang="0">
                  <a:pos x="24" y="32"/>
                </a:cxn>
                <a:cxn ang="0">
                  <a:pos x="24" y="20"/>
                </a:cxn>
                <a:cxn ang="0">
                  <a:pos x="20" y="16"/>
                </a:cxn>
                <a:cxn ang="0">
                  <a:pos x="16" y="10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8" y="4"/>
                </a:cxn>
                <a:cxn ang="0">
                  <a:pos x="40" y="14"/>
                </a:cxn>
                <a:cxn ang="0">
                  <a:pos x="40" y="22"/>
                </a:cxn>
                <a:cxn ang="0">
                  <a:pos x="42" y="30"/>
                </a:cxn>
                <a:cxn ang="0">
                  <a:pos x="42" y="40"/>
                </a:cxn>
                <a:cxn ang="0">
                  <a:pos x="38" y="46"/>
                </a:cxn>
                <a:cxn ang="0">
                  <a:pos x="38" y="50"/>
                </a:cxn>
                <a:cxn ang="0">
                  <a:pos x="36" y="56"/>
                </a:cxn>
                <a:cxn ang="0">
                  <a:pos x="38" y="52"/>
                </a:cxn>
                <a:cxn ang="0">
                  <a:pos x="42" y="52"/>
                </a:cxn>
                <a:cxn ang="0">
                  <a:pos x="44" y="58"/>
                </a:cxn>
                <a:cxn ang="0">
                  <a:pos x="38" y="70"/>
                </a:cxn>
                <a:cxn ang="0">
                  <a:pos x="34" y="74"/>
                </a:cxn>
                <a:cxn ang="0">
                  <a:pos x="26" y="72"/>
                </a:cxn>
                <a:cxn ang="0">
                  <a:pos x="28" y="68"/>
                </a:cxn>
                <a:cxn ang="0">
                  <a:pos x="32" y="68"/>
                </a:cxn>
                <a:cxn ang="0">
                  <a:pos x="32" y="66"/>
                </a:cxn>
                <a:cxn ang="0">
                  <a:pos x="30" y="68"/>
                </a:cxn>
                <a:cxn ang="0">
                  <a:pos x="24" y="68"/>
                </a:cxn>
                <a:cxn ang="0">
                  <a:pos x="26" y="60"/>
                </a:cxn>
                <a:cxn ang="0">
                  <a:pos x="24" y="46"/>
                </a:cxn>
                <a:cxn ang="0">
                  <a:pos x="28" y="44"/>
                </a:cxn>
                <a:cxn ang="0">
                  <a:pos x="32" y="38"/>
                </a:cxn>
                <a:cxn ang="0">
                  <a:pos x="26" y="46"/>
                </a:cxn>
                <a:cxn ang="0">
                  <a:pos x="22" y="46"/>
                </a:cxn>
                <a:cxn ang="0">
                  <a:pos x="20" y="46"/>
                </a:cxn>
                <a:cxn ang="0">
                  <a:pos x="20" y="52"/>
                </a:cxn>
                <a:cxn ang="0">
                  <a:pos x="20" y="62"/>
                </a:cxn>
                <a:cxn ang="0">
                  <a:pos x="18" y="66"/>
                </a:cxn>
                <a:cxn ang="0">
                  <a:pos x="12" y="58"/>
                </a:cxn>
                <a:cxn ang="0">
                  <a:pos x="8" y="50"/>
                </a:cxn>
                <a:cxn ang="0">
                  <a:pos x="6" y="42"/>
                </a:cxn>
                <a:cxn ang="0">
                  <a:pos x="2" y="42"/>
                </a:cxn>
                <a:cxn ang="0">
                  <a:pos x="0" y="38"/>
                </a:cxn>
                <a:cxn ang="0">
                  <a:pos x="2" y="32"/>
                </a:cxn>
                <a:cxn ang="0">
                  <a:pos x="6" y="36"/>
                </a:cxn>
                <a:cxn ang="0">
                  <a:pos x="8" y="40"/>
                </a:cxn>
                <a:cxn ang="0">
                  <a:pos x="12" y="46"/>
                </a:cxn>
              </a:cxnLst>
              <a:rect l="0" t="0" r="r" b="b"/>
              <a:pathLst>
                <a:path w="44" h="74">
                  <a:moveTo>
                    <a:pt x="12" y="46"/>
                  </a:moveTo>
                  <a:lnTo>
                    <a:pt x="12" y="44"/>
                  </a:lnTo>
                  <a:lnTo>
                    <a:pt x="12" y="42"/>
                  </a:lnTo>
                  <a:lnTo>
                    <a:pt x="10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6" y="34"/>
                  </a:lnTo>
                  <a:lnTo>
                    <a:pt x="6" y="32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14" y="34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6" y="30"/>
                  </a:lnTo>
                  <a:lnTo>
                    <a:pt x="20" y="32"/>
                  </a:lnTo>
                  <a:lnTo>
                    <a:pt x="22" y="36"/>
                  </a:lnTo>
                  <a:lnTo>
                    <a:pt x="24" y="32"/>
                  </a:lnTo>
                  <a:lnTo>
                    <a:pt x="26" y="22"/>
                  </a:lnTo>
                  <a:lnTo>
                    <a:pt x="24" y="20"/>
                  </a:lnTo>
                  <a:lnTo>
                    <a:pt x="22" y="18"/>
                  </a:lnTo>
                  <a:lnTo>
                    <a:pt x="20" y="16"/>
                  </a:lnTo>
                  <a:lnTo>
                    <a:pt x="18" y="12"/>
                  </a:lnTo>
                  <a:lnTo>
                    <a:pt x="16" y="10"/>
                  </a:lnTo>
                  <a:lnTo>
                    <a:pt x="16" y="6"/>
                  </a:lnTo>
                  <a:lnTo>
                    <a:pt x="20" y="4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40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0" y="22"/>
                  </a:lnTo>
                  <a:lnTo>
                    <a:pt x="42" y="28"/>
                  </a:lnTo>
                  <a:lnTo>
                    <a:pt x="42" y="30"/>
                  </a:lnTo>
                  <a:lnTo>
                    <a:pt x="42" y="34"/>
                  </a:lnTo>
                  <a:lnTo>
                    <a:pt x="42" y="40"/>
                  </a:lnTo>
                  <a:lnTo>
                    <a:pt x="40" y="44"/>
                  </a:lnTo>
                  <a:lnTo>
                    <a:pt x="38" y="46"/>
                  </a:lnTo>
                  <a:lnTo>
                    <a:pt x="40" y="50"/>
                  </a:lnTo>
                  <a:lnTo>
                    <a:pt x="38" y="50"/>
                  </a:lnTo>
                  <a:lnTo>
                    <a:pt x="36" y="54"/>
                  </a:lnTo>
                  <a:lnTo>
                    <a:pt x="36" y="56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4" y="54"/>
                  </a:lnTo>
                  <a:lnTo>
                    <a:pt x="44" y="58"/>
                  </a:lnTo>
                  <a:lnTo>
                    <a:pt x="42" y="68"/>
                  </a:lnTo>
                  <a:lnTo>
                    <a:pt x="38" y="70"/>
                  </a:lnTo>
                  <a:lnTo>
                    <a:pt x="36" y="74"/>
                  </a:lnTo>
                  <a:lnTo>
                    <a:pt x="34" y="74"/>
                  </a:lnTo>
                  <a:lnTo>
                    <a:pt x="30" y="74"/>
                  </a:lnTo>
                  <a:lnTo>
                    <a:pt x="26" y="72"/>
                  </a:lnTo>
                  <a:lnTo>
                    <a:pt x="28" y="70"/>
                  </a:lnTo>
                  <a:lnTo>
                    <a:pt x="28" y="68"/>
                  </a:lnTo>
                  <a:lnTo>
                    <a:pt x="30" y="68"/>
                  </a:lnTo>
                  <a:lnTo>
                    <a:pt x="32" y="68"/>
                  </a:lnTo>
                  <a:lnTo>
                    <a:pt x="34" y="68"/>
                  </a:lnTo>
                  <a:lnTo>
                    <a:pt x="32" y="66"/>
                  </a:lnTo>
                  <a:lnTo>
                    <a:pt x="30" y="66"/>
                  </a:lnTo>
                  <a:lnTo>
                    <a:pt x="30" y="68"/>
                  </a:lnTo>
                  <a:lnTo>
                    <a:pt x="26" y="68"/>
                  </a:lnTo>
                  <a:lnTo>
                    <a:pt x="24" y="68"/>
                  </a:lnTo>
                  <a:lnTo>
                    <a:pt x="24" y="66"/>
                  </a:lnTo>
                  <a:lnTo>
                    <a:pt x="26" y="60"/>
                  </a:lnTo>
                  <a:lnTo>
                    <a:pt x="24" y="54"/>
                  </a:lnTo>
                  <a:lnTo>
                    <a:pt x="24" y="46"/>
                  </a:lnTo>
                  <a:lnTo>
                    <a:pt x="26" y="46"/>
                  </a:lnTo>
                  <a:lnTo>
                    <a:pt x="28" y="44"/>
                  </a:lnTo>
                  <a:lnTo>
                    <a:pt x="34" y="36"/>
                  </a:lnTo>
                  <a:lnTo>
                    <a:pt x="32" y="38"/>
                  </a:lnTo>
                  <a:lnTo>
                    <a:pt x="28" y="40"/>
                  </a:lnTo>
                  <a:lnTo>
                    <a:pt x="26" y="46"/>
                  </a:lnTo>
                  <a:lnTo>
                    <a:pt x="22" y="48"/>
                  </a:lnTo>
                  <a:lnTo>
                    <a:pt x="22" y="46"/>
                  </a:lnTo>
                  <a:lnTo>
                    <a:pt x="20" y="44"/>
                  </a:lnTo>
                  <a:lnTo>
                    <a:pt x="20" y="46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2" y="54"/>
                  </a:lnTo>
                  <a:lnTo>
                    <a:pt x="20" y="62"/>
                  </a:lnTo>
                  <a:lnTo>
                    <a:pt x="20" y="66"/>
                  </a:lnTo>
                  <a:lnTo>
                    <a:pt x="18" y="66"/>
                  </a:lnTo>
                  <a:lnTo>
                    <a:pt x="14" y="64"/>
                  </a:lnTo>
                  <a:lnTo>
                    <a:pt x="12" y="58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8" y="46"/>
                  </a:lnTo>
                  <a:lnTo>
                    <a:pt x="6" y="42"/>
                  </a:lnTo>
                  <a:lnTo>
                    <a:pt x="4" y="42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0" y="38"/>
                  </a:lnTo>
                  <a:lnTo>
                    <a:pt x="0" y="34"/>
                  </a:lnTo>
                  <a:lnTo>
                    <a:pt x="2" y="32"/>
                  </a:lnTo>
                  <a:lnTo>
                    <a:pt x="4" y="32"/>
                  </a:lnTo>
                  <a:lnTo>
                    <a:pt x="6" y="36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12" y="44"/>
                  </a:lnTo>
                  <a:lnTo>
                    <a:pt x="12" y="4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99" name="Freeform 209"/>
            <p:cNvSpPr>
              <a:spLocks/>
            </p:cNvSpPr>
            <p:nvPr/>
          </p:nvSpPr>
          <p:spPr bwMode="auto">
            <a:xfrm>
              <a:off x="2270" y="3628"/>
              <a:ext cx="10" cy="12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4" y="10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4" y="12"/>
                </a:cxn>
              </a:cxnLst>
              <a:rect l="0" t="0" r="r" b="b"/>
              <a:pathLst>
                <a:path w="10" h="12">
                  <a:moveTo>
                    <a:pt x="4" y="12"/>
                  </a:moveTo>
                  <a:lnTo>
                    <a:pt x="4" y="1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6" y="12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0" name="Freeform 210"/>
            <p:cNvSpPr>
              <a:spLocks/>
            </p:cNvSpPr>
            <p:nvPr/>
          </p:nvSpPr>
          <p:spPr bwMode="auto">
            <a:xfrm>
              <a:off x="2256" y="3632"/>
              <a:ext cx="18" cy="12"/>
            </a:xfrm>
            <a:custGeom>
              <a:avLst/>
              <a:gdLst/>
              <a:ahLst/>
              <a:cxnLst>
                <a:cxn ang="0">
                  <a:pos x="16" y="12"/>
                </a:cxn>
                <a:cxn ang="0">
                  <a:pos x="14" y="6"/>
                </a:cxn>
                <a:cxn ang="0">
                  <a:pos x="14" y="4"/>
                </a:cxn>
                <a:cxn ang="0">
                  <a:pos x="10" y="6"/>
                </a:cxn>
                <a:cxn ang="0">
                  <a:pos x="8" y="10"/>
                </a:cxn>
                <a:cxn ang="0">
                  <a:pos x="6" y="10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8" y="10"/>
                </a:cxn>
                <a:cxn ang="0">
                  <a:pos x="16" y="12"/>
                </a:cxn>
              </a:cxnLst>
              <a:rect l="0" t="0" r="r" b="b"/>
              <a:pathLst>
                <a:path w="18" h="12">
                  <a:moveTo>
                    <a:pt x="16" y="12"/>
                  </a:moveTo>
                  <a:lnTo>
                    <a:pt x="14" y="6"/>
                  </a:lnTo>
                  <a:lnTo>
                    <a:pt x="14" y="4"/>
                  </a:lnTo>
                  <a:lnTo>
                    <a:pt x="10" y="6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8" y="10"/>
                  </a:lnTo>
                  <a:lnTo>
                    <a:pt x="16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1" name="Freeform 211"/>
            <p:cNvSpPr>
              <a:spLocks/>
            </p:cNvSpPr>
            <p:nvPr/>
          </p:nvSpPr>
          <p:spPr bwMode="auto">
            <a:xfrm>
              <a:off x="2256" y="3638"/>
              <a:ext cx="16" cy="16"/>
            </a:xfrm>
            <a:custGeom>
              <a:avLst/>
              <a:gdLst/>
              <a:ahLst/>
              <a:cxnLst>
                <a:cxn ang="0">
                  <a:pos x="6" y="16"/>
                </a:cxn>
                <a:cxn ang="0">
                  <a:pos x="2" y="14"/>
                </a:cxn>
                <a:cxn ang="0">
                  <a:pos x="0" y="14"/>
                </a:cxn>
                <a:cxn ang="0">
                  <a:pos x="2" y="10"/>
                </a:cxn>
                <a:cxn ang="0">
                  <a:pos x="4" y="8"/>
                </a:cxn>
                <a:cxn ang="0">
                  <a:pos x="6" y="8"/>
                </a:cxn>
                <a:cxn ang="0">
                  <a:pos x="8" y="6"/>
                </a:cxn>
                <a:cxn ang="0">
                  <a:pos x="10" y="4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4" y="2"/>
                </a:cxn>
                <a:cxn ang="0">
                  <a:pos x="16" y="6"/>
                </a:cxn>
                <a:cxn ang="0">
                  <a:pos x="16" y="8"/>
                </a:cxn>
                <a:cxn ang="0">
                  <a:pos x="14" y="10"/>
                </a:cxn>
                <a:cxn ang="0">
                  <a:pos x="8" y="14"/>
                </a:cxn>
                <a:cxn ang="0">
                  <a:pos x="6" y="16"/>
                </a:cxn>
              </a:cxnLst>
              <a:rect l="0" t="0" r="r" b="b"/>
              <a:pathLst>
                <a:path w="16" h="16">
                  <a:moveTo>
                    <a:pt x="6" y="16"/>
                  </a:moveTo>
                  <a:lnTo>
                    <a:pt x="2" y="14"/>
                  </a:lnTo>
                  <a:lnTo>
                    <a:pt x="0" y="14"/>
                  </a:lnTo>
                  <a:lnTo>
                    <a:pt x="2" y="10"/>
                  </a:lnTo>
                  <a:lnTo>
                    <a:pt x="4" y="8"/>
                  </a:lnTo>
                  <a:lnTo>
                    <a:pt x="6" y="8"/>
                  </a:lnTo>
                  <a:lnTo>
                    <a:pt x="8" y="6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4" y="10"/>
                  </a:lnTo>
                  <a:lnTo>
                    <a:pt x="8" y="14"/>
                  </a:lnTo>
                  <a:lnTo>
                    <a:pt x="6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2" name="Freeform 212"/>
            <p:cNvSpPr>
              <a:spLocks/>
            </p:cNvSpPr>
            <p:nvPr/>
          </p:nvSpPr>
          <p:spPr bwMode="auto">
            <a:xfrm>
              <a:off x="2274" y="3640"/>
              <a:ext cx="14" cy="16"/>
            </a:xfrm>
            <a:custGeom>
              <a:avLst/>
              <a:gdLst/>
              <a:ahLst/>
              <a:cxnLst>
                <a:cxn ang="0">
                  <a:pos x="12" y="14"/>
                </a:cxn>
                <a:cxn ang="0">
                  <a:pos x="8" y="10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0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12" y="16"/>
                </a:cxn>
                <a:cxn ang="0">
                  <a:pos x="12" y="14"/>
                </a:cxn>
              </a:cxnLst>
              <a:rect l="0" t="0" r="r" b="b"/>
              <a:pathLst>
                <a:path w="14" h="16">
                  <a:moveTo>
                    <a:pt x="12" y="14"/>
                  </a:moveTo>
                  <a:lnTo>
                    <a:pt x="8" y="10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2" y="16"/>
                  </a:lnTo>
                  <a:lnTo>
                    <a:pt x="12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3" name="Freeform 213"/>
            <p:cNvSpPr>
              <a:spLocks/>
            </p:cNvSpPr>
            <p:nvPr/>
          </p:nvSpPr>
          <p:spPr bwMode="auto">
            <a:xfrm>
              <a:off x="2306" y="3662"/>
              <a:ext cx="6" cy="1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2"/>
                </a:cxn>
                <a:cxn ang="0">
                  <a:pos x="4" y="4"/>
                </a:cxn>
                <a:cxn ang="0">
                  <a:pos x="6" y="8"/>
                </a:cxn>
                <a:cxn ang="0">
                  <a:pos x="2" y="10"/>
                </a:cxn>
                <a:cxn ang="0">
                  <a:pos x="0" y="10"/>
                </a:cxn>
              </a:cxnLst>
              <a:rect l="0" t="0" r="r" b="b"/>
              <a:pathLst>
                <a:path w="6" h="10">
                  <a:moveTo>
                    <a:pt x="0" y="10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4" y="4"/>
                  </a:lnTo>
                  <a:lnTo>
                    <a:pt x="6" y="8"/>
                  </a:lnTo>
                  <a:lnTo>
                    <a:pt x="2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4" name="Freeform 214"/>
            <p:cNvSpPr>
              <a:spLocks/>
            </p:cNvSpPr>
            <p:nvPr/>
          </p:nvSpPr>
          <p:spPr bwMode="auto">
            <a:xfrm>
              <a:off x="2260" y="3672"/>
              <a:ext cx="18" cy="16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4" y="14"/>
                </a:cxn>
                <a:cxn ang="0">
                  <a:pos x="12" y="14"/>
                </a:cxn>
                <a:cxn ang="0">
                  <a:pos x="14" y="14"/>
                </a:cxn>
                <a:cxn ang="0">
                  <a:pos x="14" y="16"/>
                </a:cxn>
                <a:cxn ang="0">
                  <a:pos x="12" y="16"/>
                </a:cxn>
                <a:cxn ang="0">
                  <a:pos x="10" y="14"/>
                </a:cxn>
                <a:cxn ang="0">
                  <a:pos x="10" y="12"/>
                </a:cxn>
                <a:cxn ang="0">
                  <a:pos x="8" y="10"/>
                </a:cxn>
                <a:cxn ang="0">
                  <a:pos x="2" y="14"/>
                </a:cxn>
                <a:cxn ang="0">
                  <a:pos x="0" y="10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0" y="2"/>
                </a:cxn>
                <a:cxn ang="0">
                  <a:pos x="12" y="4"/>
                </a:cxn>
                <a:cxn ang="0">
                  <a:pos x="16" y="12"/>
                </a:cxn>
                <a:cxn ang="0">
                  <a:pos x="18" y="16"/>
                </a:cxn>
                <a:cxn ang="0">
                  <a:pos x="16" y="16"/>
                </a:cxn>
              </a:cxnLst>
              <a:rect l="0" t="0" r="r" b="b"/>
              <a:pathLst>
                <a:path w="18" h="16">
                  <a:moveTo>
                    <a:pt x="16" y="16"/>
                  </a:moveTo>
                  <a:lnTo>
                    <a:pt x="14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0" y="14"/>
                  </a:lnTo>
                  <a:lnTo>
                    <a:pt x="10" y="12"/>
                  </a:lnTo>
                  <a:lnTo>
                    <a:pt x="8" y="10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0" y="4"/>
                  </a:lnTo>
                  <a:lnTo>
                    <a:pt x="2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2" y="4"/>
                  </a:lnTo>
                  <a:lnTo>
                    <a:pt x="16" y="12"/>
                  </a:lnTo>
                  <a:lnTo>
                    <a:pt x="18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5" name="Freeform 215"/>
            <p:cNvSpPr>
              <a:spLocks/>
            </p:cNvSpPr>
            <p:nvPr/>
          </p:nvSpPr>
          <p:spPr bwMode="auto">
            <a:xfrm>
              <a:off x="2268" y="3694"/>
              <a:ext cx="24" cy="24"/>
            </a:xfrm>
            <a:custGeom>
              <a:avLst/>
              <a:gdLst/>
              <a:ahLst/>
              <a:cxnLst>
                <a:cxn ang="0">
                  <a:pos x="14" y="16"/>
                </a:cxn>
                <a:cxn ang="0">
                  <a:pos x="10" y="22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2"/>
                </a:cxn>
                <a:cxn ang="0">
                  <a:pos x="6" y="20"/>
                </a:cxn>
                <a:cxn ang="0">
                  <a:pos x="6" y="18"/>
                </a:cxn>
                <a:cxn ang="0">
                  <a:pos x="8" y="16"/>
                </a:cxn>
                <a:cxn ang="0">
                  <a:pos x="6" y="16"/>
                </a:cxn>
                <a:cxn ang="0">
                  <a:pos x="4" y="18"/>
                </a:cxn>
                <a:cxn ang="0">
                  <a:pos x="0" y="20"/>
                </a:cxn>
                <a:cxn ang="0">
                  <a:pos x="0" y="18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2" y="10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8"/>
                </a:cxn>
                <a:cxn ang="0">
                  <a:pos x="6" y="10"/>
                </a:cxn>
                <a:cxn ang="0">
                  <a:pos x="4" y="10"/>
                </a:cxn>
                <a:cxn ang="0">
                  <a:pos x="4" y="12"/>
                </a:cxn>
                <a:cxn ang="0">
                  <a:pos x="6" y="14"/>
                </a:cxn>
                <a:cxn ang="0">
                  <a:pos x="8" y="14"/>
                </a:cxn>
                <a:cxn ang="0">
                  <a:pos x="10" y="14"/>
                </a:cxn>
                <a:cxn ang="0">
                  <a:pos x="10" y="10"/>
                </a:cxn>
                <a:cxn ang="0">
                  <a:pos x="8" y="8"/>
                </a:cxn>
                <a:cxn ang="0">
                  <a:pos x="4" y="6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6" y="8"/>
                </a:cxn>
                <a:cxn ang="0">
                  <a:pos x="14" y="8"/>
                </a:cxn>
                <a:cxn ang="0">
                  <a:pos x="14" y="10"/>
                </a:cxn>
                <a:cxn ang="0">
                  <a:pos x="16" y="10"/>
                </a:cxn>
                <a:cxn ang="0">
                  <a:pos x="22" y="8"/>
                </a:cxn>
                <a:cxn ang="0">
                  <a:pos x="24" y="8"/>
                </a:cxn>
                <a:cxn ang="0">
                  <a:pos x="22" y="6"/>
                </a:cxn>
                <a:cxn ang="0">
                  <a:pos x="24" y="6"/>
                </a:cxn>
                <a:cxn ang="0">
                  <a:pos x="24" y="8"/>
                </a:cxn>
                <a:cxn ang="0">
                  <a:pos x="24" y="10"/>
                </a:cxn>
                <a:cxn ang="0">
                  <a:pos x="24" y="12"/>
                </a:cxn>
                <a:cxn ang="0">
                  <a:pos x="16" y="14"/>
                </a:cxn>
                <a:cxn ang="0">
                  <a:pos x="14" y="16"/>
                </a:cxn>
              </a:cxnLst>
              <a:rect l="0" t="0" r="r" b="b"/>
              <a:pathLst>
                <a:path w="24" h="24">
                  <a:moveTo>
                    <a:pt x="14" y="16"/>
                  </a:moveTo>
                  <a:lnTo>
                    <a:pt x="10" y="22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8" y="16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0" y="14"/>
                  </a:lnTo>
                  <a:lnTo>
                    <a:pt x="10" y="10"/>
                  </a:lnTo>
                  <a:lnTo>
                    <a:pt x="8" y="8"/>
                  </a:lnTo>
                  <a:lnTo>
                    <a:pt x="4" y="6"/>
                  </a:lnTo>
                  <a:lnTo>
                    <a:pt x="2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6" y="10"/>
                  </a:lnTo>
                  <a:lnTo>
                    <a:pt x="22" y="8"/>
                  </a:lnTo>
                  <a:lnTo>
                    <a:pt x="24" y="8"/>
                  </a:lnTo>
                  <a:lnTo>
                    <a:pt x="22" y="6"/>
                  </a:lnTo>
                  <a:lnTo>
                    <a:pt x="24" y="6"/>
                  </a:lnTo>
                  <a:lnTo>
                    <a:pt x="24" y="8"/>
                  </a:lnTo>
                  <a:lnTo>
                    <a:pt x="24" y="10"/>
                  </a:lnTo>
                  <a:lnTo>
                    <a:pt x="24" y="12"/>
                  </a:lnTo>
                  <a:lnTo>
                    <a:pt x="16" y="14"/>
                  </a:lnTo>
                  <a:lnTo>
                    <a:pt x="14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6" name="Freeform 216"/>
            <p:cNvSpPr>
              <a:spLocks/>
            </p:cNvSpPr>
            <p:nvPr/>
          </p:nvSpPr>
          <p:spPr bwMode="auto">
            <a:xfrm>
              <a:off x="2294" y="3712"/>
              <a:ext cx="10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10" y="2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2" y="8"/>
                </a:cxn>
                <a:cxn ang="0">
                  <a:pos x="0" y="8"/>
                </a:cxn>
              </a:cxnLst>
              <a:rect l="0" t="0" r="r" b="b"/>
              <a:pathLst>
                <a:path w="10" h="8">
                  <a:moveTo>
                    <a:pt x="0" y="8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10" y="2"/>
                  </a:lnTo>
                  <a:lnTo>
                    <a:pt x="8" y="4"/>
                  </a:lnTo>
                  <a:lnTo>
                    <a:pt x="6" y="6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7" name="Freeform 217"/>
            <p:cNvSpPr>
              <a:spLocks/>
            </p:cNvSpPr>
            <p:nvPr/>
          </p:nvSpPr>
          <p:spPr bwMode="auto">
            <a:xfrm>
              <a:off x="2298" y="3716"/>
              <a:ext cx="20" cy="24"/>
            </a:xfrm>
            <a:custGeom>
              <a:avLst/>
              <a:gdLst/>
              <a:ahLst/>
              <a:cxnLst>
                <a:cxn ang="0">
                  <a:pos x="18" y="24"/>
                </a:cxn>
                <a:cxn ang="0">
                  <a:pos x="18" y="20"/>
                </a:cxn>
                <a:cxn ang="0">
                  <a:pos x="16" y="20"/>
                </a:cxn>
                <a:cxn ang="0">
                  <a:pos x="14" y="20"/>
                </a:cxn>
                <a:cxn ang="0">
                  <a:pos x="14" y="22"/>
                </a:cxn>
                <a:cxn ang="0">
                  <a:pos x="12" y="20"/>
                </a:cxn>
                <a:cxn ang="0">
                  <a:pos x="8" y="18"/>
                </a:cxn>
                <a:cxn ang="0">
                  <a:pos x="6" y="16"/>
                </a:cxn>
                <a:cxn ang="0">
                  <a:pos x="4" y="14"/>
                </a:cxn>
                <a:cxn ang="0">
                  <a:pos x="4" y="12"/>
                </a:cxn>
                <a:cxn ang="0">
                  <a:pos x="4" y="10"/>
                </a:cxn>
                <a:cxn ang="0">
                  <a:pos x="8" y="8"/>
                </a:cxn>
                <a:cxn ang="0">
                  <a:pos x="10" y="6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12" y="4"/>
                </a:cxn>
                <a:cxn ang="0">
                  <a:pos x="16" y="10"/>
                </a:cxn>
                <a:cxn ang="0">
                  <a:pos x="18" y="14"/>
                </a:cxn>
                <a:cxn ang="0">
                  <a:pos x="20" y="18"/>
                </a:cxn>
                <a:cxn ang="0">
                  <a:pos x="20" y="20"/>
                </a:cxn>
                <a:cxn ang="0">
                  <a:pos x="20" y="22"/>
                </a:cxn>
                <a:cxn ang="0">
                  <a:pos x="20" y="24"/>
                </a:cxn>
                <a:cxn ang="0">
                  <a:pos x="18" y="24"/>
                </a:cxn>
              </a:cxnLst>
              <a:rect l="0" t="0" r="r" b="b"/>
              <a:pathLst>
                <a:path w="20" h="24">
                  <a:moveTo>
                    <a:pt x="18" y="24"/>
                  </a:moveTo>
                  <a:lnTo>
                    <a:pt x="18" y="20"/>
                  </a:lnTo>
                  <a:lnTo>
                    <a:pt x="16" y="20"/>
                  </a:lnTo>
                  <a:lnTo>
                    <a:pt x="14" y="20"/>
                  </a:lnTo>
                  <a:lnTo>
                    <a:pt x="14" y="22"/>
                  </a:lnTo>
                  <a:lnTo>
                    <a:pt x="12" y="20"/>
                  </a:lnTo>
                  <a:lnTo>
                    <a:pt x="8" y="18"/>
                  </a:lnTo>
                  <a:lnTo>
                    <a:pt x="6" y="16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8" y="8"/>
                  </a:lnTo>
                  <a:lnTo>
                    <a:pt x="10" y="6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12" y="4"/>
                  </a:lnTo>
                  <a:lnTo>
                    <a:pt x="16" y="10"/>
                  </a:lnTo>
                  <a:lnTo>
                    <a:pt x="18" y="14"/>
                  </a:lnTo>
                  <a:lnTo>
                    <a:pt x="20" y="18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20" y="24"/>
                  </a:lnTo>
                  <a:lnTo>
                    <a:pt x="18" y="2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8" name="Freeform 218"/>
            <p:cNvSpPr>
              <a:spLocks/>
            </p:cNvSpPr>
            <p:nvPr/>
          </p:nvSpPr>
          <p:spPr bwMode="auto">
            <a:xfrm>
              <a:off x="2266" y="3720"/>
              <a:ext cx="16" cy="16"/>
            </a:xfrm>
            <a:custGeom>
              <a:avLst/>
              <a:gdLst/>
              <a:ahLst/>
              <a:cxnLst>
                <a:cxn ang="0">
                  <a:pos x="6" y="16"/>
                </a:cxn>
                <a:cxn ang="0">
                  <a:pos x="4" y="16"/>
                </a:cxn>
                <a:cxn ang="0">
                  <a:pos x="2" y="16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4" y="4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2" y="6"/>
                </a:cxn>
                <a:cxn ang="0">
                  <a:pos x="10" y="6"/>
                </a:cxn>
                <a:cxn ang="0">
                  <a:pos x="8" y="6"/>
                </a:cxn>
                <a:cxn ang="0">
                  <a:pos x="8" y="10"/>
                </a:cxn>
                <a:cxn ang="0">
                  <a:pos x="8" y="14"/>
                </a:cxn>
                <a:cxn ang="0">
                  <a:pos x="8" y="16"/>
                </a:cxn>
                <a:cxn ang="0">
                  <a:pos x="6" y="16"/>
                </a:cxn>
              </a:cxnLst>
              <a:rect l="0" t="0" r="r" b="b"/>
              <a:pathLst>
                <a:path w="16" h="16">
                  <a:moveTo>
                    <a:pt x="6" y="16"/>
                  </a:moveTo>
                  <a:lnTo>
                    <a:pt x="4" y="16"/>
                  </a:lnTo>
                  <a:lnTo>
                    <a:pt x="2" y="16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10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6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09" name="Freeform 219"/>
            <p:cNvSpPr>
              <a:spLocks/>
            </p:cNvSpPr>
            <p:nvPr/>
          </p:nvSpPr>
          <p:spPr bwMode="auto">
            <a:xfrm>
              <a:off x="2282" y="3728"/>
              <a:ext cx="4" cy="10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2" y="8"/>
                </a:cxn>
              </a:cxnLst>
              <a:rect l="0" t="0" r="r" b="b"/>
              <a:pathLst>
                <a:path w="4" h="10">
                  <a:moveTo>
                    <a:pt x="2" y="8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0" name="Freeform 220"/>
            <p:cNvSpPr>
              <a:spLocks/>
            </p:cNvSpPr>
            <p:nvPr/>
          </p:nvSpPr>
          <p:spPr bwMode="auto">
            <a:xfrm>
              <a:off x="2288" y="3730"/>
              <a:ext cx="10" cy="12"/>
            </a:xfrm>
            <a:custGeom>
              <a:avLst/>
              <a:gdLst/>
              <a:ahLst/>
              <a:cxnLst>
                <a:cxn ang="0">
                  <a:pos x="10" y="12"/>
                </a:cxn>
                <a:cxn ang="0">
                  <a:pos x="6" y="12"/>
                </a:cxn>
                <a:cxn ang="0">
                  <a:pos x="4" y="12"/>
                </a:cxn>
                <a:cxn ang="0">
                  <a:pos x="2" y="10"/>
                </a:cxn>
                <a:cxn ang="0">
                  <a:pos x="0" y="10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0" y="8"/>
                </a:cxn>
                <a:cxn ang="0">
                  <a:pos x="10" y="10"/>
                </a:cxn>
                <a:cxn ang="0">
                  <a:pos x="10" y="12"/>
                </a:cxn>
              </a:cxnLst>
              <a:rect l="0" t="0" r="r" b="b"/>
              <a:pathLst>
                <a:path w="10" h="12">
                  <a:moveTo>
                    <a:pt x="10" y="12"/>
                  </a:moveTo>
                  <a:lnTo>
                    <a:pt x="6" y="12"/>
                  </a:lnTo>
                  <a:lnTo>
                    <a:pt x="4" y="12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2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1" name="Freeform 221"/>
            <p:cNvSpPr>
              <a:spLocks/>
            </p:cNvSpPr>
            <p:nvPr/>
          </p:nvSpPr>
          <p:spPr bwMode="auto">
            <a:xfrm>
              <a:off x="2288" y="3732"/>
              <a:ext cx="22" cy="22"/>
            </a:xfrm>
            <a:custGeom>
              <a:avLst/>
              <a:gdLst/>
              <a:ahLst/>
              <a:cxnLst>
                <a:cxn ang="0">
                  <a:pos x="8" y="22"/>
                </a:cxn>
                <a:cxn ang="0">
                  <a:pos x="2" y="18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2" y="10"/>
                </a:cxn>
                <a:cxn ang="0">
                  <a:pos x="4" y="10"/>
                </a:cxn>
                <a:cxn ang="0">
                  <a:pos x="8" y="10"/>
                </a:cxn>
                <a:cxn ang="0">
                  <a:pos x="10" y="12"/>
                </a:cxn>
                <a:cxn ang="0">
                  <a:pos x="12" y="10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2" y="2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16" y="2"/>
                </a:cxn>
                <a:cxn ang="0">
                  <a:pos x="18" y="4"/>
                </a:cxn>
                <a:cxn ang="0">
                  <a:pos x="22" y="6"/>
                </a:cxn>
                <a:cxn ang="0">
                  <a:pos x="22" y="8"/>
                </a:cxn>
                <a:cxn ang="0">
                  <a:pos x="22" y="16"/>
                </a:cxn>
                <a:cxn ang="0">
                  <a:pos x="22" y="20"/>
                </a:cxn>
                <a:cxn ang="0">
                  <a:pos x="22" y="18"/>
                </a:cxn>
                <a:cxn ang="0">
                  <a:pos x="20" y="16"/>
                </a:cxn>
                <a:cxn ang="0">
                  <a:pos x="18" y="16"/>
                </a:cxn>
                <a:cxn ang="0">
                  <a:pos x="14" y="18"/>
                </a:cxn>
                <a:cxn ang="0">
                  <a:pos x="12" y="20"/>
                </a:cxn>
                <a:cxn ang="0">
                  <a:pos x="10" y="22"/>
                </a:cxn>
                <a:cxn ang="0">
                  <a:pos x="8" y="22"/>
                </a:cxn>
              </a:cxnLst>
              <a:rect l="0" t="0" r="r" b="b"/>
              <a:pathLst>
                <a:path w="22" h="22">
                  <a:moveTo>
                    <a:pt x="8" y="22"/>
                  </a:moveTo>
                  <a:lnTo>
                    <a:pt x="2" y="18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8" y="10"/>
                  </a:lnTo>
                  <a:lnTo>
                    <a:pt x="10" y="12"/>
                  </a:lnTo>
                  <a:lnTo>
                    <a:pt x="12" y="10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22" y="16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4" y="18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8" y="2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2" name="Freeform 222"/>
            <p:cNvSpPr>
              <a:spLocks/>
            </p:cNvSpPr>
            <p:nvPr/>
          </p:nvSpPr>
          <p:spPr bwMode="auto">
            <a:xfrm>
              <a:off x="2310" y="3744"/>
              <a:ext cx="8" cy="18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2" y="8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8"/>
                </a:cxn>
                <a:cxn ang="0">
                  <a:pos x="8" y="12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4" y="18"/>
                </a:cxn>
                <a:cxn ang="0">
                  <a:pos x="4" y="16"/>
                </a:cxn>
              </a:cxnLst>
              <a:rect l="0" t="0" r="r" b="b"/>
              <a:pathLst>
                <a:path w="8" h="18">
                  <a:moveTo>
                    <a:pt x="4" y="16"/>
                  </a:moveTo>
                  <a:lnTo>
                    <a:pt x="2" y="8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8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4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3" name="Freeform 223"/>
            <p:cNvSpPr>
              <a:spLocks/>
            </p:cNvSpPr>
            <p:nvPr/>
          </p:nvSpPr>
          <p:spPr bwMode="auto">
            <a:xfrm>
              <a:off x="2302" y="3748"/>
              <a:ext cx="8" cy="12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8" y="6"/>
                </a:cxn>
                <a:cxn ang="0">
                  <a:pos x="8" y="8"/>
                </a:cxn>
                <a:cxn ang="0">
                  <a:pos x="8" y="10"/>
                </a:cxn>
                <a:cxn ang="0">
                  <a:pos x="8" y="12"/>
                </a:cxn>
                <a:cxn ang="0">
                  <a:pos x="6" y="10"/>
                </a:cxn>
              </a:cxnLst>
              <a:rect l="0" t="0" r="r" b="b"/>
              <a:pathLst>
                <a:path w="8" h="12">
                  <a:moveTo>
                    <a:pt x="6" y="10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8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4" name="Freeform 224"/>
            <p:cNvSpPr>
              <a:spLocks/>
            </p:cNvSpPr>
            <p:nvPr/>
          </p:nvSpPr>
          <p:spPr bwMode="auto">
            <a:xfrm>
              <a:off x="2286" y="3758"/>
              <a:ext cx="18" cy="16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4" y="12"/>
                </a:cxn>
                <a:cxn ang="0">
                  <a:pos x="6" y="10"/>
                </a:cxn>
                <a:cxn ang="0">
                  <a:pos x="8" y="8"/>
                </a:cxn>
                <a:cxn ang="0">
                  <a:pos x="8" y="6"/>
                </a:cxn>
                <a:cxn ang="0">
                  <a:pos x="4" y="8"/>
                </a:cxn>
                <a:cxn ang="0">
                  <a:pos x="4" y="10"/>
                </a:cxn>
                <a:cxn ang="0">
                  <a:pos x="2" y="10"/>
                </a:cxn>
                <a:cxn ang="0">
                  <a:pos x="2" y="8"/>
                </a:cxn>
                <a:cxn ang="0">
                  <a:pos x="2" y="6"/>
                </a:cxn>
                <a:cxn ang="0">
                  <a:pos x="8" y="2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8" y="2"/>
                </a:cxn>
                <a:cxn ang="0">
                  <a:pos x="18" y="6"/>
                </a:cxn>
                <a:cxn ang="0">
                  <a:pos x="18" y="8"/>
                </a:cxn>
                <a:cxn ang="0">
                  <a:pos x="18" y="10"/>
                </a:cxn>
                <a:cxn ang="0">
                  <a:pos x="16" y="12"/>
                </a:cxn>
                <a:cxn ang="0">
                  <a:pos x="14" y="12"/>
                </a:cxn>
                <a:cxn ang="0">
                  <a:pos x="12" y="8"/>
                </a:cxn>
                <a:cxn ang="0">
                  <a:pos x="10" y="10"/>
                </a:cxn>
                <a:cxn ang="0">
                  <a:pos x="8" y="12"/>
                </a:cxn>
                <a:cxn ang="0">
                  <a:pos x="8" y="14"/>
                </a:cxn>
                <a:cxn ang="0">
                  <a:pos x="6" y="14"/>
                </a:cxn>
                <a:cxn ang="0">
                  <a:pos x="4" y="14"/>
                </a:cxn>
                <a:cxn ang="0">
                  <a:pos x="2" y="14"/>
                </a:cxn>
                <a:cxn ang="0">
                  <a:pos x="2" y="16"/>
                </a:cxn>
              </a:cxnLst>
              <a:rect l="0" t="0" r="r" b="b"/>
              <a:pathLst>
                <a:path w="18" h="16">
                  <a:moveTo>
                    <a:pt x="2" y="16"/>
                  </a:moveTo>
                  <a:lnTo>
                    <a:pt x="0" y="16"/>
                  </a:lnTo>
                  <a:lnTo>
                    <a:pt x="0" y="14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6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2" y="8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2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5" name="Freeform 225"/>
            <p:cNvSpPr>
              <a:spLocks/>
            </p:cNvSpPr>
            <p:nvPr/>
          </p:nvSpPr>
          <p:spPr bwMode="auto">
            <a:xfrm>
              <a:off x="2320" y="3760"/>
              <a:ext cx="8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2" y="8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8" y="4"/>
                  </a:lnTo>
                  <a:lnTo>
                    <a:pt x="4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6" name="Freeform 226"/>
            <p:cNvSpPr>
              <a:spLocks/>
            </p:cNvSpPr>
            <p:nvPr/>
          </p:nvSpPr>
          <p:spPr bwMode="auto">
            <a:xfrm>
              <a:off x="2274" y="3762"/>
              <a:ext cx="12" cy="20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0" y="16"/>
                </a:cxn>
                <a:cxn ang="0">
                  <a:pos x="2" y="14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2" y="8"/>
                </a:cxn>
                <a:cxn ang="0">
                  <a:pos x="10" y="8"/>
                </a:cxn>
                <a:cxn ang="0">
                  <a:pos x="8" y="12"/>
                </a:cxn>
                <a:cxn ang="0">
                  <a:pos x="8" y="14"/>
                </a:cxn>
                <a:cxn ang="0">
                  <a:pos x="8" y="16"/>
                </a:cxn>
                <a:cxn ang="0">
                  <a:pos x="6" y="18"/>
                </a:cxn>
                <a:cxn ang="0">
                  <a:pos x="2" y="20"/>
                </a:cxn>
                <a:cxn ang="0">
                  <a:pos x="0" y="20"/>
                </a:cxn>
              </a:cxnLst>
              <a:rect l="0" t="0" r="r" b="b"/>
              <a:pathLst>
                <a:path w="12" h="20">
                  <a:moveTo>
                    <a:pt x="0" y="20"/>
                  </a:moveTo>
                  <a:lnTo>
                    <a:pt x="0" y="16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8" y="12"/>
                  </a:lnTo>
                  <a:lnTo>
                    <a:pt x="8" y="14"/>
                  </a:lnTo>
                  <a:lnTo>
                    <a:pt x="8" y="16"/>
                  </a:lnTo>
                  <a:lnTo>
                    <a:pt x="6" y="18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7" name="Freeform 227"/>
            <p:cNvSpPr>
              <a:spLocks/>
            </p:cNvSpPr>
            <p:nvPr/>
          </p:nvSpPr>
          <p:spPr bwMode="auto">
            <a:xfrm>
              <a:off x="2314" y="3764"/>
              <a:ext cx="8" cy="8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6" y="8"/>
                </a:cxn>
              </a:cxnLst>
              <a:rect l="0" t="0" r="r" b="b"/>
              <a:pathLst>
                <a:path w="8" h="8">
                  <a:moveTo>
                    <a:pt x="6" y="8"/>
                  </a:moveTo>
                  <a:lnTo>
                    <a:pt x="4" y="6"/>
                  </a:lnTo>
                  <a:lnTo>
                    <a:pt x="2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8" name="Freeform 228"/>
            <p:cNvSpPr>
              <a:spLocks/>
            </p:cNvSpPr>
            <p:nvPr/>
          </p:nvSpPr>
          <p:spPr bwMode="auto">
            <a:xfrm>
              <a:off x="2316" y="3776"/>
              <a:ext cx="12" cy="14"/>
            </a:xfrm>
            <a:custGeom>
              <a:avLst/>
              <a:gdLst/>
              <a:ahLst/>
              <a:cxnLst>
                <a:cxn ang="0">
                  <a:pos x="10" y="14"/>
                </a:cxn>
                <a:cxn ang="0">
                  <a:pos x="8" y="14"/>
                </a:cxn>
                <a:cxn ang="0">
                  <a:pos x="2" y="10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6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12" y="12"/>
                </a:cxn>
                <a:cxn ang="0">
                  <a:pos x="12" y="14"/>
                </a:cxn>
                <a:cxn ang="0">
                  <a:pos x="10" y="14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lnTo>
                    <a:pt x="8" y="14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" y="8"/>
                  </a:lnTo>
                  <a:lnTo>
                    <a:pt x="4" y="8"/>
                  </a:lnTo>
                  <a:lnTo>
                    <a:pt x="6" y="6"/>
                  </a:lnTo>
                  <a:lnTo>
                    <a:pt x="6" y="2"/>
                  </a:lnTo>
                  <a:lnTo>
                    <a:pt x="6" y="0"/>
                  </a:lnTo>
                  <a:lnTo>
                    <a:pt x="8" y="2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0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19" name="Freeform 229"/>
            <p:cNvSpPr>
              <a:spLocks/>
            </p:cNvSpPr>
            <p:nvPr/>
          </p:nvSpPr>
          <p:spPr bwMode="auto">
            <a:xfrm>
              <a:off x="2286" y="3782"/>
              <a:ext cx="10" cy="26"/>
            </a:xfrm>
            <a:custGeom>
              <a:avLst/>
              <a:gdLst/>
              <a:ahLst/>
              <a:cxnLst>
                <a:cxn ang="0">
                  <a:pos x="4" y="26"/>
                </a:cxn>
                <a:cxn ang="0">
                  <a:pos x="2" y="26"/>
                </a:cxn>
                <a:cxn ang="0">
                  <a:pos x="0" y="18"/>
                </a:cxn>
                <a:cxn ang="0">
                  <a:pos x="2" y="10"/>
                </a:cxn>
                <a:cxn ang="0">
                  <a:pos x="4" y="10"/>
                </a:cxn>
                <a:cxn ang="0">
                  <a:pos x="4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10" y="10"/>
                </a:cxn>
                <a:cxn ang="0">
                  <a:pos x="8" y="18"/>
                </a:cxn>
                <a:cxn ang="0">
                  <a:pos x="6" y="22"/>
                </a:cxn>
                <a:cxn ang="0">
                  <a:pos x="4" y="26"/>
                </a:cxn>
              </a:cxnLst>
              <a:rect l="0" t="0" r="r" b="b"/>
              <a:pathLst>
                <a:path w="10" h="26">
                  <a:moveTo>
                    <a:pt x="4" y="26"/>
                  </a:moveTo>
                  <a:lnTo>
                    <a:pt x="2" y="26"/>
                  </a:lnTo>
                  <a:lnTo>
                    <a:pt x="0" y="18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8" y="18"/>
                  </a:lnTo>
                  <a:lnTo>
                    <a:pt x="6" y="22"/>
                  </a:lnTo>
                  <a:lnTo>
                    <a:pt x="4" y="2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0" name="Freeform 230"/>
            <p:cNvSpPr>
              <a:spLocks/>
            </p:cNvSpPr>
            <p:nvPr/>
          </p:nvSpPr>
          <p:spPr bwMode="auto">
            <a:xfrm>
              <a:off x="2306" y="3786"/>
              <a:ext cx="16" cy="14"/>
            </a:xfrm>
            <a:custGeom>
              <a:avLst/>
              <a:gdLst/>
              <a:ahLst/>
              <a:cxnLst>
                <a:cxn ang="0">
                  <a:pos x="14" y="14"/>
                </a:cxn>
                <a:cxn ang="0">
                  <a:pos x="10" y="14"/>
                </a:cxn>
                <a:cxn ang="0">
                  <a:pos x="6" y="10"/>
                </a:cxn>
                <a:cxn ang="0">
                  <a:pos x="4" y="8"/>
                </a:cxn>
                <a:cxn ang="0">
                  <a:pos x="0" y="0"/>
                </a:cxn>
                <a:cxn ang="0">
                  <a:pos x="4" y="2"/>
                </a:cxn>
                <a:cxn ang="0">
                  <a:pos x="14" y="8"/>
                </a:cxn>
                <a:cxn ang="0">
                  <a:pos x="16" y="10"/>
                </a:cxn>
                <a:cxn ang="0">
                  <a:pos x="14" y="12"/>
                </a:cxn>
                <a:cxn ang="0">
                  <a:pos x="14" y="14"/>
                </a:cxn>
              </a:cxnLst>
              <a:rect l="0" t="0" r="r" b="b"/>
              <a:pathLst>
                <a:path w="16" h="14">
                  <a:moveTo>
                    <a:pt x="14" y="14"/>
                  </a:moveTo>
                  <a:lnTo>
                    <a:pt x="10" y="14"/>
                  </a:lnTo>
                  <a:lnTo>
                    <a:pt x="6" y="10"/>
                  </a:lnTo>
                  <a:lnTo>
                    <a:pt x="4" y="8"/>
                  </a:lnTo>
                  <a:lnTo>
                    <a:pt x="0" y="0"/>
                  </a:lnTo>
                  <a:lnTo>
                    <a:pt x="4" y="2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4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1" name="Freeform 231"/>
            <p:cNvSpPr>
              <a:spLocks/>
            </p:cNvSpPr>
            <p:nvPr/>
          </p:nvSpPr>
          <p:spPr bwMode="auto">
            <a:xfrm>
              <a:off x="2282" y="3786"/>
              <a:ext cx="6" cy="10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0" y="10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6" y="8"/>
                </a:cxn>
                <a:cxn ang="0">
                  <a:pos x="4" y="8"/>
                </a:cxn>
                <a:cxn ang="0">
                  <a:pos x="4" y="10"/>
                </a:cxn>
                <a:cxn ang="0">
                  <a:pos x="2" y="10"/>
                </a:cxn>
              </a:cxnLst>
              <a:rect l="0" t="0" r="r" b="b"/>
              <a:pathLst>
                <a:path w="6" h="10">
                  <a:moveTo>
                    <a:pt x="2" y="10"/>
                  </a:moveTo>
                  <a:lnTo>
                    <a:pt x="0" y="10"/>
                  </a:lnTo>
                  <a:lnTo>
                    <a:pt x="2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8"/>
                  </a:lnTo>
                  <a:lnTo>
                    <a:pt x="4" y="10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2" name="Freeform 232"/>
            <p:cNvSpPr>
              <a:spLocks/>
            </p:cNvSpPr>
            <p:nvPr/>
          </p:nvSpPr>
          <p:spPr bwMode="auto">
            <a:xfrm>
              <a:off x="2328" y="3790"/>
              <a:ext cx="4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2"/>
                </a:cxn>
                <a:cxn ang="0">
                  <a:pos x="4" y="4"/>
                </a:cxn>
                <a:cxn ang="0">
                  <a:pos x="4" y="6"/>
                </a:cxn>
                <a:cxn ang="0">
                  <a:pos x="2" y="6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3" name="Freeform 233"/>
            <p:cNvSpPr>
              <a:spLocks/>
            </p:cNvSpPr>
            <p:nvPr/>
          </p:nvSpPr>
          <p:spPr bwMode="auto">
            <a:xfrm>
              <a:off x="2292" y="3792"/>
              <a:ext cx="10" cy="18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16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4" y="14"/>
                </a:cxn>
                <a:cxn ang="0">
                  <a:pos x="0" y="18"/>
                </a:cxn>
              </a:cxnLst>
              <a:rect l="0" t="0" r="r" b="b"/>
              <a:pathLst>
                <a:path w="10" h="18">
                  <a:moveTo>
                    <a:pt x="0" y="18"/>
                  </a:moveTo>
                  <a:lnTo>
                    <a:pt x="0" y="16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2"/>
                  </a:lnTo>
                  <a:lnTo>
                    <a:pt x="4" y="14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4" name="Freeform 234"/>
            <p:cNvSpPr>
              <a:spLocks/>
            </p:cNvSpPr>
            <p:nvPr/>
          </p:nvSpPr>
          <p:spPr bwMode="auto">
            <a:xfrm>
              <a:off x="2322" y="3796"/>
              <a:ext cx="16" cy="18"/>
            </a:xfrm>
            <a:custGeom>
              <a:avLst/>
              <a:gdLst/>
              <a:ahLst/>
              <a:cxnLst>
                <a:cxn ang="0">
                  <a:pos x="14" y="18"/>
                </a:cxn>
                <a:cxn ang="0">
                  <a:pos x="14" y="16"/>
                </a:cxn>
                <a:cxn ang="0">
                  <a:pos x="12" y="14"/>
                </a:cxn>
                <a:cxn ang="0">
                  <a:pos x="8" y="10"/>
                </a:cxn>
                <a:cxn ang="0">
                  <a:pos x="6" y="8"/>
                </a:cxn>
                <a:cxn ang="0">
                  <a:pos x="4" y="8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10" y="6"/>
                </a:cxn>
                <a:cxn ang="0">
                  <a:pos x="12" y="8"/>
                </a:cxn>
                <a:cxn ang="0">
                  <a:pos x="14" y="10"/>
                </a:cxn>
                <a:cxn ang="0">
                  <a:pos x="16" y="14"/>
                </a:cxn>
                <a:cxn ang="0">
                  <a:pos x="16" y="16"/>
                </a:cxn>
                <a:cxn ang="0">
                  <a:pos x="16" y="18"/>
                </a:cxn>
                <a:cxn ang="0">
                  <a:pos x="14" y="18"/>
                </a:cxn>
              </a:cxnLst>
              <a:rect l="0" t="0" r="r" b="b"/>
              <a:pathLst>
                <a:path w="16" h="18">
                  <a:moveTo>
                    <a:pt x="14" y="18"/>
                  </a:moveTo>
                  <a:lnTo>
                    <a:pt x="14" y="16"/>
                  </a:lnTo>
                  <a:lnTo>
                    <a:pt x="12" y="14"/>
                  </a:lnTo>
                  <a:lnTo>
                    <a:pt x="8" y="10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4" y="10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6" y="18"/>
                  </a:lnTo>
                  <a:lnTo>
                    <a:pt x="14" y="1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5" name="Freeform 235"/>
            <p:cNvSpPr>
              <a:spLocks/>
            </p:cNvSpPr>
            <p:nvPr/>
          </p:nvSpPr>
          <p:spPr bwMode="auto">
            <a:xfrm>
              <a:off x="2298" y="3798"/>
              <a:ext cx="10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2" y="8"/>
                </a:cxn>
                <a:cxn ang="0">
                  <a:pos x="0" y="8"/>
                </a:cxn>
              </a:cxnLst>
              <a:rect l="0" t="0" r="r" b="b"/>
              <a:pathLst>
                <a:path w="10" h="8">
                  <a:moveTo>
                    <a:pt x="0" y="8"/>
                  </a:moveTo>
                  <a:lnTo>
                    <a:pt x="0" y="6"/>
                  </a:lnTo>
                  <a:lnTo>
                    <a:pt x="2" y="4"/>
                  </a:lnTo>
                  <a:lnTo>
                    <a:pt x="8" y="0"/>
                  </a:lnTo>
                  <a:lnTo>
                    <a:pt x="10" y="2"/>
                  </a:lnTo>
                  <a:lnTo>
                    <a:pt x="8" y="4"/>
                  </a:lnTo>
                  <a:lnTo>
                    <a:pt x="6" y="4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6" name="Freeform 236"/>
            <p:cNvSpPr>
              <a:spLocks/>
            </p:cNvSpPr>
            <p:nvPr/>
          </p:nvSpPr>
          <p:spPr bwMode="auto">
            <a:xfrm>
              <a:off x="2296" y="3804"/>
              <a:ext cx="8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4" y="6"/>
                </a:cxn>
                <a:cxn ang="0">
                  <a:pos x="2" y="8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2"/>
                  </a:lnTo>
                  <a:lnTo>
                    <a:pt x="4" y="6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7" name="Freeform 237"/>
            <p:cNvSpPr>
              <a:spLocks/>
            </p:cNvSpPr>
            <p:nvPr/>
          </p:nvSpPr>
          <p:spPr bwMode="auto">
            <a:xfrm>
              <a:off x="2310" y="3806"/>
              <a:ext cx="18" cy="16"/>
            </a:xfrm>
            <a:custGeom>
              <a:avLst/>
              <a:gdLst/>
              <a:ahLst/>
              <a:cxnLst>
                <a:cxn ang="0">
                  <a:pos x="10" y="16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8" y="8"/>
                </a:cxn>
                <a:cxn ang="0">
                  <a:pos x="10" y="8"/>
                </a:cxn>
                <a:cxn ang="0">
                  <a:pos x="10" y="10"/>
                </a:cxn>
                <a:cxn ang="0">
                  <a:pos x="12" y="10"/>
                </a:cxn>
                <a:cxn ang="0">
                  <a:pos x="10" y="6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2" y="6"/>
                </a:cxn>
                <a:cxn ang="0">
                  <a:pos x="14" y="6"/>
                </a:cxn>
                <a:cxn ang="0">
                  <a:pos x="18" y="12"/>
                </a:cxn>
                <a:cxn ang="0">
                  <a:pos x="18" y="14"/>
                </a:cxn>
                <a:cxn ang="0">
                  <a:pos x="12" y="16"/>
                </a:cxn>
                <a:cxn ang="0">
                  <a:pos x="10" y="16"/>
                </a:cxn>
              </a:cxnLst>
              <a:rect l="0" t="0" r="r" b="b"/>
              <a:pathLst>
                <a:path w="18" h="16">
                  <a:moveTo>
                    <a:pt x="10" y="16"/>
                  </a:moveTo>
                  <a:lnTo>
                    <a:pt x="8" y="12"/>
                  </a:lnTo>
                  <a:lnTo>
                    <a:pt x="8" y="10"/>
                  </a:lnTo>
                  <a:lnTo>
                    <a:pt x="8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2" y="10"/>
                  </a:lnTo>
                  <a:lnTo>
                    <a:pt x="10" y="6"/>
                  </a:lnTo>
                  <a:lnTo>
                    <a:pt x="6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8" y="2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8" y="12"/>
                  </a:lnTo>
                  <a:lnTo>
                    <a:pt x="18" y="14"/>
                  </a:lnTo>
                  <a:lnTo>
                    <a:pt x="12" y="16"/>
                  </a:lnTo>
                  <a:lnTo>
                    <a:pt x="10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8" name="Freeform 238"/>
            <p:cNvSpPr>
              <a:spLocks/>
            </p:cNvSpPr>
            <p:nvPr/>
          </p:nvSpPr>
          <p:spPr bwMode="auto">
            <a:xfrm>
              <a:off x="2322" y="3810"/>
              <a:ext cx="14" cy="12"/>
            </a:xfrm>
            <a:custGeom>
              <a:avLst/>
              <a:gdLst/>
              <a:ahLst/>
              <a:cxnLst>
                <a:cxn ang="0">
                  <a:pos x="10" y="12"/>
                </a:cxn>
                <a:cxn ang="0">
                  <a:pos x="8" y="10"/>
                </a:cxn>
                <a:cxn ang="0">
                  <a:pos x="8" y="8"/>
                </a:cxn>
                <a:cxn ang="0">
                  <a:pos x="4" y="6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8" y="4"/>
                </a:cxn>
                <a:cxn ang="0">
                  <a:pos x="12" y="6"/>
                </a:cxn>
                <a:cxn ang="0">
                  <a:pos x="12" y="8"/>
                </a:cxn>
                <a:cxn ang="0">
                  <a:pos x="14" y="10"/>
                </a:cxn>
                <a:cxn ang="0">
                  <a:pos x="14" y="12"/>
                </a:cxn>
                <a:cxn ang="0">
                  <a:pos x="12" y="12"/>
                </a:cxn>
                <a:cxn ang="0">
                  <a:pos x="10" y="12"/>
                </a:cxn>
              </a:cxnLst>
              <a:rect l="0" t="0" r="r" b="b"/>
              <a:pathLst>
                <a:path w="14" h="12">
                  <a:moveTo>
                    <a:pt x="10" y="12"/>
                  </a:moveTo>
                  <a:lnTo>
                    <a:pt x="8" y="10"/>
                  </a:lnTo>
                  <a:lnTo>
                    <a:pt x="8" y="8"/>
                  </a:lnTo>
                  <a:lnTo>
                    <a:pt x="4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8" y="4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0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29" name="Freeform 239"/>
            <p:cNvSpPr>
              <a:spLocks/>
            </p:cNvSpPr>
            <p:nvPr/>
          </p:nvSpPr>
          <p:spPr bwMode="auto">
            <a:xfrm>
              <a:off x="2294" y="3812"/>
              <a:ext cx="8" cy="6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6" y="6"/>
                </a:cxn>
                <a:cxn ang="0">
                  <a:pos x="4" y="6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lnTo>
                    <a:pt x="0" y="6"/>
                  </a:lnTo>
                  <a:lnTo>
                    <a:pt x="0" y="2"/>
                  </a:lnTo>
                  <a:lnTo>
                    <a:pt x="6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6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0" name="Freeform 240"/>
            <p:cNvSpPr>
              <a:spLocks/>
            </p:cNvSpPr>
            <p:nvPr/>
          </p:nvSpPr>
          <p:spPr bwMode="auto">
            <a:xfrm>
              <a:off x="2324" y="3822"/>
              <a:ext cx="14" cy="18"/>
            </a:xfrm>
            <a:custGeom>
              <a:avLst/>
              <a:gdLst/>
              <a:ahLst/>
              <a:cxnLst>
                <a:cxn ang="0">
                  <a:pos x="6" y="18"/>
                </a:cxn>
                <a:cxn ang="0">
                  <a:pos x="4" y="18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2" y="10"/>
                </a:cxn>
                <a:cxn ang="0">
                  <a:pos x="4" y="8"/>
                </a:cxn>
                <a:cxn ang="0">
                  <a:pos x="8" y="2"/>
                </a:cxn>
                <a:cxn ang="0">
                  <a:pos x="12" y="2"/>
                </a:cxn>
                <a:cxn ang="0">
                  <a:pos x="12" y="0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4" y="6"/>
                </a:cxn>
                <a:cxn ang="0">
                  <a:pos x="12" y="12"/>
                </a:cxn>
                <a:cxn ang="0">
                  <a:pos x="10" y="16"/>
                </a:cxn>
                <a:cxn ang="0">
                  <a:pos x="8" y="18"/>
                </a:cxn>
                <a:cxn ang="0">
                  <a:pos x="8" y="16"/>
                </a:cxn>
                <a:cxn ang="0">
                  <a:pos x="8" y="18"/>
                </a:cxn>
                <a:cxn ang="0">
                  <a:pos x="6" y="18"/>
                </a:cxn>
              </a:cxnLst>
              <a:rect l="0" t="0" r="r" b="b"/>
              <a:pathLst>
                <a:path w="14" h="18">
                  <a:moveTo>
                    <a:pt x="6" y="18"/>
                  </a:moveTo>
                  <a:lnTo>
                    <a:pt x="4" y="18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4" y="8"/>
                  </a:lnTo>
                  <a:lnTo>
                    <a:pt x="8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6"/>
                  </a:lnTo>
                  <a:lnTo>
                    <a:pt x="12" y="12"/>
                  </a:lnTo>
                  <a:lnTo>
                    <a:pt x="10" y="16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1" name="Freeform 241"/>
            <p:cNvSpPr>
              <a:spLocks/>
            </p:cNvSpPr>
            <p:nvPr/>
          </p:nvSpPr>
          <p:spPr bwMode="auto">
            <a:xfrm>
              <a:off x="2402" y="3828"/>
              <a:ext cx="128" cy="134"/>
            </a:xfrm>
            <a:custGeom>
              <a:avLst/>
              <a:gdLst/>
              <a:ahLst/>
              <a:cxnLst>
                <a:cxn ang="0">
                  <a:pos x="62" y="122"/>
                </a:cxn>
                <a:cxn ang="0">
                  <a:pos x="56" y="126"/>
                </a:cxn>
                <a:cxn ang="0">
                  <a:pos x="46" y="124"/>
                </a:cxn>
                <a:cxn ang="0">
                  <a:pos x="56" y="116"/>
                </a:cxn>
                <a:cxn ang="0">
                  <a:pos x="50" y="120"/>
                </a:cxn>
                <a:cxn ang="0">
                  <a:pos x="42" y="120"/>
                </a:cxn>
                <a:cxn ang="0">
                  <a:pos x="36" y="122"/>
                </a:cxn>
                <a:cxn ang="0">
                  <a:pos x="36" y="116"/>
                </a:cxn>
                <a:cxn ang="0">
                  <a:pos x="26" y="114"/>
                </a:cxn>
                <a:cxn ang="0">
                  <a:pos x="12" y="114"/>
                </a:cxn>
                <a:cxn ang="0">
                  <a:pos x="0" y="112"/>
                </a:cxn>
                <a:cxn ang="0">
                  <a:pos x="6" y="110"/>
                </a:cxn>
                <a:cxn ang="0">
                  <a:pos x="10" y="106"/>
                </a:cxn>
                <a:cxn ang="0">
                  <a:pos x="10" y="104"/>
                </a:cxn>
                <a:cxn ang="0">
                  <a:pos x="14" y="106"/>
                </a:cxn>
                <a:cxn ang="0">
                  <a:pos x="22" y="102"/>
                </a:cxn>
                <a:cxn ang="0">
                  <a:pos x="38" y="100"/>
                </a:cxn>
                <a:cxn ang="0">
                  <a:pos x="48" y="104"/>
                </a:cxn>
                <a:cxn ang="0">
                  <a:pos x="48" y="112"/>
                </a:cxn>
                <a:cxn ang="0">
                  <a:pos x="54" y="104"/>
                </a:cxn>
                <a:cxn ang="0">
                  <a:pos x="64" y="114"/>
                </a:cxn>
                <a:cxn ang="0">
                  <a:pos x="58" y="106"/>
                </a:cxn>
                <a:cxn ang="0">
                  <a:pos x="50" y="96"/>
                </a:cxn>
                <a:cxn ang="0">
                  <a:pos x="42" y="88"/>
                </a:cxn>
                <a:cxn ang="0">
                  <a:pos x="66" y="104"/>
                </a:cxn>
                <a:cxn ang="0">
                  <a:pos x="66" y="100"/>
                </a:cxn>
                <a:cxn ang="0">
                  <a:pos x="78" y="106"/>
                </a:cxn>
                <a:cxn ang="0">
                  <a:pos x="78" y="100"/>
                </a:cxn>
                <a:cxn ang="0">
                  <a:pos x="96" y="104"/>
                </a:cxn>
                <a:cxn ang="0">
                  <a:pos x="96" y="114"/>
                </a:cxn>
                <a:cxn ang="0">
                  <a:pos x="100" y="112"/>
                </a:cxn>
                <a:cxn ang="0">
                  <a:pos x="106" y="106"/>
                </a:cxn>
                <a:cxn ang="0">
                  <a:pos x="100" y="100"/>
                </a:cxn>
                <a:cxn ang="0">
                  <a:pos x="90" y="94"/>
                </a:cxn>
                <a:cxn ang="0">
                  <a:pos x="72" y="88"/>
                </a:cxn>
                <a:cxn ang="0">
                  <a:pos x="68" y="68"/>
                </a:cxn>
                <a:cxn ang="0">
                  <a:pos x="98" y="56"/>
                </a:cxn>
                <a:cxn ang="0">
                  <a:pos x="98" y="46"/>
                </a:cxn>
                <a:cxn ang="0">
                  <a:pos x="76" y="48"/>
                </a:cxn>
                <a:cxn ang="0">
                  <a:pos x="66" y="54"/>
                </a:cxn>
                <a:cxn ang="0">
                  <a:pos x="56" y="40"/>
                </a:cxn>
                <a:cxn ang="0">
                  <a:pos x="62" y="30"/>
                </a:cxn>
                <a:cxn ang="0">
                  <a:pos x="72" y="24"/>
                </a:cxn>
                <a:cxn ang="0">
                  <a:pos x="62" y="16"/>
                </a:cxn>
                <a:cxn ang="0">
                  <a:pos x="72" y="14"/>
                </a:cxn>
                <a:cxn ang="0">
                  <a:pos x="80" y="18"/>
                </a:cxn>
                <a:cxn ang="0">
                  <a:pos x="98" y="0"/>
                </a:cxn>
                <a:cxn ang="0">
                  <a:pos x="108" y="10"/>
                </a:cxn>
                <a:cxn ang="0">
                  <a:pos x="126" y="8"/>
                </a:cxn>
                <a:cxn ang="0">
                  <a:pos x="128" y="46"/>
                </a:cxn>
                <a:cxn ang="0">
                  <a:pos x="124" y="112"/>
                </a:cxn>
                <a:cxn ang="0">
                  <a:pos x="118" y="128"/>
                </a:cxn>
                <a:cxn ang="0">
                  <a:pos x="118" y="132"/>
                </a:cxn>
                <a:cxn ang="0">
                  <a:pos x="90" y="128"/>
                </a:cxn>
                <a:cxn ang="0">
                  <a:pos x="82" y="126"/>
                </a:cxn>
              </a:cxnLst>
              <a:rect l="0" t="0" r="r" b="b"/>
              <a:pathLst>
                <a:path w="128" h="134">
                  <a:moveTo>
                    <a:pt x="64" y="128"/>
                  </a:moveTo>
                  <a:lnTo>
                    <a:pt x="62" y="128"/>
                  </a:lnTo>
                  <a:lnTo>
                    <a:pt x="60" y="126"/>
                  </a:lnTo>
                  <a:lnTo>
                    <a:pt x="60" y="124"/>
                  </a:lnTo>
                  <a:lnTo>
                    <a:pt x="62" y="124"/>
                  </a:lnTo>
                  <a:lnTo>
                    <a:pt x="62" y="122"/>
                  </a:lnTo>
                  <a:lnTo>
                    <a:pt x="64" y="120"/>
                  </a:lnTo>
                  <a:lnTo>
                    <a:pt x="60" y="122"/>
                  </a:lnTo>
                  <a:lnTo>
                    <a:pt x="60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6" y="126"/>
                  </a:lnTo>
                  <a:lnTo>
                    <a:pt x="50" y="126"/>
                  </a:lnTo>
                  <a:lnTo>
                    <a:pt x="46" y="128"/>
                  </a:lnTo>
                  <a:lnTo>
                    <a:pt x="44" y="128"/>
                  </a:lnTo>
                  <a:lnTo>
                    <a:pt x="42" y="126"/>
                  </a:lnTo>
                  <a:lnTo>
                    <a:pt x="44" y="124"/>
                  </a:lnTo>
                  <a:lnTo>
                    <a:pt x="46" y="124"/>
                  </a:lnTo>
                  <a:lnTo>
                    <a:pt x="46" y="122"/>
                  </a:lnTo>
                  <a:lnTo>
                    <a:pt x="48" y="122"/>
                  </a:lnTo>
                  <a:lnTo>
                    <a:pt x="50" y="122"/>
                  </a:lnTo>
                  <a:lnTo>
                    <a:pt x="54" y="120"/>
                  </a:lnTo>
                  <a:lnTo>
                    <a:pt x="56" y="118"/>
                  </a:lnTo>
                  <a:lnTo>
                    <a:pt x="56" y="116"/>
                  </a:lnTo>
                  <a:lnTo>
                    <a:pt x="54" y="116"/>
                  </a:lnTo>
                  <a:lnTo>
                    <a:pt x="52" y="116"/>
                  </a:lnTo>
                  <a:lnTo>
                    <a:pt x="50" y="118"/>
                  </a:lnTo>
                  <a:lnTo>
                    <a:pt x="50" y="120"/>
                  </a:lnTo>
                  <a:lnTo>
                    <a:pt x="52" y="120"/>
                  </a:lnTo>
                  <a:lnTo>
                    <a:pt x="50" y="120"/>
                  </a:lnTo>
                  <a:lnTo>
                    <a:pt x="46" y="122"/>
                  </a:lnTo>
                  <a:lnTo>
                    <a:pt x="44" y="122"/>
                  </a:lnTo>
                  <a:lnTo>
                    <a:pt x="40" y="122"/>
                  </a:lnTo>
                  <a:lnTo>
                    <a:pt x="38" y="120"/>
                  </a:lnTo>
                  <a:lnTo>
                    <a:pt x="40" y="120"/>
                  </a:lnTo>
                  <a:lnTo>
                    <a:pt x="42" y="120"/>
                  </a:lnTo>
                  <a:lnTo>
                    <a:pt x="44" y="120"/>
                  </a:lnTo>
                  <a:lnTo>
                    <a:pt x="44" y="118"/>
                  </a:lnTo>
                  <a:lnTo>
                    <a:pt x="42" y="120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36" y="122"/>
                  </a:lnTo>
                  <a:lnTo>
                    <a:pt x="36" y="124"/>
                  </a:lnTo>
                  <a:lnTo>
                    <a:pt x="34" y="124"/>
                  </a:lnTo>
                  <a:lnTo>
                    <a:pt x="36" y="122"/>
                  </a:lnTo>
                  <a:lnTo>
                    <a:pt x="36" y="120"/>
                  </a:lnTo>
                  <a:lnTo>
                    <a:pt x="38" y="116"/>
                  </a:lnTo>
                  <a:lnTo>
                    <a:pt x="36" y="116"/>
                  </a:lnTo>
                  <a:lnTo>
                    <a:pt x="36" y="118"/>
                  </a:lnTo>
                  <a:lnTo>
                    <a:pt x="34" y="118"/>
                  </a:lnTo>
                  <a:lnTo>
                    <a:pt x="30" y="120"/>
                  </a:lnTo>
                  <a:lnTo>
                    <a:pt x="26" y="118"/>
                  </a:lnTo>
                  <a:lnTo>
                    <a:pt x="26" y="116"/>
                  </a:lnTo>
                  <a:lnTo>
                    <a:pt x="26" y="114"/>
                  </a:lnTo>
                  <a:lnTo>
                    <a:pt x="24" y="110"/>
                  </a:lnTo>
                  <a:lnTo>
                    <a:pt x="22" y="112"/>
                  </a:lnTo>
                  <a:lnTo>
                    <a:pt x="18" y="118"/>
                  </a:lnTo>
                  <a:lnTo>
                    <a:pt x="18" y="120"/>
                  </a:lnTo>
                  <a:lnTo>
                    <a:pt x="12" y="116"/>
                  </a:lnTo>
                  <a:lnTo>
                    <a:pt x="12" y="114"/>
                  </a:lnTo>
                  <a:lnTo>
                    <a:pt x="10" y="114"/>
                  </a:lnTo>
                  <a:lnTo>
                    <a:pt x="8" y="116"/>
                  </a:lnTo>
                  <a:lnTo>
                    <a:pt x="6" y="118"/>
                  </a:lnTo>
                  <a:lnTo>
                    <a:pt x="2" y="118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6"/>
                  </a:lnTo>
                  <a:lnTo>
                    <a:pt x="2" y="106"/>
                  </a:lnTo>
                  <a:lnTo>
                    <a:pt x="4" y="108"/>
                  </a:lnTo>
                  <a:lnTo>
                    <a:pt x="4" y="110"/>
                  </a:lnTo>
                  <a:lnTo>
                    <a:pt x="6" y="110"/>
                  </a:lnTo>
                  <a:lnTo>
                    <a:pt x="6" y="112"/>
                  </a:lnTo>
                  <a:lnTo>
                    <a:pt x="8" y="112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2" y="106"/>
                  </a:lnTo>
                  <a:lnTo>
                    <a:pt x="10" y="106"/>
                  </a:lnTo>
                  <a:lnTo>
                    <a:pt x="8" y="108"/>
                  </a:lnTo>
                  <a:lnTo>
                    <a:pt x="6" y="106"/>
                  </a:lnTo>
                  <a:lnTo>
                    <a:pt x="6" y="104"/>
                  </a:lnTo>
                  <a:lnTo>
                    <a:pt x="8" y="102"/>
                  </a:lnTo>
                  <a:lnTo>
                    <a:pt x="10" y="102"/>
                  </a:lnTo>
                  <a:lnTo>
                    <a:pt x="10" y="104"/>
                  </a:lnTo>
                  <a:lnTo>
                    <a:pt x="14" y="108"/>
                  </a:lnTo>
                  <a:lnTo>
                    <a:pt x="14" y="110"/>
                  </a:lnTo>
                  <a:lnTo>
                    <a:pt x="16" y="110"/>
                  </a:lnTo>
                  <a:lnTo>
                    <a:pt x="18" y="108"/>
                  </a:lnTo>
                  <a:lnTo>
                    <a:pt x="16" y="106"/>
                  </a:lnTo>
                  <a:lnTo>
                    <a:pt x="14" y="106"/>
                  </a:lnTo>
                  <a:lnTo>
                    <a:pt x="14" y="104"/>
                  </a:lnTo>
                  <a:lnTo>
                    <a:pt x="16" y="104"/>
                  </a:lnTo>
                  <a:lnTo>
                    <a:pt x="20" y="106"/>
                  </a:lnTo>
                  <a:lnTo>
                    <a:pt x="22" y="104"/>
                  </a:lnTo>
                  <a:lnTo>
                    <a:pt x="20" y="104"/>
                  </a:lnTo>
                  <a:lnTo>
                    <a:pt x="22" y="102"/>
                  </a:lnTo>
                  <a:lnTo>
                    <a:pt x="24" y="102"/>
                  </a:lnTo>
                  <a:lnTo>
                    <a:pt x="30" y="104"/>
                  </a:lnTo>
                  <a:lnTo>
                    <a:pt x="38" y="108"/>
                  </a:lnTo>
                  <a:lnTo>
                    <a:pt x="38" y="104"/>
                  </a:lnTo>
                  <a:lnTo>
                    <a:pt x="38" y="102"/>
                  </a:lnTo>
                  <a:lnTo>
                    <a:pt x="38" y="100"/>
                  </a:lnTo>
                  <a:lnTo>
                    <a:pt x="40" y="100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50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6"/>
                  </a:lnTo>
                  <a:lnTo>
                    <a:pt x="46" y="110"/>
                  </a:lnTo>
                  <a:lnTo>
                    <a:pt x="46" y="114"/>
                  </a:lnTo>
                  <a:lnTo>
                    <a:pt x="46" y="112"/>
                  </a:lnTo>
                  <a:lnTo>
                    <a:pt x="50" y="116"/>
                  </a:lnTo>
                  <a:lnTo>
                    <a:pt x="48" y="112"/>
                  </a:lnTo>
                  <a:lnTo>
                    <a:pt x="48" y="110"/>
                  </a:lnTo>
                  <a:lnTo>
                    <a:pt x="48" y="106"/>
                  </a:lnTo>
                  <a:lnTo>
                    <a:pt x="50" y="106"/>
                  </a:lnTo>
                  <a:lnTo>
                    <a:pt x="50" y="104"/>
                  </a:lnTo>
                  <a:lnTo>
                    <a:pt x="52" y="102"/>
                  </a:lnTo>
                  <a:lnTo>
                    <a:pt x="54" y="104"/>
                  </a:lnTo>
                  <a:lnTo>
                    <a:pt x="56" y="108"/>
                  </a:lnTo>
                  <a:lnTo>
                    <a:pt x="58" y="108"/>
                  </a:lnTo>
                  <a:lnTo>
                    <a:pt x="60" y="110"/>
                  </a:lnTo>
                  <a:lnTo>
                    <a:pt x="62" y="110"/>
                  </a:lnTo>
                  <a:lnTo>
                    <a:pt x="62" y="112"/>
                  </a:lnTo>
                  <a:lnTo>
                    <a:pt x="64" y="114"/>
                  </a:lnTo>
                  <a:lnTo>
                    <a:pt x="68" y="112"/>
                  </a:lnTo>
                  <a:lnTo>
                    <a:pt x="64" y="110"/>
                  </a:lnTo>
                  <a:lnTo>
                    <a:pt x="64" y="108"/>
                  </a:lnTo>
                  <a:lnTo>
                    <a:pt x="62" y="108"/>
                  </a:lnTo>
                  <a:lnTo>
                    <a:pt x="60" y="106"/>
                  </a:lnTo>
                  <a:lnTo>
                    <a:pt x="58" y="106"/>
                  </a:lnTo>
                  <a:lnTo>
                    <a:pt x="56" y="104"/>
                  </a:lnTo>
                  <a:lnTo>
                    <a:pt x="54" y="102"/>
                  </a:lnTo>
                  <a:lnTo>
                    <a:pt x="54" y="100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0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2" y="96"/>
                  </a:lnTo>
                  <a:lnTo>
                    <a:pt x="42" y="94"/>
                  </a:lnTo>
                  <a:lnTo>
                    <a:pt x="40" y="90"/>
                  </a:lnTo>
                  <a:lnTo>
                    <a:pt x="42" y="88"/>
                  </a:lnTo>
                  <a:lnTo>
                    <a:pt x="42" y="90"/>
                  </a:lnTo>
                  <a:lnTo>
                    <a:pt x="44" y="92"/>
                  </a:lnTo>
                  <a:lnTo>
                    <a:pt x="46" y="92"/>
                  </a:lnTo>
                  <a:lnTo>
                    <a:pt x="50" y="94"/>
                  </a:lnTo>
                  <a:lnTo>
                    <a:pt x="60" y="100"/>
                  </a:lnTo>
                  <a:lnTo>
                    <a:pt x="66" y="104"/>
                  </a:lnTo>
                  <a:lnTo>
                    <a:pt x="68" y="104"/>
                  </a:lnTo>
                  <a:lnTo>
                    <a:pt x="68" y="106"/>
                  </a:lnTo>
                  <a:lnTo>
                    <a:pt x="72" y="102"/>
                  </a:lnTo>
                  <a:lnTo>
                    <a:pt x="70" y="102"/>
                  </a:lnTo>
                  <a:lnTo>
                    <a:pt x="68" y="100"/>
                  </a:lnTo>
                  <a:lnTo>
                    <a:pt x="66" y="100"/>
                  </a:lnTo>
                  <a:lnTo>
                    <a:pt x="68" y="98"/>
                  </a:lnTo>
                  <a:lnTo>
                    <a:pt x="70" y="98"/>
                  </a:lnTo>
                  <a:lnTo>
                    <a:pt x="70" y="96"/>
                  </a:lnTo>
                  <a:lnTo>
                    <a:pt x="72" y="96"/>
                  </a:lnTo>
                  <a:lnTo>
                    <a:pt x="74" y="98"/>
                  </a:lnTo>
                  <a:lnTo>
                    <a:pt x="78" y="106"/>
                  </a:lnTo>
                  <a:lnTo>
                    <a:pt x="80" y="112"/>
                  </a:lnTo>
                  <a:lnTo>
                    <a:pt x="82" y="112"/>
                  </a:lnTo>
                  <a:lnTo>
                    <a:pt x="82" y="108"/>
                  </a:lnTo>
                  <a:lnTo>
                    <a:pt x="80" y="102"/>
                  </a:lnTo>
                  <a:lnTo>
                    <a:pt x="80" y="100"/>
                  </a:lnTo>
                  <a:lnTo>
                    <a:pt x="78" y="100"/>
                  </a:lnTo>
                  <a:lnTo>
                    <a:pt x="78" y="98"/>
                  </a:lnTo>
                  <a:lnTo>
                    <a:pt x="80" y="98"/>
                  </a:lnTo>
                  <a:lnTo>
                    <a:pt x="82" y="98"/>
                  </a:lnTo>
                  <a:lnTo>
                    <a:pt x="86" y="100"/>
                  </a:lnTo>
                  <a:lnTo>
                    <a:pt x="88" y="102"/>
                  </a:lnTo>
                  <a:lnTo>
                    <a:pt x="96" y="104"/>
                  </a:lnTo>
                  <a:lnTo>
                    <a:pt x="100" y="106"/>
                  </a:lnTo>
                  <a:lnTo>
                    <a:pt x="102" y="106"/>
                  </a:lnTo>
                  <a:lnTo>
                    <a:pt x="102" y="108"/>
                  </a:lnTo>
                  <a:lnTo>
                    <a:pt x="98" y="112"/>
                  </a:lnTo>
                  <a:lnTo>
                    <a:pt x="96" y="112"/>
                  </a:lnTo>
                  <a:lnTo>
                    <a:pt x="96" y="114"/>
                  </a:lnTo>
                  <a:lnTo>
                    <a:pt x="94" y="116"/>
                  </a:lnTo>
                  <a:lnTo>
                    <a:pt x="96" y="120"/>
                  </a:lnTo>
                  <a:lnTo>
                    <a:pt x="96" y="118"/>
                  </a:lnTo>
                  <a:lnTo>
                    <a:pt x="98" y="116"/>
                  </a:lnTo>
                  <a:lnTo>
                    <a:pt x="98" y="114"/>
                  </a:lnTo>
                  <a:lnTo>
                    <a:pt x="100" y="112"/>
                  </a:lnTo>
                  <a:lnTo>
                    <a:pt x="102" y="112"/>
                  </a:lnTo>
                  <a:lnTo>
                    <a:pt x="104" y="114"/>
                  </a:lnTo>
                  <a:lnTo>
                    <a:pt x="104" y="112"/>
                  </a:lnTo>
                  <a:lnTo>
                    <a:pt x="104" y="110"/>
                  </a:lnTo>
                  <a:lnTo>
                    <a:pt x="104" y="108"/>
                  </a:lnTo>
                  <a:lnTo>
                    <a:pt x="106" y="106"/>
                  </a:lnTo>
                  <a:lnTo>
                    <a:pt x="106" y="108"/>
                  </a:lnTo>
                  <a:lnTo>
                    <a:pt x="108" y="108"/>
                  </a:lnTo>
                  <a:lnTo>
                    <a:pt x="110" y="108"/>
                  </a:lnTo>
                  <a:lnTo>
                    <a:pt x="110" y="106"/>
                  </a:lnTo>
                  <a:lnTo>
                    <a:pt x="108" y="104"/>
                  </a:lnTo>
                  <a:lnTo>
                    <a:pt x="100" y="100"/>
                  </a:lnTo>
                  <a:lnTo>
                    <a:pt x="96" y="98"/>
                  </a:lnTo>
                  <a:lnTo>
                    <a:pt x="94" y="98"/>
                  </a:lnTo>
                  <a:lnTo>
                    <a:pt x="92" y="98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90" y="94"/>
                  </a:lnTo>
                  <a:lnTo>
                    <a:pt x="86" y="94"/>
                  </a:lnTo>
                  <a:lnTo>
                    <a:pt x="84" y="94"/>
                  </a:lnTo>
                  <a:lnTo>
                    <a:pt x="84" y="92"/>
                  </a:lnTo>
                  <a:lnTo>
                    <a:pt x="82" y="92"/>
                  </a:lnTo>
                  <a:lnTo>
                    <a:pt x="78" y="92"/>
                  </a:lnTo>
                  <a:lnTo>
                    <a:pt x="72" y="88"/>
                  </a:lnTo>
                  <a:lnTo>
                    <a:pt x="72" y="86"/>
                  </a:lnTo>
                  <a:lnTo>
                    <a:pt x="68" y="78"/>
                  </a:lnTo>
                  <a:lnTo>
                    <a:pt x="68" y="74"/>
                  </a:lnTo>
                  <a:lnTo>
                    <a:pt x="68" y="72"/>
                  </a:lnTo>
                  <a:lnTo>
                    <a:pt x="68" y="70"/>
                  </a:lnTo>
                  <a:lnTo>
                    <a:pt x="68" y="68"/>
                  </a:lnTo>
                  <a:lnTo>
                    <a:pt x="70" y="68"/>
                  </a:lnTo>
                  <a:lnTo>
                    <a:pt x="78" y="64"/>
                  </a:lnTo>
                  <a:lnTo>
                    <a:pt x="80" y="64"/>
                  </a:lnTo>
                  <a:lnTo>
                    <a:pt x="82" y="64"/>
                  </a:lnTo>
                  <a:lnTo>
                    <a:pt x="84" y="64"/>
                  </a:lnTo>
                  <a:lnTo>
                    <a:pt x="98" y="56"/>
                  </a:lnTo>
                  <a:lnTo>
                    <a:pt x="100" y="56"/>
                  </a:lnTo>
                  <a:lnTo>
                    <a:pt x="100" y="54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0" y="46"/>
                  </a:lnTo>
                  <a:lnTo>
                    <a:pt x="98" y="46"/>
                  </a:lnTo>
                  <a:lnTo>
                    <a:pt x="92" y="46"/>
                  </a:lnTo>
                  <a:lnTo>
                    <a:pt x="90" y="46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78" y="48"/>
                  </a:lnTo>
                  <a:lnTo>
                    <a:pt x="76" y="48"/>
                  </a:lnTo>
                  <a:lnTo>
                    <a:pt x="74" y="48"/>
                  </a:lnTo>
                  <a:lnTo>
                    <a:pt x="74" y="50"/>
                  </a:lnTo>
                  <a:lnTo>
                    <a:pt x="74" y="52"/>
                  </a:lnTo>
                  <a:lnTo>
                    <a:pt x="72" y="52"/>
                  </a:lnTo>
                  <a:lnTo>
                    <a:pt x="68" y="54"/>
                  </a:lnTo>
                  <a:lnTo>
                    <a:pt x="66" y="54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58" y="48"/>
                  </a:lnTo>
                  <a:lnTo>
                    <a:pt x="58" y="46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8" y="30"/>
                  </a:lnTo>
                  <a:lnTo>
                    <a:pt x="58" y="28"/>
                  </a:lnTo>
                  <a:lnTo>
                    <a:pt x="60" y="28"/>
                  </a:lnTo>
                  <a:lnTo>
                    <a:pt x="62" y="26"/>
                  </a:lnTo>
                  <a:lnTo>
                    <a:pt x="62" y="28"/>
                  </a:lnTo>
                  <a:lnTo>
                    <a:pt x="62" y="30"/>
                  </a:lnTo>
                  <a:lnTo>
                    <a:pt x="64" y="30"/>
                  </a:lnTo>
                  <a:lnTo>
                    <a:pt x="68" y="28"/>
                  </a:lnTo>
                  <a:lnTo>
                    <a:pt x="70" y="28"/>
                  </a:lnTo>
                  <a:lnTo>
                    <a:pt x="72" y="28"/>
                  </a:lnTo>
                  <a:lnTo>
                    <a:pt x="72" y="26"/>
                  </a:lnTo>
                  <a:lnTo>
                    <a:pt x="72" y="24"/>
                  </a:lnTo>
                  <a:lnTo>
                    <a:pt x="72" y="22"/>
                  </a:lnTo>
                  <a:lnTo>
                    <a:pt x="68" y="22"/>
                  </a:lnTo>
                  <a:lnTo>
                    <a:pt x="66" y="18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60" y="14"/>
                  </a:lnTo>
                  <a:lnTo>
                    <a:pt x="62" y="14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4" y="14"/>
                  </a:lnTo>
                  <a:lnTo>
                    <a:pt x="74" y="16"/>
                  </a:lnTo>
                  <a:lnTo>
                    <a:pt x="74" y="18"/>
                  </a:lnTo>
                  <a:lnTo>
                    <a:pt x="76" y="18"/>
                  </a:lnTo>
                  <a:lnTo>
                    <a:pt x="78" y="20"/>
                  </a:lnTo>
                  <a:lnTo>
                    <a:pt x="80" y="18"/>
                  </a:lnTo>
                  <a:lnTo>
                    <a:pt x="86" y="16"/>
                  </a:lnTo>
                  <a:lnTo>
                    <a:pt x="86" y="14"/>
                  </a:lnTo>
                  <a:lnTo>
                    <a:pt x="88" y="14"/>
                  </a:lnTo>
                  <a:lnTo>
                    <a:pt x="92" y="8"/>
                  </a:lnTo>
                  <a:lnTo>
                    <a:pt x="92" y="2"/>
                  </a:lnTo>
                  <a:lnTo>
                    <a:pt x="98" y="0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2" y="4"/>
                  </a:lnTo>
                  <a:lnTo>
                    <a:pt x="106" y="8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8" y="12"/>
                  </a:lnTo>
                  <a:lnTo>
                    <a:pt x="110" y="12"/>
                  </a:lnTo>
                  <a:lnTo>
                    <a:pt x="116" y="10"/>
                  </a:lnTo>
                  <a:lnTo>
                    <a:pt x="120" y="8"/>
                  </a:lnTo>
                  <a:lnTo>
                    <a:pt x="122" y="6"/>
                  </a:lnTo>
                  <a:lnTo>
                    <a:pt x="126" y="8"/>
                  </a:lnTo>
                  <a:lnTo>
                    <a:pt x="128" y="10"/>
                  </a:lnTo>
                  <a:lnTo>
                    <a:pt x="128" y="14"/>
                  </a:lnTo>
                  <a:lnTo>
                    <a:pt x="128" y="18"/>
                  </a:lnTo>
                  <a:lnTo>
                    <a:pt x="128" y="36"/>
                  </a:lnTo>
                  <a:lnTo>
                    <a:pt x="128" y="44"/>
                  </a:lnTo>
                  <a:lnTo>
                    <a:pt x="128" y="46"/>
                  </a:lnTo>
                  <a:lnTo>
                    <a:pt x="126" y="56"/>
                  </a:lnTo>
                  <a:lnTo>
                    <a:pt x="126" y="74"/>
                  </a:lnTo>
                  <a:lnTo>
                    <a:pt x="126" y="82"/>
                  </a:lnTo>
                  <a:lnTo>
                    <a:pt x="124" y="100"/>
                  </a:lnTo>
                  <a:lnTo>
                    <a:pt x="124" y="102"/>
                  </a:lnTo>
                  <a:lnTo>
                    <a:pt x="124" y="112"/>
                  </a:lnTo>
                  <a:lnTo>
                    <a:pt x="122" y="126"/>
                  </a:lnTo>
                  <a:lnTo>
                    <a:pt x="122" y="132"/>
                  </a:lnTo>
                  <a:lnTo>
                    <a:pt x="120" y="132"/>
                  </a:lnTo>
                  <a:lnTo>
                    <a:pt x="120" y="130"/>
                  </a:lnTo>
                  <a:lnTo>
                    <a:pt x="118" y="130"/>
                  </a:lnTo>
                  <a:lnTo>
                    <a:pt x="118" y="128"/>
                  </a:lnTo>
                  <a:lnTo>
                    <a:pt x="112" y="126"/>
                  </a:lnTo>
                  <a:lnTo>
                    <a:pt x="114" y="128"/>
                  </a:lnTo>
                  <a:lnTo>
                    <a:pt x="114" y="130"/>
                  </a:lnTo>
                  <a:lnTo>
                    <a:pt x="116" y="130"/>
                  </a:lnTo>
                  <a:lnTo>
                    <a:pt x="118" y="130"/>
                  </a:lnTo>
                  <a:lnTo>
                    <a:pt x="118" y="132"/>
                  </a:lnTo>
                  <a:lnTo>
                    <a:pt x="116" y="134"/>
                  </a:lnTo>
                  <a:lnTo>
                    <a:pt x="110" y="134"/>
                  </a:lnTo>
                  <a:lnTo>
                    <a:pt x="108" y="134"/>
                  </a:lnTo>
                  <a:lnTo>
                    <a:pt x="106" y="134"/>
                  </a:lnTo>
                  <a:lnTo>
                    <a:pt x="92" y="130"/>
                  </a:lnTo>
                  <a:lnTo>
                    <a:pt x="90" y="128"/>
                  </a:lnTo>
                  <a:lnTo>
                    <a:pt x="86" y="126"/>
                  </a:lnTo>
                  <a:lnTo>
                    <a:pt x="86" y="124"/>
                  </a:lnTo>
                  <a:lnTo>
                    <a:pt x="86" y="120"/>
                  </a:lnTo>
                  <a:lnTo>
                    <a:pt x="84" y="122"/>
                  </a:lnTo>
                  <a:lnTo>
                    <a:pt x="82" y="124"/>
                  </a:lnTo>
                  <a:lnTo>
                    <a:pt x="82" y="126"/>
                  </a:lnTo>
                  <a:lnTo>
                    <a:pt x="70" y="128"/>
                  </a:lnTo>
                  <a:lnTo>
                    <a:pt x="64" y="12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2" name="Freeform 242"/>
            <p:cNvSpPr>
              <a:spLocks/>
            </p:cNvSpPr>
            <p:nvPr/>
          </p:nvSpPr>
          <p:spPr bwMode="auto">
            <a:xfrm>
              <a:off x="2298" y="3840"/>
              <a:ext cx="64" cy="36"/>
            </a:xfrm>
            <a:custGeom>
              <a:avLst/>
              <a:gdLst/>
              <a:ahLst/>
              <a:cxnLst>
                <a:cxn ang="0">
                  <a:pos x="52" y="30"/>
                </a:cxn>
                <a:cxn ang="0">
                  <a:pos x="56" y="30"/>
                </a:cxn>
                <a:cxn ang="0">
                  <a:pos x="58" y="32"/>
                </a:cxn>
                <a:cxn ang="0">
                  <a:pos x="64" y="34"/>
                </a:cxn>
                <a:cxn ang="0">
                  <a:pos x="62" y="36"/>
                </a:cxn>
                <a:cxn ang="0">
                  <a:pos x="58" y="34"/>
                </a:cxn>
                <a:cxn ang="0">
                  <a:pos x="48" y="34"/>
                </a:cxn>
                <a:cxn ang="0">
                  <a:pos x="48" y="32"/>
                </a:cxn>
                <a:cxn ang="0">
                  <a:pos x="46" y="30"/>
                </a:cxn>
                <a:cxn ang="0">
                  <a:pos x="44" y="28"/>
                </a:cxn>
                <a:cxn ang="0">
                  <a:pos x="40" y="24"/>
                </a:cxn>
                <a:cxn ang="0">
                  <a:pos x="36" y="22"/>
                </a:cxn>
                <a:cxn ang="0">
                  <a:pos x="32" y="18"/>
                </a:cxn>
                <a:cxn ang="0">
                  <a:pos x="30" y="20"/>
                </a:cxn>
                <a:cxn ang="0">
                  <a:pos x="28" y="20"/>
                </a:cxn>
                <a:cxn ang="0">
                  <a:pos x="26" y="22"/>
                </a:cxn>
                <a:cxn ang="0">
                  <a:pos x="18" y="22"/>
                </a:cxn>
                <a:cxn ang="0">
                  <a:pos x="16" y="20"/>
                </a:cxn>
                <a:cxn ang="0">
                  <a:pos x="16" y="18"/>
                </a:cxn>
                <a:cxn ang="0">
                  <a:pos x="12" y="16"/>
                </a:cxn>
                <a:cxn ang="0">
                  <a:pos x="10" y="14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6" y="10"/>
                </a:cxn>
                <a:cxn ang="0">
                  <a:pos x="8" y="8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2"/>
                </a:cxn>
                <a:cxn ang="0">
                  <a:pos x="10" y="6"/>
                </a:cxn>
                <a:cxn ang="0">
                  <a:pos x="12" y="8"/>
                </a:cxn>
                <a:cxn ang="0">
                  <a:pos x="14" y="12"/>
                </a:cxn>
                <a:cxn ang="0">
                  <a:pos x="14" y="14"/>
                </a:cxn>
                <a:cxn ang="0">
                  <a:pos x="20" y="14"/>
                </a:cxn>
                <a:cxn ang="0">
                  <a:pos x="22" y="12"/>
                </a:cxn>
                <a:cxn ang="0">
                  <a:pos x="24" y="12"/>
                </a:cxn>
                <a:cxn ang="0">
                  <a:pos x="28" y="14"/>
                </a:cxn>
                <a:cxn ang="0">
                  <a:pos x="32" y="16"/>
                </a:cxn>
                <a:cxn ang="0">
                  <a:pos x="34" y="18"/>
                </a:cxn>
                <a:cxn ang="0">
                  <a:pos x="36" y="18"/>
                </a:cxn>
                <a:cxn ang="0">
                  <a:pos x="40" y="20"/>
                </a:cxn>
                <a:cxn ang="0">
                  <a:pos x="42" y="20"/>
                </a:cxn>
                <a:cxn ang="0">
                  <a:pos x="42" y="18"/>
                </a:cxn>
                <a:cxn ang="0">
                  <a:pos x="44" y="18"/>
                </a:cxn>
                <a:cxn ang="0">
                  <a:pos x="46" y="20"/>
                </a:cxn>
                <a:cxn ang="0">
                  <a:pos x="46" y="22"/>
                </a:cxn>
                <a:cxn ang="0">
                  <a:pos x="46" y="24"/>
                </a:cxn>
                <a:cxn ang="0">
                  <a:pos x="46" y="26"/>
                </a:cxn>
                <a:cxn ang="0">
                  <a:pos x="46" y="30"/>
                </a:cxn>
                <a:cxn ang="0">
                  <a:pos x="48" y="30"/>
                </a:cxn>
                <a:cxn ang="0">
                  <a:pos x="48" y="28"/>
                </a:cxn>
                <a:cxn ang="0">
                  <a:pos x="48" y="26"/>
                </a:cxn>
                <a:cxn ang="0">
                  <a:pos x="48" y="24"/>
                </a:cxn>
                <a:cxn ang="0">
                  <a:pos x="48" y="22"/>
                </a:cxn>
                <a:cxn ang="0">
                  <a:pos x="50" y="22"/>
                </a:cxn>
                <a:cxn ang="0">
                  <a:pos x="50" y="24"/>
                </a:cxn>
                <a:cxn ang="0">
                  <a:pos x="54" y="28"/>
                </a:cxn>
                <a:cxn ang="0">
                  <a:pos x="52" y="30"/>
                </a:cxn>
              </a:cxnLst>
              <a:rect l="0" t="0" r="r" b="b"/>
              <a:pathLst>
                <a:path w="64" h="36">
                  <a:moveTo>
                    <a:pt x="52" y="30"/>
                  </a:moveTo>
                  <a:lnTo>
                    <a:pt x="56" y="30"/>
                  </a:lnTo>
                  <a:lnTo>
                    <a:pt x="58" y="32"/>
                  </a:lnTo>
                  <a:lnTo>
                    <a:pt x="64" y="34"/>
                  </a:lnTo>
                  <a:lnTo>
                    <a:pt x="62" y="36"/>
                  </a:lnTo>
                  <a:lnTo>
                    <a:pt x="58" y="34"/>
                  </a:lnTo>
                  <a:lnTo>
                    <a:pt x="48" y="34"/>
                  </a:lnTo>
                  <a:lnTo>
                    <a:pt x="48" y="32"/>
                  </a:lnTo>
                  <a:lnTo>
                    <a:pt x="46" y="30"/>
                  </a:lnTo>
                  <a:lnTo>
                    <a:pt x="44" y="28"/>
                  </a:lnTo>
                  <a:lnTo>
                    <a:pt x="40" y="24"/>
                  </a:lnTo>
                  <a:lnTo>
                    <a:pt x="36" y="22"/>
                  </a:lnTo>
                  <a:lnTo>
                    <a:pt x="32" y="18"/>
                  </a:lnTo>
                  <a:lnTo>
                    <a:pt x="30" y="20"/>
                  </a:lnTo>
                  <a:lnTo>
                    <a:pt x="28" y="20"/>
                  </a:lnTo>
                  <a:lnTo>
                    <a:pt x="26" y="22"/>
                  </a:lnTo>
                  <a:lnTo>
                    <a:pt x="18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2" y="16"/>
                  </a:lnTo>
                  <a:lnTo>
                    <a:pt x="10" y="14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6" y="10"/>
                  </a:lnTo>
                  <a:lnTo>
                    <a:pt x="8" y="8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2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20" y="14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8" y="14"/>
                  </a:lnTo>
                  <a:lnTo>
                    <a:pt x="32" y="16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6" y="26"/>
                  </a:lnTo>
                  <a:lnTo>
                    <a:pt x="46" y="30"/>
                  </a:lnTo>
                  <a:lnTo>
                    <a:pt x="48" y="30"/>
                  </a:lnTo>
                  <a:lnTo>
                    <a:pt x="48" y="28"/>
                  </a:lnTo>
                  <a:lnTo>
                    <a:pt x="48" y="26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50" y="22"/>
                  </a:lnTo>
                  <a:lnTo>
                    <a:pt x="50" y="24"/>
                  </a:lnTo>
                  <a:lnTo>
                    <a:pt x="54" y="28"/>
                  </a:lnTo>
                  <a:lnTo>
                    <a:pt x="52" y="3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3" name="Freeform 243"/>
            <p:cNvSpPr>
              <a:spLocks/>
            </p:cNvSpPr>
            <p:nvPr/>
          </p:nvSpPr>
          <p:spPr bwMode="auto">
            <a:xfrm>
              <a:off x="2336" y="3848"/>
              <a:ext cx="14" cy="6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10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4" y="2"/>
                </a:cxn>
                <a:cxn ang="0">
                  <a:pos x="14" y="6"/>
                </a:cxn>
                <a:cxn ang="0">
                  <a:pos x="12" y="6"/>
                </a:cxn>
              </a:cxnLst>
              <a:rect l="0" t="0" r="r" b="b"/>
              <a:pathLst>
                <a:path w="14" h="6">
                  <a:moveTo>
                    <a:pt x="12" y="6"/>
                  </a:moveTo>
                  <a:lnTo>
                    <a:pt x="10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4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4" name="Freeform 244"/>
            <p:cNvSpPr>
              <a:spLocks/>
            </p:cNvSpPr>
            <p:nvPr/>
          </p:nvSpPr>
          <p:spPr bwMode="auto">
            <a:xfrm>
              <a:off x="2318" y="3868"/>
              <a:ext cx="8" cy="6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6" y="0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6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5" name="Freeform 245"/>
            <p:cNvSpPr>
              <a:spLocks/>
            </p:cNvSpPr>
            <p:nvPr/>
          </p:nvSpPr>
          <p:spPr bwMode="auto">
            <a:xfrm>
              <a:off x="2334" y="3876"/>
              <a:ext cx="16" cy="10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6" y="0"/>
                </a:cxn>
                <a:cxn ang="0">
                  <a:pos x="16" y="2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12" y="10"/>
                </a:cxn>
                <a:cxn ang="0">
                  <a:pos x="6" y="8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6" y="6"/>
                </a:cxn>
                <a:cxn ang="0">
                  <a:pos x="8" y="6"/>
                </a:cxn>
                <a:cxn ang="0">
                  <a:pos x="12" y="4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14" y="0"/>
                </a:cxn>
              </a:cxnLst>
              <a:rect l="0" t="0" r="r" b="b"/>
              <a:pathLst>
                <a:path w="16" h="10">
                  <a:moveTo>
                    <a:pt x="14" y="0"/>
                  </a:moveTo>
                  <a:lnTo>
                    <a:pt x="16" y="0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2" y="10"/>
                  </a:lnTo>
                  <a:lnTo>
                    <a:pt x="6" y="8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6"/>
                  </a:lnTo>
                  <a:lnTo>
                    <a:pt x="8" y="6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6" name="Freeform 246"/>
            <p:cNvSpPr>
              <a:spLocks/>
            </p:cNvSpPr>
            <p:nvPr/>
          </p:nvSpPr>
          <p:spPr bwMode="auto">
            <a:xfrm>
              <a:off x="2342" y="3876"/>
              <a:ext cx="54" cy="40"/>
            </a:xfrm>
            <a:custGeom>
              <a:avLst/>
              <a:gdLst/>
              <a:ahLst/>
              <a:cxnLst>
                <a:cxn ang="0">
                  <a:pos x="14" y="24"/>
                </a:cxn>
                <a:cxn ang="0">
                  <a:pos x="8" y="18"/>
                </a:cxn>
                <a:cxn ang="0">
                  <a:pos x="6" y="20"/>
                </a:cxn>
                <a:cxn ang="0">
                  <a:pos x="2" y="20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2" y="12"/>
                </a:cxn>
                <a:cxn ang="0">
                  <a:pos x="4" y="12"/>
                </a:cxn>
                <a:cxn ang="0">
                  <a:pos x="10" y="12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22" y="16"/>
                </a:cxn>
                <a:cxn ang="0">
                  <a:pos x="24" y="14"/>
                </a:cxn>
                <a:cxn ang="0">
                  <a:pos x="22" y="16"/>
                </a:cxn>
                <a:cxn ang="0">
                  <a:pos x="18" y="16"/>
                </a:cxn>
                <a:cxn ang="0">
                  <a:pos x="14" y="14"/>
                </a:cxn>
                <a:cxn ang="0">
                  <a:pos x="8" y="6"/>
                </a:cxn>
                <a:cxn ang="0">
                  <a:pos x="8" y="4"/>
                </a:cxn>
                <a:cxn ang="0">
                  <a:pos x="12" y="6"/>
                </a:cxn>
                <a:cxn ang="0">
                  <a:pos x="18" y="4"/>
                </a:cxn>
                <a:cxn ang="0">
                  <a:pos x="20" y="0"/>
                </a:cxn>
                <a:cxn ang="0">
                  <a:pos x="26" y="2"/>
                </a:cxn>
                <a:cxn ang="0">
                  <a:pos x="26" y="12"/>
                </a:cxn>
                <a:cxn ang="0">
                  <a:pos x="28" y="16"/>
                </a:cxn>
                <a:cxn ang="0">
                  <a:pos x="30" y="8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8" y="10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4" y="20"/>
                </a:cxn>
                <a:cxn ang="0">
                  <a:pos x="46" y="16"/>
                </a:cxn>
                <a:cxn ang="0">
                  <a:pos x="52" y="18"/>
                </a:cxn>
                <a:cxn ang="0">
                  <a:pos x="54" y="24"/>
                </a:cxn>
                <a:cxn ang="0">
                  <a:pos x="52" y="26"/>
                </a:cxn>
                <a:cxn ang="0">
                  <a:pos x="46" y="26"/>
                </a:cxn>
                <a:cxn ang="0">
                  <a:pos x="44" y="32"/>
                </a:cxn>
                <a:cxn ang="0">
                  <a:pos x="48" y="34"/>
                </a:cxn>
                <a:cxn ang="0">
                  <a:pos x="44" y="36"/>
                </a:cxn>
                <a:cxn ang="0">
                  <a:pos x="38" y="38"/>
                </a:cxn>
                <a:cxn ang="0">
                  <a:pos x="34" y="38"/>
                </a:cxn>
                <a:cxn ang="0">
                  <a:pos x="28" y="40"/>
                </a:cxn>
                <a:cxn ang="0">
                  <a:pos x="22" y="36"/>
                </a:cxn>
                <a:cxn ang="0">
                  <a:pos x="32" y="34"/>
                </a:cxn>
                <a:cxn ang="0">
                  <a:pos x="30" y="24"/>
                </a:cxn>
                <a:cxn ang="0">
                  <a:pos x="22" y="26"/>
                </a:cxn>
                <a:cxn ang="0">
                  <a:pos x="20" y="30"/>
                </a:cxn>
                <a:cxn ang="0">
                  <a:pos x="14" y="34"/>
                </a:cxn>
                <a:cxn ang="0">
                  <a:pos x="12" y="28"/>
                </a:cxn>
              </a:cxnLst>
              <a:rect l="0" t="0" r="r" b="b"/>
              <a:pathLst>
                <a:path w="54" h="40">
                  <a:moveTo>
                    <a:pt x="12" y="24"/>
                  </a:moveTo>
                  <a:lnTo>
                    <a:pt x="14" y="24"/>
                  </a:lnTo>
                  <a:lnTo>
                    <a:pt x="14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6" y="20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10" y="12"/>
                  </a:lnTo>
                  <a:lnTo>
                    <a:pt x="12" y="14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22" y="16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2" y="14"/>
                  </a:lnTo>
                  <a:lnTo>
                    <a:pt x="22" y="16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8" y="6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2" y="6"/>
                  </a:lnTo>
                  <a:lnTo>
                    <a:pt x="20" y="8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6" y="2"/>
                  </a:lnTo>
                  <a:lnTo>
                    <a:pt x="28" y="8"/>
                  </a:lnTo>
                  <a:lnTo>
                    <a:pt x="26" y="12"/>
                  </a:lnTo>
                  <a:lnTo>
                    <a:pt x="26" y="14"/>
                  </a:lnTo>
                  <a:lnTo>
                    <a:pt x="28" y="16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8" y="6"/>
                  </a:lnTo>
                  <a:lnTo>
                    <a:pt x="28" y="4"/>
                  </a:lnTo>
                  <a:lnTo>
                    <a:pt x="30" y="6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8" y="10"/>
                  </a:lnTo>
                  <a:lnTo>
                    <a:pt x="42" y="10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6"/>
                  </a:lnTo>
                  <a:lnTo>
                    <a:pt x="42" y="16"/>
                  </a:lnTo>
                  <a:lnTo>
                    <a:pt x="44" y="20"/>
                  </a:lnTo>
                  <a:lnTo>
                    <a:pt x="44" y="18"/>
                  </a:lnTo>
                  <a:lnTo>
                    <a:pt x="46" y="16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2" y="24"/>
                  </a:lnTo>
                  <a:lnTo>
                    <a:pt x="52" y="26"/>
                  </a:lnTo>
                  <a:lnTo>
                    <a:pt x="50" y="26"/>
                  </a:lnTo>
                  <a:lnTo>
                    <a:pt x="46" y="26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6" y="34"/>
                  </a:lnTo>
                  <a:lnTo>
                    <a:pt x="48" y="34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4" y="38"/>
                  </a:lnTo>
                  <a:lnTo>
                    <a:pt x="30" y="40"/>
                  </a:lnTo>
                  <a:lnTo>
                    <a:pt x="28" y="40"/>
                  </a:lnTo>
                  <a:lnTo>
                    <a:pt x="22" y="38"/>
                  </a:lnTo>
                  <a:lnTo>
                    <a:pt x="22" y="36"/>
                  </a:lnTo>
                  <a:lnTo>
                    <a:pt x="26" y="36"/>
                  </a:lnTo>
                  <a:lnTo>
                    <a:pt x="32" y="34"/>
                  </a:lnTo>
                  <a:lnTo>
                    <a:pt x="34" y="26"/>
                  </a:lnTo>
                  <a:lnTo>
                    <a:pt x="30" y="24"/>
                  </a:lnTo>
                  <a:lnTo>
                    <a:pt x="26" y="26"/>
                  </a:lnTo>
                  <a:lnTo>
                    <a:pt x="22" y="26"/>
                  </a:lnTo>
                  <a:lnTo>
                    <a:pt x="22" y="24"/>
                  </a:lnTo>
                  <a:lnTo>
                    <a:pt x="20" y="30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14" y="30"/>
                  </a:lnTo>
                  <a:lnTo>
                    <a:pt x="12" y="28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7" name="Freeform 247"/>
            <p:cNvSpPr>
              <a:spLocks/>
            </p:cNvSpPr>
            <p:nvPr/>
          </p:nvSpPr>
          <p:spPr bwMode="auto">
            <a:xfrm>
              <a:off x="2332" y="3880"/>
              <a:ext cx="8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2" y="8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8" name="Freeform 248"/>
            <p:cNvSpPr>
              <a:spLocks/>
            </p:cNvSpPr>
            <p:nvPr/>
          </p:nvSpPr>
          <p:spPr bwMode="auto">
            <a:xfrm>
              <a:off x="2442" y="3886"/>
              <a:ext cx="22" cy="36"/>
            </a:xfrm>
            <a:custGeom>
              <a:avLst/>
              <a:gdLst/>
              <a:ahLst/>
              <a:cxnLst>
                <a:cxn ang="0">
                  <a:pos x="14" y="36"/>
                </a:cxn>
                <a:cxn ang="0">
                  <a:pos x="12" y="36"/>
                </a:cxn>
                <a:cxn ang="0">
                  <a:pos x="10" y="34"/>
                </a:cxn>
                <a:cxn ang="0">
                  <a:pos x="8" y="34"/>
                </a:cxn>
                <a:cxn ang="0">
                  <a:pos x="4" y="30"/>
                </a:cxn>
                <a:cxn ang="0">
                  <a:pos x="2" y="26"/>
                </a:cxn>
                <a:cxn ang="0">
                  <a:pos x="0" y="22"/>
                </a:cxn>
                <a:cxn ang="0">
                  <a:pos x="0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4" y="16"/>
                </a:cxn>
                <a:cxn ang="0">
                  <a:pos x="6" y="14"/>
                </a:cxn>
                <a:cxn ang="0">
                  <a:pos x="6" y="16"/>
                </a:cxn>
                <a:cxn ang="0">
                  <a:pos x="8" y="16"/>
                </a:cxn>
                <a:cxn ang="0">
                  <a:pos x="10" y="16"/>
                </a:cxn>
                <a:cxn ang="0">
                  <a:pos x="12" y="16"/>
                </a:cxn>
                <a:cxn ang="0">
                  <a:pos x="12" y="14"/>
                </a:cxn>
                <a:cxn ang="0">
                  <a:pos x="10" y="14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6"/>
                </a:cxn>
                <a:cxn ang="0">
                  <a:pos x="10" y="6"/>
                </a:cxn>
                <a:cxn ang="0">
                  <a:pos x="12" y="6"/>
                </a:cxn>
                <a:cxn ang="0">
                  <a:pos x="12" y="4"/>
                </a:cxn>
                <a:cxn ang="0">
                  <a:pos x="14" y="4"/>
                </a:cxn>
                <a:cxn ang="0">
                  <a:pos x="14" y="2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6" y="6"/>
                </a:cxn>
                <a:cxn ang="0">
                  <a:pos x="16" y="8"/>
                </a:cxn>
                <a:cxn ang="0">
                  <a:pos x="18" y="16"/>
                </a:cxn>
                <a:cxn ang="0">
                  <a:pos x="20" y="22"/>
                </a:cxn>
                <a:cxn ang="0">
                  <a:pos x="22" y="24"/>
                </a:cxn>
                <a:cxn ang="0">
                  <a:pos x="20" y="24"/>
                </a:cxn>
                <a:cxn ang="0">
                  <a:pos x="20" y="26"/>
                </a:cxn>
                <a:cxn ang="0">
                  <a:pos x="18" y="26"/>
                </a:cxn>
                <a:cxn ang="0">
                  <a:pos x="16" y="26"/>
                </a:cxn>
                <a:cxn ang="0">
                  <a:pos x="14" y="24"/>
                </a:cxn>
                <a:cxn ang="0">
                  <a:pos x="14" y="22"/>
                </a:cxn>
                <a:cxn ang="0">
                  <a:pos x="10" y="20"/>
                </a:cxn>
                <a:cxn ang="0">
                  <a:pos x="10" y="22"/>
                </a:cxn>
                <a:cxn ang="0">
                  <a:pos x="10" y="24"/>
                </a:cxn>
                <a:cxn ang="0">
                  <a:pos x="12" y="24"/>
                </a:cxn>
                <a:cxn ang="0">
                  <a:pos x="12" y="26"/>
                </a:cxn>
                <a:cxn ang="0">
                  <a:pos x="14" y="30"/>
                </a:cxn>
                <a:cxn ang="0">
                  <a:pos x="14" y="32"/>
                </a:cxn>
                <a:cxn ang="0">
                  <a:pos x="14" y="36"/>
                </a:cxn>
              </a:cxnLst>
              <a:rect l="0" t="0" r="r" b="b"/>
              <a:pathLst>
                <a:path w="22" h="36">
                  <a:moveTo>
                    <a:pt x="14" y="36"/>
                  </a:moveTo>
                  <a:lnTo>
                    <a:pt x="12" y="36"/>
                  </a:lnTo>
                  <a:lnTo>
                    <a:pt x="10" y="34"/>
                  </a:lnTo>
                  <a:lnTo>
                    <a:pt x="8" y="34"/>
                  </a:lnTo>
                  <a:lnTo>
                    <a:pt x="4" y="30"/>
                  </a:lnTo>
                  <a:lnTo>
                    <a:pt x="2" y="26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6" y="14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2" y="16"/>
                  </a:lnTo>
                  <a:lnTo>
                    <a:pt x="12" y="14"/>
                  </a:lnTo>
                  <a:lnTo>
                    <a:pt x="10" y="14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8" y="16"/>
                  </a:lnTo>
                  <a:lnTo>
                    <a:pt x="20" y="22"/>
                  </a:lnTo>
                  <a:lnTo>
                    <a:pt x="22" y="24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18" y="26"/>
                  </a:lnTo>
                  <a:lnTo>
                    <a:pt x="16" y="26"/>
                  </a:lnTo>
                  <a:lnTo>
                    <a:pt x="14" y="24"/>
                  </a:lnTo>
                  <a:lnTo>
                    <a:pt x="14" y="22"/>
                  </a:lnTo>
                  <a:lnTo>
                    <a:pt x="10" y="20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12" y="24"/>
                  </a:lnTo>
                  <a:lnTo>
                    <a:pt x="12" y="26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4" y="3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39" name="Freeform 249"/>
            <p:cNvSpPr>
              <a:spLocks/>
            </p:cNvSpPr>
            <p:nvPr/>
          </p:nvSpPr>
          <p:spPr bwMode="auto">
            <a:xfrm>
              <a:off x="2392" y="3902"/>
              <a:ext cx="24" cy="26"/>
            </a:xfrm>
            <a:custGeom>
              <a:avLst/>
              <a:gdLst/>
              <a:ahLst/>
              <a:cxnLst>
                <a:cxn ang="0">
                  <a:pos x="22" y="4"/>
                </a:cxn>
                <a:cxn ang="0">
                  <a:pos x="20" y="6"/>
                </a:cxn>
                <a:cxn ang="0">
                  <a:pos x="20" y="8"/>
                </a:cxn>
                <a:cxn ang="0">
                  <a:pos x="22" y="8"/>
                </a:cxn>
                <a:cxn ang="0">
                  <a:pos x="24" y="12"/>
                </a:cxn>
                <a:cxn ang="0">
                  <a:pos x="22" y="12"/>
                </a:cxn>
                <a:cxn ang="0">
                  <a:pos x="20" y="16"/>
                </a:cxn>
                <a:cxn ang="0">
                  <a:pos x="18" y="16"/>
                </a:cxn>
                <a:cxn ang="0">
                  <a:pos x="16" y="16"/>
                </a:cxn>
                <a:cxn ang="0">
                  <a:pos x="16" y="14"/>
                </a:cxn>
                <a:cxn ang="0">
                  <a:pos x="14" y="10"/>
                </a:cxn>
                <a:cxn ang="0">
                  <a:pos x="12" y="10"/>
                </a:cxn>
                <a:cxn ang="0">
                  <a:pos x="12" y="8"/>
                </a:cxn>
                <a:cxn ang="0">
                  <a:pos x="12" y="10"/>
                </a:cxn>
                <a:cxn ang="0">
                  <a:pos x="12" y="14"/>
                </a:cxn>
                <a:cxn ang="0">
                  <a:pos x="14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2"/>
                </a:cxn>
                <a:cxn ang="0">
                  <a:pos x="16" y="26"/>
                </a:cxn>
                <a:cxn ang="0">
                  <a:pos x="14" y="26"/>
                </a:cxn>
                <a:cxn ang="0">
                  <a:pos x="12" y="26"/>
                </a:cxn>
                <a:cxn ang="0">
                  <a:pos x="10" y="24"/>
                </a:cxn>
                <a:cxn ang="0">
                  <a:pos x="12" y="22"/>
                </a:cxn>
                <a:cxn ang="0">
                  <a:pos x="10" y="18"/>
                </a:cxn>
                <a:cxn ang="0">
                  <a:pos x="6" y="16"/>
                </a:cxn>
                <a:cxn ang="0">
                  <a:pos x="2" y="12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8" y="6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20" y="2"/>
                </a:cxn>
                <a:cxn ang="0">
                  <a:pos x="22" y="4"/>
                </a:cxn>
              </a:cxnLst>
              <a:rect l="0" t="0" r="r" b="b"/>
              <a:pathLst>
                <a:path w="24" h="26">
                  <a:moveTo>
                    <a:pt x="22" y="4"/>
                  </a:moveTo>
                  <a:lnTo>
                    <a:pt x="20" y="6"/>
                  </a:lnTo>
                  <a:lnTo>
                    <a:pt x="20" y="8"/>
                  </a:lnTo>
                  <a:lnTo>
                    <a:pt x="22" y="8"/>
                  </a:lnTo>
                  <a:lnTo>
                    <a:pt x="24" y="12"/>
                  </a:lnTo>
                  <a:lnTo>
                    <a:pt x="22" y="12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2" y="14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16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0" y="24"/>
                  </a:lnTo>
                  <a:lnTo>
                    <a:pt x="12" y="22"/>
                  </a:lnTo>
                  <a:lnTo>
                    <a:pt x="10" y="18"/>
                  </a:lnTo>
                  <a:lnTo>
                    <a:pt x="6" y="16"/>
                  </a:lnTo>
                  <a:lnTo>
                    <a:pt x="2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8" y="6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20" y="2"/>
                  </a:lnTo>
                  <a:lnTo>
                    <a:pt x="22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0" name="Freeform 250"/>
            <p:cNvSpPr>
              <a:spLocks/>
            </p:cNvSpPr>
            <p:nvPr/>
          </p:nvSpPr>
          <p:spPr bwMode="auto">
            <a:xfrm>
              <a:off x="2414" y="3906"/>
              <a:ext cx="24" cy="24"/>
            </a:xfrm>
            <a:custGeom>
              <a:avLst/>
              <a:gdLst/>
              <a:ahLst/>
              <a:cxnLst>
                <a:cxn ang="0">
                  <a:pos x="14" y="4"/>
                </a:cxn>
                <a:cxn ang="0">
                  <a:pos x="16" y="8"/>
                </a:cxn>
                <a:cxn ang="0">
                  <a:pos x="18" y="8"/>
                </a:cxn>
                <a:cxn ang="0">
                  <a:pos x="22" y="6"/>
                </a:cxn>
                <a:cxn ang="0">
                  <a:pos x="24" y="8"/>
                </a:cxn>
                <a:cxn ang="0">
                  <a:pos x="24" y="10"/>
                </a:cxn>
                <a:cxn ang="0">
                  <a:pos x="24" y="14"/>
                </a:cxn>
                <a:cxn ang="0">
                  <a:pos x="24" y="18"/>
                </a:cxn>
                <a:cxn ang="0">
                  <a:pos x="20" y="24"/>
                </a:cxn>
                <a:cxn ang="0">
                  <a:pos x="18" y="22"/>
                </a:cxn>
                <a:cxn ang="0">
                  <a:pos x="16" y="22"/>
                </a:cxn>
                <a:cxn ang="0">
                  <a:pos x="12" y="20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10" y="12"/>
                </a:cxn>
                <a:cxn ang="0">
                  <a:pos x="10" y="10"/>
                </a:cxn>
                <a:cxn ang="0">
                  <a:pos x="6" y="12"/>
                </a:cxn>
                <a:cxn ang="0">
                  <a:pos x="6" y="16"/>
                </a:cxn>
                <a:cxn ang="0">
                  <a:pos x="6" y="18"/>
                </a:cxn>
                <a:cxn ang="0">
                  <a:pos x="2" y="16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2" y="10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0" y="2"/>
                </a:cxn>
                <a:cxn ang="0">
                  <a:pos x="14" y="4"/>
                </a:cxn>
              </a:cxnLst>
              <a:rect l="0" t="0" r="r" b="b"/>
              <a:pathLst>
                <a:path w="24" h="24">
                  <a:moveTo>
                    <a:pt x="14" y="4"/>
                  </a:moveTo>
                  <a:lnTo>
                    <a:pt x="16" y="8"/>
                  </a:lnTo>
                  <a:lnTo>
                    <a:pt x="18" y="8"/>
                  </a:lnTo>
                  <a:lnTo>
                    <a:pt x="22" y="6"/>
                  </a:lnTo>
                  <a:lnTo>
                    <a:pt x="24" y="8"/>
                  </a:lnTo>
                  <a:lnTo>
                    <a:pt x="24" y="10"/>
                  </a:lnTo>
                  <a:lnTo>
                    <a:pt x="24" y="14"/>
                  </a:lnTo>
                  <a:lnTo>
                    <a:pt x="24" y="18"/>
                  </a:lnTo>
                  <a:lnTo>
                    <a:pt x="20" y="24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2" y="20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6" y="12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2" y="10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10" y="2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1" name="Freeform 251"/>
            <p:cNvSpPr>
              <a:spLocks/>
            </p:cNvSpPr>
            <p:nvPr/>
          </p:nvSpPr>
          <p:spPr bwMode="auto">
            <a:xfrm>
              <a:off x="2348" y="3910"/>
              <a:ext cx="12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4" y="6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2" y="6"/>
                </a:cxn>
                <a:cxn ang="0">
                  <a:pos x="10" y="6"/>
                </a:cxn>
                <a:cxn ang="0">
                  <a:pos x="6" y="6"/>
                </a:cxn>
              </a:cxnLst>
              <a:rect l="0" t="0" r="r" b="b"/>
              <a:pathLst>
                <a:path w="12" h="6">
                  <a:moveTo>
                    <a:pt x="6" y="6"/>
                  </a:moveTo>
                  <a:lnTo>
                    <a:pt x="4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2" name="Freeform 252"/>
            <p:cNvSpPr>
              <a:spLocks/>
            </p:cNvSpPr>
            <p:nvPr/>
          </p:nvSpPr>
          <p:spPr bwMode="auto">
            <a:xfrm>
              <a:off x="2458" y="3912"/>
              <a:ext cx="8" cy="6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6" y="0"/>
                </a:cxn>
                <a:cxn ang="0">
                  <a:pos x="8" y="2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6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6" y="0"/>
                  </a:lnTo>
                  <a:lnTo>
                    <a:pt x="8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3" name="Freeform 253"/>
            <p:cNvSpPr>
              <a:spLocks/>
            </p:cNvSpPr>
            <p:nvPr/>
          </p:nvSpPr>
          <p:spPr bwMode="auto">
            <a:xfrm>
              <a:off x="2384" y="3912"/>
              <a:ext cx="10" cy="12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10" y="4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6" y="12"/>
                </a:cxn>
                <a:cxn ang="0">
                  <a:pos x="2" y="12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4" y="2"/>
                </a:cxn>
                <a:cxn ang="0">
                  <a:pos x="6" y="0"/>
                </a:cxn>
                <a:cxn ang="0">
                  <a:pos x="6" y="2"/>
                </a:cxn>
              </a:cxnLst>
              <a:rect l="0" t="0" r="r" b="b"/>
              <a:pathLst>
                <a:path w="10" h="12">
                  <a:moveTo>
                    <a:pt x="6" y="2"/>
                  </a:moveTo>
                  <a:lnTo>
                    <a:pt x="10" y="4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4" name="Freeform 254"/>
            <p:cNvSpPr>
              <a:spLocks/>
            </p:cNvSpPr>
            <p:nvPr/>
          </p:nvSpPr>
          <p:spPr bwMode="auto">
            <a:xfrm>
              <a:off x="2456" y="3918"/>
              <a:ext cx="12" cy="8"/>
            </a:xfrm>
            <a:custGeom>
              <a:avLst/>
              <a:gdLst/>
              <a:ahLst/>
              <a:cxnLst>
                <a:cxn ang="0">
                  <a:pos x="10" y="8"/>
                </a:cxn>
                <a:cxn ang="0">
                  <a:pos x="8" y="8"/>
                </a:cxn>
                <a:cxn ang="0">
                  <a:pos x="2" y="6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8" y="2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0" y="8"/>
                </a:cxn>
              </a:cxnLst>
              <a:rect l="0" t="0" r="r" b="b"/>
              <a:pathLst>
                <a:path w="12" h="8">
                  <a:moveTo>
                    <a:pt x="10" y="8"/>
                  </a:moveTo>
                  <a:lnTo>
                    <a:pt x="8" y="8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2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5" name="Freeform 255"/>
            <p:cNvSpPr>
              <a:spLocks/>
            </p:cNvSpPr>
            <p:nvPr/>
          </p:nvSpPr>
          <p:spPr bwMode="auto">
            <a:xfrm>
              <a:off x="2382" y="3926"/>
              <a:ext cx="8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6" y="4"/>
                </a:cxn>
                <a:cxn ang="0">
                  <a:pos x="2" y="6"/>
                </a:cxn>
              </a:cxnLst>
              <a:rect l="0" t="0" r="r" b="b"/>
              <a:pathLst>
                <a:path w="8" h="6">
                  <a:moveTo>
                    <a:pt x="2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8" y="2"/>
                  </a:lnTo>
                  <a:lnTo>
                    <a:pt x="6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6" name="Freeform 256"/>
            <p:cNvSpPr>
              <a:spLocks/>
            </p:cNvSpPr>
            <p:nvPr/>
          </p:nvSpPr>
          <p:spPr bwMode="auto">
            <a:xfrm>
              <a:off x="2422" y="3954"/>
              <a:ext cx="18" cy="8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0" y="6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2" y="2"/>
                </a:cxn>
                <a:cxn ang="0">
                  <a:pos x="14" y="4"/>
                </a:cxn>
                <a:cxn ang="0">
                  <a:pos x="16" y="2"/>
                </a:cxn>
                <a:cxn ang="0">
                  <a:pos x="18" y="4"/>
                </a:cxn>
                <a:cxn ang="0">
                  <a:pos x="18" y="6"/>
                </a:cxn>
                <a:cxn ang="0">
                  <a:pos x="16" y="6"/>
                </a:cxn>
                <a:cxn ang="0">
                  <a:pos x="14" y="8"/>
                </a:cxn>
              </a:cxnLst>
              <a:rect l="0" t="0" r="r" b="b"/>
              <a:pathLst>
                <a:path w="18" h="8">
                  <a:moveTo>
                    <a:pt x="14" y="8"/>
                  </a:moveTo>
                  <a:lnTo>
                    <a:pt x="10" y="6"/>
                  </a:lnTo>
                  <a:lnTo>
                    <a:pt x="8" y="4"/>
                  </a:lnTo>
                  <a:lnTo>
                    <a:pt x="4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2"/>
                  </a:lnTo>
                  <a:lnTo>
                    <a:pt x="12" y="2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7" name="Freeform 257"/>
            <p:cNvSpPr>
              <a:spLocks/>
            </p:cNvSpPr>
            <p:nvPr/>
          </p:nvSpPr>
          <p:spPr bwMode="auto">
            <a:xfrm>
              <a:off x="2448" y="3954"/>
              <a:ext cx="12" cy="4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12" y="4"/>
                </a:cxn>
                <a:cxn ang="0">
                  <a:pos x="10" y="4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10" y="2"/>
                </a:cxn>
              </a:cxnLst>
              <a:rect l="0" t="0" r="r" b="b"/>
              <a:pathLst>
                <a:path w="12" h="4">
                  <a:moveTo>
                    <a:pt x="10" y="2"/>
                  </a:moveTo>
                  <a:lnTo>
                    <a:pt x="12" y="4"/>
                  </a:lnTo>
                  <a:lnTo>
                    <a:pt x="10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8" name="Freeform 258"/>
            <p:cNvSpPr>
              <a:spLocks/>
            </p:cNvSpPr>
            <p:nvPr/>
          </p:nvSpPr>
          <p:spPr bwMode="auto">
            <a:xfrm>
              <a:off x="2476" y="3958"/>
              <a:ext cx="28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20" y="2"/>
                </a:cxn>
                <a:cxn ang="0">
                  <a:pos x="22" y="2"/>
                </a:cxn>
                <a:cxn ang="0">
                  <a:pos x="28" y="4"/>
                </a:cxn>
                <a:cxn ang="0">
                  <a:pos x="28" y="6"/>
                </a:cxn>
                <a:cxn ang="0">
                  <a:pos x="26" y="6"/>
                </a:cxn>
                <a:cxn ang="0">
                  <a:pos x="20" y="6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6" y="8"/>
                </a:cxn>
                <a:cxn ang="0">
                  <a:pos x="2" y="8"/>
                </a:cxn>
              </a:cxnLst>
              <a:rect l="0" t="0" r="r" b="b"/>
              <a:pathLst>
                <a:path w="28" h="8">
                  <a:moveTo>
                    <a:pt x="2" y="8"/>
                  </a:move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8" y="4"/>
                  </a:lnTo>
                  <a:lnTo>
                    <a:pt x="28" y="6"/>
                  </a:lnTo>
                  <a:lnTo>
                    <a:pt x="26" y="6"/>
                  </a:lnTo>
                  <a:lnTo>
                    <a:pt x="20" y="6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6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49" name="Freeform 259"/>
            <p:cNvSpPr>
              <a:spLocks/>
            </p:cNvSpPr>
            <p:nvPr/>
          </p:nvSpPr>
          <p:spPr bwMode="auto">
            <a:xfrm>
              <a:off x="2438" y="3958"/>
              <a:ext cx="26" cy="18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2"/>
                </a:cxn>
                <a:cxn ang="0">
                  <a:pos x="20" y="4"/>
                </a:cxn>
                <a:cxn ang="0">
                  <a:pos x="18" y="4"/>
                </a:cxn>
                <a:cxn ang="0">
                  <a:pos x="18" y="6"/>
                </a:cxn>
                <a:cxn ang="0">
                  <a:pos x="14" y="6"/>
                </a:cxn>
                <a:cxn ang="0">
                  <a:pos x="12" y="6"/>
                </a:cxn>
                <a:cxn ang="0">
                  <a:pos x="10" y="6"/>
                </a:cxn>
                <a:cxn ang="0">
                  <a:pos x="10" y="8"/>
                </a:cxn>
                <a:cxn ang="0">
                  <a:pos x="12" y="8"/>
                </a:cxn>
                <a:cxn ang="0">
                  <a:pos x="18" y="8"/>
                </a:cxn>
                <a:cxn ang="0">
                  <a:pos x="22" y="8"/>
                </a:cxn>
                <a:cxn ang="0">
                  <a:pos x="24" y="8"/>
                </a:cxn>
                <a:cxn ang="0">
                  <a:pos x="26" y="8"/>
                </a:cxn>
                <a:cxn ang="0">
                  <a:pos x="26" y="12"/>
                </a:cxn>
                <a:cxn ang="0">
                  <a:pos x="26" y="14"/>
                </a:cxn>
                <a:cxn ang="0">
                  <a:pos x="24" y="14"/>
                </a:cxn>
                <a:cxn ang="0">
                  <a:pos x="24" y="12"/>
                </a:cxn>
                <a:cxn ang="0">
                  <a:pos x="22" y="10"/>
                </a:cxn>
                <a:cxn ang="0">
                  <a:pos x="20" y="10"/>
                </a:cxn>
                <a:cxn ang="0">
                  <a:pos x="20" y="12"/>
                </a:cxn>
                <a:cxn ang="0">
                  <a:pos x="20" y="14"/>
                </a:cxn>
                <a:cxn ang="0">
                  <a:pos x="22" y="14"/>
                </a:cxn>
                <a:cxn ang="0">
                  <a:pos x="22" y="16"/>
                </a:cxn>
                <a:cxn ang="0">
                  <a:pos x="18" y="18"/>
                </a:cxn>
                <a:cxn ang="0">
                  <a:pos x="16" y="18"/>
                </a:cxn>
                <a:cxn ang="0">
                  <a:pos x="16" y="16"/>
                </a:cxn>
                <a:cxn ang="0">
                  <a:pos x="16" y="14"/>
                </a:cxn>
                <a:cxn ang="0">
                  <a:pos x="16" y="12"/>
                </a:cxn>
                <a:cxn ang="0">
                  <a:pos x="14" y="10"/>
                </a:cxn>
                <a:cxn ang="0">
                  <a:pos x="10" y="12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2"/>
                </a:cxn>
                <a:cxn ang="0">
                  <a:pos x="8" y="4"/>
                </a:cxn>
                <a:cxn ang="0">
                  <a:pos x="10" y="4"/>
                </a:cxn>
                <a:cxn ang="0">
                  <a:pos x="16" y="4"/>
                </a:cxn>
                <a:cxn ang="0">
                  <a:pos x="14" y="4"/>
                </a:cxn>
                <a:cxn ang="0">
                  <a:pos x="18" y="2"/>
                </a:cxn>
                <a:cxn ang="0">
                  <a:pos x="20" y="2"/>
                </a:cxn>
                <a:cxn ang="0">
                  <a:pos x="24" y="0"/>
                </a:cxn>
              </a:cxnLst>
              <a:rect l="0" t="0" r="r" b="b"/>
              <a:pathLst>
                <a:path w="26" h="18">
                  <a:moveTo>
                    <a:pt x="24" y="0"/>
                  </a:moveTo>
                  <a:lnTo>
                    <a:pt x="24" y="2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6"/>
                  </a:lnTo>
                  <a:lnTo>
                    <a:pt x="10" y="8"/>
                  </a:lnTo>
                  <a:lnTo>
                    <a:pt x="12" y="8"/>
                  </a:lnTo>
                  <a:lnTo>
                    <a:pt x="18" y="8"/>
                  </a:lnTo>
                  <a:lnTo>
                    <a:pt x="22" y="8"/>
                  </a:lnTo>
                  <a:lnTo>
                    <a:pt x="24" y="8"/>
                  </a:lnTo>
                  <a:lnTo>
                    <a:pt x="26" y="8"/>
                  </a:lnTo>
                  <a:lnTo>
                    <a:pt x="26" y="12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4" y="12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20" y="12"/>
                  </a:lnTo>
                  <a:lnTo>
                    <a:pt x="20" y="14"/>
                  </a:lnTo>
                  <a:lnTo>
                    <a:pt x="22" y="14"/>
                  </a:lnTo>
                  <a:lnTo>
                    <a:pt x="22" y="16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4" y="10"/>
                  </a:lnTo>
                  <a:lnTo>
                    <a:pt x="10" y="12"/>
                  </a:lnTo>
                  <a:lnTo>
                    <a:pt x="2" y="10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2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0" name="Freeform 260"/>
            <p:cNvSpPr>
              <a:spLocks/>
            </p:cNvSpPr>
            <p:nvPr/>
          </p:nvSpPr>
          <p:spPr bwMode="auto">
            <a:xfrm>
              <a:off x="2534" y="3960"/>
              <a:ext cx="48" cy="24"/>
            </a:xfrm>
            <a:custGeom>
              <a:avLst/>
              <a:gdLst/>
              <a:ahLst/>
              <a:cxnLst>
                <a:cxn ang="0">
                  <a:pos x="10" y="18"/>
                </a:cxn>
                <a:cxn ang="0">
                  <a:pos x="8" y="18"/>
                </a:cxn>
                <a:cxn ang="0">
                  <a:pos x="6" y="10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8" y="2"/>
                </a:cxn>
                <a:cxn ang="0">
                  <a:pos x="22" y="2"/>
                </a:cxn>
                <a:cxn ang="0">
                  <a:pos x="26" y="2"/>
                </a:cxn>
                <a:cxn ang="0">
                  <a:pos x="28" y="2"/>
                </a:cxn>
                <a:cxn ang="0">
                  <a:pos x="30" y="2"/>
                </a:cxn>
                <a:cxn ang="0">
                  <a:pos x="34" y="2"/>
                </a:cxn>
                <a:cxn ang="0">
                  <a:pos x="36" y="2"/>
                </a:cxn>
                <a:cxn ang="0">
                  <a:pos x="38" y="4"/>
                </a:cxn>
                <a:cxn ang="0">
                  <a:pos x="40" y="4"/>
                </a:cxn>
                <a:cxn ang="0">
                  <a:pos x="42" y="4"/>
                </a:cxn>
                <a:cxn ang="0">
                  <a:pos x="42" y="6"/>
                </a:cxn>
                <a:cxn ang="0">
                  <a:pos x="44" y="6"/>
                </a:cxn>
                <a:cxn ang="0">
                  <a:pos x="48" y="10"/>
                </a:cxn>
                <a:cxn ang="0">
                  <a:pos x="48" y="14"/>
                </a:cxn>
                <a:cxn ang="0">
                  <a:pos x="46" y="14"/>
                </a:cxn>
                <a:cxn ang="0">
                  <a:pos x="46" y="16"/>
                </a:cxn>
                <a:cxn ang="0">
                  <a:pos x="46" y="18"/>
                </a:cxn>
                <a:cxn ang="0">
                  <a:pos x="40" y="24"/>
                </a:cxn>
                <a:cxn ang="0">
                  <a:pos x="38" y="24"/>
                </a:cxn>
                <a:cxn ang="0">
                  <a:pos x="34" y="22"/>
                </a:cxn>
                <a:cxn ang="0">
                  <a:pos x="32" y="22"/>
                </a:cxn>
                <a:cxn ang="0">
                  <a:pos x="32" y="20"/>
                </a:cxn>
                <a:cxn ang="0">
                  <a:pos x="34" y="20"/>
                </a:cxn>
                <a:cxn ang="0">
                  <a:pos x="34" y="18"/>
                </a:cxn>
                <a:cxn ang="0">
                  <a:pos x="32" y="16"/>
                </a:cxn>
                <a:cxn ang="0">
                  <a:pos x="30" y="16"/>
                </a:cxn>
                <a:cxn ang="0">
                  <a:pos x="28" y="16"/>
                </a:cxn>
                <a:cxn ang="0">
                  <a:pos x="26" y="16"/>
                </a:cxn>
                <a:cxn ang="0">
                  <a:pos x="26" y="18"/>
                </a:cxn>
                <a:cxn ang="0">
                  <a:pos x="26" y="20"/>
                </a:cxn>
                <a:cxn ang="0">
                  <a:pos x="24" y="22"/>
                </a:cxn>
                <a:cxn ang="0">
                  <a:pos x="20" y="20"/>
                </a:cxn>
                <a:cxn ang="0">
                  <a:pos x="18" y="20"/>
                </a:cxn>
                <a:cxn ang="0">
                  <a:pos x="16" y="20"/>
                </a:cxn>
                <a:cxn ang="0">
                  <a:pos x="16" y="18"/>
                </a:cxn>
                <a:cxn ang="0">
                  <a:pos x="18" y="18"/>
                </a:cxn>
                <a:cxn ang="0">
                  <a:pos x="16" y="16"/>
                </a:cxn>
                <a:cxn ang="0">
                  <a:pos x="12" y="18"/>
                </a:cxn>
                <a:cxn ang="0">
                  <a:pos x="10" y="18"/>
                </a:cxn>
              </a:cxnLst>
              <a:rect l="0" t="0" r="r" b="b"/>
              <a:pathLst>
                <a:path w="48" h="24">
                  <a:moveTo>
                    <a:pt x="10" y="18"/>
                  </a:moveTo>
                  <a:lnTo>
                    <a:pt x="8" y="18"/>
                  </a:lnTo>
                  <a:lnTo>
                    <a:pt x="6" y="10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6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8" y="2"/>
                  </a:lnTo>
                  <a:lnTo>
                    <a:pt x="22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8" y="10"/>
                  </a:lnTo>
                  <a:lnTo>
                    <a:pt x="48" y="14"/>
                  </a:lnTo>
                  <a:lnTo>
                    <a:pt x="46" y="14"/>
                  </a:lnTo>
                  <a:lnTo>
                    <a:pt x="46" y="16"/>
                  </a:lnTo>
                  <a:lnTo>
                    <a:pt x="46" y="18"/>
                  </a:lnTo>
                  <a:lnTo>
                    <a:pt x="40" y="24"/>
                  </a:lnTo>
                  <a:lnTo>
                    <a:pt x="38" y="24"/>
                  </a:lnTo>
                  <a:lnTo>
                    <a:pt x="34" y="22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2" y="16"/>
                  </a:lnTo>
                  <a:lnTo>
                    <a:pt x="30" y="16"/>
                  </a:lnTo>
                  <a:lnTo>
                    <a:pt x="28" y="16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26" y="20"/>
                  </a:lnTo>
                  <a:lnTo>
                    <a:pt x="24" y="22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6" y="16"/>
                  </a:lnTo>
                  <a:lnTo>
                    <a:pt x="12" y="18"/>
                  </a:lnTo>
                  <a:lnTo>
                    <a:pt x="10" y="1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1" name="Freeform 261"/>
            <p:cNvSpPr>
              <a:spLocks/>
            </p:cNvSpPr>
            <p:nvPr/>
          </p:nvSpPr>
          <p:spPr bwMode="auto">
            <a:xfrm>
              <a:off x="2468" y="3960"/>
              <a:ext cx="8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6" y="4"/>
                </a:cxn>
                <a:cxn ang="0">
                  <a:pos x="2" y="4"/>
                </a:cxn>
                <a:cxn ang="0">
                  <a:pos x="0" y="6"/>
                </a:cxn>
              </a:cxnLst>
              <a:rect l="0" t="0" r="r" b="b"/>
              <a:pathLst>
                <a:path w="8" h="6">
                  <a:moveTo>
                    <a:pt x="0" y="6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6" y="4"/>
                  </a:lnTo>
                  <a:lnTo>
                    <a:pt x="2" y="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2" name="Freeform 262"/>
            <p:cNvSpPr>
              <a:spLocks/>
            </p:cNvSpPr>
            <p:nvPr/>
          </p:nvSpPr>
          <p:spPr bwMode="auto">
            <a:xfrm>
              <a:off x="2474" y="3962"/>
              <a:ext cx="72" cy="42"/>
            </a:xfrm>
            <a:custGeom>
              <a:avLst/>
              <a:gdLst/>
              <a:ahLst/>
              <a:cxnLst>
                <a:cxn ang="0">
                  <a:pos x="70" y="36"/>
                </a:cxn>
                <a:cxn ang="0">
                  <a:pos x="70" y="42"/>
                </a:cxn>
                <a:cxn ang="0">
                  <a:pos x="66" y="40"/>
                </a:cxn>
                <a:cxn ang="0">
                  <a:pos x="62" y="32"/>
                </a:cxn>
                <a:cxn ang="0">
                  <a:pos x="54" y="30"/>
                </a:cxn>
                <a:cxn ang="0">
                  <a:pos x="46" y="28"/>
                </a:cxn>
                <a:cxn ang="0">
                  <a:pos x="40" y="30"/>
                </a:cxn>
                <a:cxn ang="0">
                  <a:pos x="38" y="26"/>
                </a:cxn>
                <a:cxn ang="0">
                  <a:pos x="42" y="24"/>
                </a:cxn>
                <a:cxn ang="0">
                  <a:pos x="40" y="22"/>
                </a:cxn>
                <a:cxn ang="0">
                  <a:pos x="40" y="16"/>
                </a:cxn>
                <a:cxn ang="0">
                  <a:pos x="36" y="18"/>
                </a:cxn>
                <a:cxn ang="0">
                  <a:pos x="28" y="10"/>
                </a:cxn>
                <a:cxn ang="0">
                  <a:pos x="20" y="12"/>
                </a:cxn>
                <a:cxn ang="0">
                  <a:pos x="26" y="16"/>
                </a:cxn>
                <a:cxn ang="0">
                  <a:pos x="24" y="22"/>
                </a:cxn>
                <a:cxn ang="0">
                  <a:pos x="30" y="26"/>
                </a:cxn>
                <a:cxn ang="0">
                  <a:pos x="20" y="30"/>
                </a:cxn>
                <a:cxn ang="0">
                  <a:pos x="22" y="22"/>
                </a:cxn>
                <a:cxn ang="0">
                  <a:pos x="16" y="22"/>
                </a:cxn>
                <a:cxn ang="0">
                  <a:pos x="10" y="18"/>
                </a:cxn>
                <a:cxn ang="0">
                  <a:pos x="18" y="14"/>
                </a:cxn>
                <a:cxn ang="0">
                  <a:pos x="16" y="14"/>
                </a:cxn>
                <a:cxn ang="0">
                  <a:pos x="4" y="16"/>
                </a:cxn>
                <a:cxn ang="0">
                  <a:pos x="6" y="14"/>
                </a:cxn>
                <a:cxn ang="0">
                  <a:pos x="0" y="10"/>
                </a:cxn>
                <a:cxn ang="0">
                  <a:pos x="8" y="6"/>
                </a:cxn>
                <a:cxn ang="0">
                  <a:pos x="24" y="4"/>
                </a:cxn>
                <a:cxn ang="0">
                  <a:pos x="42" y="2"/>
                </a:cxn>
                <a:cxn ang="0">
                  <a:pos x="46" y="0"/>
                </a:cxn>
                <a:cxn ang="0">
                  <a:pos x="58" y="2"/>
                </a:cxn>
                <a:cxn ang="0">
                  <a:pos x="60" y="8"/>
                </a:cxn>
                <a:cxn ang="0">
                  <a:pos x="50" y="12"/>
                </a:cxn>
                <a:cxn ang="0">
                  <a:pos x="42" y="8"/>
                </a:cxn>
                <a:cxn ang="0">
                  <a:pos x="36" y="4"/>
                </a:cxn>
                <a:cxn ang="0">
                  <a:pos x="40" y="10"/>
                </a:cxn>
                <a:cxn ang="0">
                  <a:pos x="56" y="14"/>
                </a:cxn>
                <a:cxn ang="0">
                  <a:pos x="64" y="18"/>
                </a:cxn>
                <a:cxn ang="0">
                  <a:pos x="52" y="20"/>
                </a:cxn>
                <a:cxn ang="0">
                  <a:pos x="46" y="18"/>
                </a:cxn>
                <a:cxn ang="0">
                  <a:pos x="54" y="22"/>
                </a:cxn>
                <a:cxn ang="0">
                  <a:pos x="66" y="24"/>
                </a:cxn>
                <a:cxn ang="0">
                  <a:pos x="68" y="30"/>
                </a:cxn>
              </a:cxnLst>
              <a:rect l="0" t="0" r="r" b="b"/>
              <a:pathLst>
                <a:path w="72" h="42">
                  <a:moveTo>
                    <a:pt x="70" y="30"/>
                  </a:moveTo>
                  <a:lnTo>
                    <a:pt x="68" y="32"/>
                  </a:lnTo>
                  <a:lnTo>
                    <a:pt x="70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0" y="42"/>
                  </a:lnTo>
                  <a:lnTo>
                    <a:pt x="68" y="42"/>
                  </a:lnTo>
                  <a:lnTo>
                    <a:pt x="66" y="42"/>
                  </a:lnTo>
                  <a:lnTo>
                    <a:pt x="66" y="40"/>
                  </a:lnTo>
                  <a:lnTo>
                    <a:pt x="64" y="38"/>
                  </a:lnTo>
                  <a:lnTo>
                    <a:pt x="62" y="34"/>
                  </a:lnTo>
                  <a:lnTo>
                    <a:pt x="62" y="32"/>
                  </a:lnTo>
                  <a:lnTo>
                    <a:pt x="58" y="30"/>
                  </a:lnTo>
                  <a:lnTo>
                    <a:pt x="56" y="30"/>
                  </a:lnTo>
                  <a:lnTo>
                    <a:pt x="54" y="30"/>
                  </a:lnTo>
                  <a:lnTo>
                    <a:pt x="52" y="28"/>
                  </a:lnTo>
                  <a:lnTo>
                    <a:pt x="50" y="28"/>
                  </a:lnTo>
                  <a:lnTo>
                    <a:pt x="46" y="28"/>
                  </a:lnTo>
                  <a:lnTo>
                    <a:pt x="44" y="30"/>
                  </a:lnTo>
                  <a:lnTo>
                    <a:pt x="42" y="30"/>
                  </a:lnTo>
                  <a:lnTo>
                    <a:pt x="40" y="30"/>
                  </a:lnTo>
                  <a:lnTo>
                    <a:pt x="38" y="30"/>
                  </a:lnTo>
                  <a:lnTo>
                    <a:pt x="38" y="28"/>
                  </a:lnTo>
                  <a:lnTo>
                    <a:pt x="38" y="26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0" y="22"/>
                  </a:lnTo>
                  <a:lnTo>
                    <a:pt x="38" y="22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38" y="18"/>
                  </a:lnTo>
                  <a:lnTo>
                    <a:pt x="36" y="18"/>
                  </a:lnTo>
                  <a:lnTo>
                    <a:pt x="30" y="16"/>
                  </a:lnTo>
                  <a:lnTo>
                    <a:pt x="28" y="14"/>
                  </a:lnTo>
                  <a:lnTo>
                    <a:pt x="28" y="10"/>
                  </a:lnTo>
                  <a:lnTo>
                    <a:pt x="22" y="10"/>
                  </a:lnTo>
                  <a:lnTo>
                    <a:pt x="22" y="12"/>
                  </a:lnTo>
                  <a:lnTo>
                    <a:pt x="20" y="12"/>
                  </a:lnTo>
                  <a:lnTo>
                    <a:pt x="22" y="12"/>
                  </a:lnTo>
                  <a:lnTo>
                    <a:pt x="26" y="12"/>
                  </a:lnTo>
                  <a:lnTo>
                    <a:pt x="26" y="16"/>
                  </a:lnTo>
                  <a:lnTo>
                    <a:pt x="22" y="16"/>
                  </a:lnTo>
                  <a:lnTo>
                    <a:pt x="22" y="18"/>
                  </a:lnTo>
                  <a:lnTo>
                    <a:pt x="24" y="22"/>
                  </a:lnTo>
                  <a:lnTo>
                    <a:pt x="24" y="26"/>
                  </a:lnTo>
                  <a:lnTo>
                    <a:pt x="28" y="26"/>
                  </a:lnTo>
                  <a:lnTo>
                    <a:pt x="30" y="26"/>
                  </a:lnTo>
                  <a:lnTo>
                    <a:pt x="30" y="30"/>
                  </a:lnTo>
                  <a:lnTo>
                    <a:pt x="24" y="30"/>
                  </a:lnTo>
                  <a:lnTo>
                    <a:pt x="20" y="30"/>
                  </a:lnTo>
                  <a:lnTo>
                    <a:pt x="18" y="24"/>
                  </a:lnTo>
                  <a:lnTo>
                    <a:pt x="20" y="22"/>
                  </a:lnTo>
                  <a:lnTo>
                    <a:pt x="22" y="22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4" y="22"/>
                  </a:lnTo>
                  <a:lnTo>
                    <a:pt x="10" y="20"/>
                  </a:lnTo>
                  <a:lnTo>
                    <a:pt x="10" y="18"/>
                  </a:lnTo>
                  <a:lnTo>
                    <a:pt x="12" y="16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18" y="12"/>
                  </a:lnTo>
                  <a:lnTo>
                    <a:pt x="16" y="12"/>
                  </a:lnTo>
                  <a:lnTo>
                    <a:pt x="16" y="14"/>
                  </a:lnTo>
                  <a:lnTo>
                    <a:pt x="12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6"/>
                  </a:lnTo>
                  <a:lnTo>
                    <a:pt x="4" y="6"/>
                  </a:lnTo>
                  <a:lnTo>
                    <a:pt x="8" y="6"/>
                  </a:lnTo>
                  <a:lnTo>
                    <a:pt x="10" y="4"/>
                  </a:lnTo>
                  <a:lnTo>
                    <a:pt x="14" y="4"/>
                  </a:lnTo>
                  <a:lnTo>
                    <a:pt x="24" y="4"/>
                  </a:lnTo>
                  <a:lnTo>
                    <a:pt x="30" y="2"/>
                  </a:lnTo>
                  <a:lnTo>
                    <a:pt x="38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50" y="0"/>
                  </a:lnTo>
                  <a:lnTo>
                    <a:pt x="56" y="0"/>
                  </a:lnTo>
                  <a:lnTo>
                    <a:pt x="58" y="2"/>
                  </a:lnTo>
                  <a:lnTo>
                    <a:pt x="60" y="4"/>
                  </a:lnTo>
                  <a:lnTo>
                    <a:pt x="60" y="6"/>
                  </a:lnTo>
                  <a:lnTo>
                    <a:pt x="60" y="8"/>
                  </a:lnTo>
                  <a:lnTo>
                    <a:pt x="52" y="10"/>
                  </a:lnTo>
                  <a:lnTo>
                    <a:pt x="52" y="12"/>
                  </a:lnTo>
                  <a:lnTo>
                    <a:pt x="50" y="12"/>
                  </a:lnTo>
                  <a:lnTo>
                    <a:pt x="44" y="10"/>
                  </a:lnTo>
                  <a:lnTo>
                    <a:pt x="42" y="10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36" y="4"/>
                  </a:lnTo>
                  <a:lnTo>
                    <a:pt x="34" y="6"/>
                  </a:lnTo>
                  <a:lnTo>
                    <a:pt x="38" y="8"/>
                  </a:lnTo>
                  <a:lnTo>
                    <a:pt x="40" y="10"/>
                  </a:lnTo>
                  <a:lnTo>
                    <a:pt x="44" y="12"/>
                  </a:lnTo>
                  <a:lnTo>
                    <a:pt x="52" y="14"/>
                  </a:lnTo>
                  <a:lnTo>
                    <a:pt x="56" y="14"/>
                  </a:lnTo>
                  <a:lnTo>
                    <a:pt x="58" y="14"/>
                  </a:lnTo>
                  <a:lnTo>
                    <a:pt x="62" y="16"/>
                  </a:lnTo>
                  <a:lnTo>
                    <a:pt x="64" y="18"/>
                  </a:lnTo>
                  <a:lnTo>
                    <a:pt x="64" y="20"/>
                  </a:lnTo>
                  <a:lnTo>
                    <a:pt x="54" y="20"/>
                  </a:lnTo>
                  <a:lnTo>
                    <a:pt x="52" y="20"/>
                  </a:lnTo>
                  <a:lnTo>
                    <a:pt x="50" y="20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50" y="22"/>
                  </a:lnTo>
                  <a:lnTo>
                    <a:pt x="52" y="22"/>
                  </a:lnTo>
                  <a:lnTo>
                    <a:pt x="54" y="22"/>
                  </a:lnTo>
                  <a:lnTo>
                    <a:pt x="56" y="22"/>
                  </a:lnTo>
                  <a:lnTo>
                    <a:pt x="60" y="22"/>
                  </a:lnTo>
                  <a:lnTo>
                    <a:pt x="66" y="24"/>
                  </a:lnTo>
                  <a:lnTo>
                    <a:pt x="66" y="26"/>
                  </a:lnTo>
                  <a:lnTo>
                    <a:pt x="66" y="28"/>
                  </a:lnTo>
                  <a:lnTo>
                    <a:pt x="68" y="30"/>
                  </a:lnTo>
                  <a:lnTo>
                    <a:pt x="70" y="3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3" name="Freeform 263"/>
            <p:cNvSpPr>
              <a:spLocks/>
            </p:cNvSpPr>
            <p:nvPr/>
          </p:nvSpPr>
          <p:spPr bwMode="auto">
            <a:xfrm>
              <a:off x="2580" y="3980"/>
              <a:ext cx="8" cy="4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6" y="0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lnTo>
                    <a:pt x="8" y="0"/>
                  </a:lnTo>
                  <a:lnTo>
                    <a:pt x="8" y="4"/>
                  </a:lnTo>
                  <a:lnTo>
                    <a:pt x="6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4" name="Freeform 264"/>
            <p:cNvSpPr>
              <a:spLocks/>
            </p:cNvSpPr>
            <p:nvPr/>
          </p:nvSpPr>
          <p:spPr bwMode="auto">
            <a:xfrm>
              <a:off x="2554" y="3992"/>
              <a:ext cx="6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2" y="8"/>
                </a:cxn>
                <a:cxn ang="0">
                  <a:pos x="0" y="8"/>
                </a:cxn>
              </a:cxnLst>
              <a:rect l="0" t="0" r="r" b="b"/>
              <a:pathLst>
                <a:path w="6" h="8">
                  <a:moveTo>
                    <a:pt x="0" y="8"/>
                  </a:moveTo>
                  <a:lnTo>
                    <a:pt x="2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5" name="Freeform 265"/>
            <p:cNvSpPr>
              <a:spLocks/>
            </p:cNvSpPr>
            <p:nvPr/>
          </p:nvSpPr>
          <p:spPr bwMode="auto">
            <a:xfrm>
              <a:off x="2560" y="3998"/>
              <a:ext cx="12" cy="12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0"/>
                </a:cxn>
                <a:cxn ang="0">
                  <a:pos x="6" y="8"/>
                </a:cxn>
                <a:cxn ang="0">
                  <a:pos x="4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10" y="8"/>
                </a:cxn>
                <a:cxn ang="0">
                  <a:pos x="12" y="10"/>
                </a:cxn>
                <a:cxn ang="0">
                  <a:pos x="10" y="10"/>
                </a:cxn>
                <a:cxn ang="0">
                  <a:pos x="10" y="12"/>
                </a:cxn>
                <a:cxn ang="0">
                  <a:pos x="8" y="12"/>
                </a:cxn>
              </a:cxnLst>
              <a:rect l="0" t="0" r="r" b="b"/>
              <a:pathLst>
                <a:path w="12" h="12">
                  <a:moveTo>
                    <a:pt x="8" y="12"/>
                  </a:moveTo>
                  <a:lnTo>
                    <a:pt x="8" y="10"/>
                  </a:lnTo>
                  <a:lnTo>
                    <a:pt x="6" y="8"/>
                  </a:lnTo>
                  <a:lnTo>
                    <a:pt x="4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4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8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6" name="Freeform 266"/>
            <p:cNvSpPr>
              <a:spLocks/>
            </p:cNvSpPr>
            <p:nvPr/>
          </p:nvSpPr>
          <p:spPr bwMode="auto">
            <a:xfrm>
              <a:off x="2550" y="4010"/>
              <a:ext cx="12" cy="6"/>
            </a:xfrm>
            <a:custGeom>
              <a:avLst/>
              <a:gdLst/>
              <a:ahLst/>
              <a:cxnLst>
                <a:cxn ang="0">
                  <a:pos x="8" y="6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0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12" y="2"/>
                </a:cxn>
                <a:cxn ang="0">
                  <a:pos x="12" y="4"/>
                </a:cxn>
                <a:cxn ang="0">
                  <a:pos x="10" y="4"/>
                </a:cxn>
                <a:cxn ang="0">
                  <a:pos x="8" y="4"/>
                </a:cxn>
                <a:cxn ang="0">
                  <a:pos x="8" y="6"/>
                </a:cxn>
              </a:cxnLst>
              <a:rect l="0" t="0" r="r" b="b"/>
              <a:pathLst>
                <a:path w="12" h="6">
                  <a:moveTo>
                    <a:pt x="8" y="6"/>
                  </a:moveTo>
                  <a:lnTo>
                    <a:pt x="8" y="2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57" name="Freeform 267"/>
            <p:cNvSpPr>
              <a:spLocks/>
            </p:cNvSpPr>
            <p:nvPr/>
          </p:nvSpPr>
          <p:spPr bwMode="auto">
            <a:xfrm>
              <a:off x="2566" y="4010"/>
              <a:ext cx="6" cy="6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6"/>
                </a:cxn>
              </a:cxnLst>
              <a:rect l="0" t="0" r="r" b="b"/>
              <a:pathLst>
                <a:path w="6" h="6">
                  <a:moveTo>
                    <a:pt x="4" y="6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12" name="Group 268"/>
          <p:cNvGrpSpPr>
            <a:grpSpLocks/>
          </p:cNvGrpSpPr>
          <p:nvPr/>
        </p:nvGrpSpPr>
        <p:grpSpPr bwMode="auto">
          <a:xfrm>
            <a:off x="3640765" y="1275192"/>
            <a:ext cx="881062" cy="796925"/>
            <a:chOff x="2336" y="326"/>
            <a:chExt cx="730" cy="624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59" name="Freeform 269"/>
            <p:cNvSpPr>
              <a:spLocks/>
            </p:cNvSpPr>
            <p:nvPr/>
          </p:nvSpPr>
          <p:spPr bwMode="auto">
            <a:xfrm>
              <a:off x="2336" y="326"/>
              <a:ext cx="730" cy="624"/>
            </a:xfrm>
            <a:custGeom>
              <a:avLst/>
              <a:gdLst/>
              <a:ahLst/>
              <a:cxnLst>
                <a:cxn ang="0">
                  <a:pos x="688" y="262"/>
                </a:cxn>
                <a:cxn ang="0">
                  <a:pos x="690" y="286"/>
                </a:cxn>
                <a:cxn ang="0">
                  <a:pos x="660" y="316"/>
                </a:cxn>
                <a:cxn ang="0">
                  <a:pos x="688" y="380"/>
                </a:cxn>
                <a:cxn ang="0">
                  <a:pos x="660" y="416"/>
                </a:cxn>
                <a:cxn ang="0">
                  <a:pos x="618" y="434"/>
                </a:cxn>
                <a:cxn ang="0">
                  <a:pos x="576" y="440"/>
                </a:cxn>
                <a:cxn ang="0">
                  <a:pos x="546" y="446"/>
                </a:cxn>
                <a:cxn ang="0">
                  <a:pos x="510" y="448"/>
                </a:cxn>
                <a:cxn ang="0">
                  <a:pos x="478" y="436"/>
                </a:cxn>
                <a:cxn ang="0">
                  <a:pos x="474" y="444"/>
                </a:cxn>
                <a:cxn ang="0">
                  <a:pos x="506" y="506"/>
                </a:cxn>
                <a:cxn ang="0">
                  <a:pos x="532" y="544"/>
                </a:cxn>
                <a:cxn ang="0">
                  <a:pos x="494" y="580"/>
                </a:cxn>
                <a:cxn ang="0">
                  <a:pos x="446" y="604"/>
                </a:cxn>
                <a:cxn ang="0">
                  <a:pos x="426" y="624"/>
                </a:cxn>
                <a:cxn ang="0">
                  <a:pos x="404" y="614"/>
                </a:cxn>
                <a:cxn ang="0">
                  <a:pos x="336" y="544"/>
                </a:cxn>
                <a:cxn ang="0">
                  <a:pos x="302" y="508"/>
                </a:cxn>
                <a:cxn ang="0">
                  <a:pos x="316" y="458"/>
                </a:cxn>
                <a:cxn ang="0">
                  <a:pos x="302" y="400"/>
                </a:cxn>
                <a:cxn ang="0">
                  <a:pos x="310" y="354"/>
                </a:cxn>
                <a:cxn ang="0">
                  <a:pos x="318" y="324"/>
                </a:cxn>
                <a:cxn ang="0">
                  <a:pos x="274" y="326"/>
                </a:cxn>
                <a:cxn ang="0">
                  <a:pos x="228" y="326"/>
                </a:cxn>
                <a:cxn ang="0">
                  <a:pos x="164" y="284"/>
                </a:cxn>
                <a:cxn ang="0">
                  <a:pos x="100" y="278"/>
                </a:cxn>
                <a:cxn ang="0">
                  <a:pos x="66" y="266"/>
                </a:cxn>
                <a:cxn ang="0">
                  <a:pos x="54" y="206"/>
                </a:cxn>
                <a:cxn ang="0">
                  <a:pos x="8" y="150"/>
                </a:cxn>
                <a:cxn ang="0">
                  <a:pos x="46" y="62"/>
                </a:cxn>
                <a:cxn ang="0">
                  <a:pos x="108" y="24"/>
                </a:cxn>
                <a:cxn ang="0">
                  <a:pos x="80" y="48"/>
                </a:cxn>
                <a:cxn ang="0">
                  <a:pos x="88" y="98"/>
                </a:cxn>
                <a:cxn ang="0">
                  <a:pos x="88" y="160"/>
                </a:cxn>
                <a:cxn ang="0">
                  <a:pos x="126" y="154"/>
                </a:cxn>
                <a:cxn ang="0">
                  <a:pos x="100" y="88"/>
                </a:cxn>
                <a:cxn ang="0">
                  <a:pos x="134" y="54"/>
                </a:cxn>
                <a:cxn ang="0">
                  <a:pos x="180" y="40"/>
                </a:cxn>
                <a:cxn ang="0">
                  <a:pos x="170" y="32"/>
                </a:cxn>
                <a:cxn ang="0">
                  <a:pos x="190" y="8"/>
                </a:cxn>
                <a:cxn ang="0">
                  <a:pos x="206" y="36"/>
                </a:cxn>
                <a:cxn ang="0">
                  <a:pos x="268" y="56"/>
                </a:cxn>
                <a:cxn ang="0">
                  <a:pos x="296" y="92"/>
                </a:cxn>
                <a:cxn ang="0">
                  <a:pos x="380" y="82"/>
                </a:cxn>
                <a:cxn ang="0">
                  <a:pos x="446" y="114"/>
                </a:cxn>
                <a:cxn ang="0">
                  <a:pos x="498" y="92"/>
                </a:cxn>
                <a:cxn ang="0">
                  <a:pos x="494" y="84"/>
                </a:cxn>
                <a:cxn ang="0">
                  <a:pos x="568" y="76"/>
                </a:cxn>
                <a:cxn ang="0">
                  <a:pos x="606" y="82"/>
                </a:cxn>
                <a:cxn ang="0">
                  <a:pos x="562" y="86"/>
                </a:cxn>
                <a:cxn ang="0">
                  <a:pos x="560" y="98"/>
                </a:cxn>
                <a:cxn ang="0">
                  <a:pos x="562" y="112"/>
                </a:cxn>
                <a:cxn ang="0">
                  <a:pos x="580" y="104"/>
                </a:cxn>
                <a:cxn ang="0">
                  <a:pos x="598" y="120"/>
                </a:cxn>
                <a:cxn ang="0">
                  <a:pos x="598" y="118"/>
                </a:cxn>
                <a:cxn ang="0">
                  <a:pos x="626" y="126"/>
                </a:cxn>
                <a:cxn ang="0">
                  <a:pos x="644" y="132"/>
                </a:cxn>
                <a:cxn ang="0">
                  <a:pos x="660" y="164"/>
                </a:cxn>
                <a:cxn ang="0">
                  <a:pos x="648" y="192"/>
                </a:cxn>
                <a:cxn ang="0">
                  <a:pos x="666" y="196"/>
                </a:cxn>
                <a:cxn ang="0">
                  <a:pos x="730" y="206"/>
                </a:cxn>
              </a:cxnLst>
              <a:rect l="0" t="0" r="r" b="b"/>
              <a:pathLst>
                <a:path w="730" h="624">
                  <a:moveTo>
                    <a:pt x="706" y="228"/>
                  </a:moveTo>
                  <a:lnTo>
                    <a:pt x="704" y="230"/>
                  </a:lnTo>
                  <a:lnTo>
                    <a:pt x="692" y="234"/>
                  </a:lnTo>
                  <a:lnTo>
                    <a:pt x="690" y="240"/>
                  </a:lnTo>
                  <a:lnTo>
                    <a:pt x="690" y="244"/>
                  </a:lnTo>
                  <a:lnTo>
                    <a:pt x="686" y="248"/>
                  </a:lnTo>
                  <a:lnTo>
                    <a:pt x="684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4" y="254"/>
                  </a:lnTo>
                  <a:lnTo>
                    <a:pt x="686" y="254"/>
                  </a:lnTo>
                  <a:lnTo>
                    <a:pt x="688" y="258"/>
                  </a:lnTo>
                  <a:lnTo>
                    <a:pt x="690" y="260"/>
                  </a:lnTo>
                  <a:lnTo>
                    <a:pt x="690" y="262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6"/>
                  </a:lnTo>
                  <a:lnTo>
                    <a:pt x="688" y="268"/>
                  </a:lnTo>
                  <a:lnTo>
                    <a:pt x="692" y="270"/>
                  </a:lnTo>
                  <a:lnTo>
                    <a:pt x="694" y="270"/>
                  </a:lnTo>
                  <a:lnTo>
                    <a:pt x="696" y="268"/>
                  </a:lnTo>
                  <a:lnTo>
                    <a:pt x="702" y="268"/>
                  </a:lnTo>
                  <a:lnTo>
                    <a:pt x="704" y="270"/>
                  </a:lnTo>
                  <a:lnTo>
                    <a:pt x="706" y="272"/>
                  </a:lnTo>
                  <a:lnTo>
                    <a:pt x="706" y="274"/>
                  </a:lnTo>
                  <a:lnTo>
                    <a:pt x="700" y="282"/>
                  </a:lnTo>
                  <a:lnTo>
                    <a:pt x="696" y="284"/>
                  </a:lnTo>
                  <a:lnTo>
                    <a:pt x="694" y="284"/>
                  </a:lnTo>
                  <a:lnTo>
                    <a:pt x="692" y="286"/>
                  </a:lnTo>
                  <a:lnTo>
                    <a:pt x="690" y="286"/>
                  </a:lnTo>
                  <a:lnTo>
                    <a:pt x="688" y="288"/>
                  </a:lnTo>
                  <a:lnTo>
                    <a:pt x="686" y="290"/>
                  </a:lnTo>
                  <a:lnTo>
                    <a:pt x="684" y="290"/>
                  </a:lnTo>
                  <a:lnTo>
                    <a:pt x="682" y="292"/>
                  </a:lnTo>
                  <a:lnTo>
                    <a:pt x="678" y="290"/>
                  </a:lnTo>
                  <a:lnTo>
                    <a:pt x="674" y="290"/>
                  </a:lnTo>
                  <a:lnTo>
                    <a:pt x="672" y="294"/>
                  </a:lnTo>
                  <a:lnTo>
                    <a:pt x="666" y="294"/>
                  </a:lnTo>
                  <a:lnTo>
                    <a:pt x="664" y="292"/>
                  </a:lnTo>
                  <a:lnTo>
                    <a:pt x="660" y="294"/>
                  </a:lnTo>
                  <a:lnTo>
                    <a:pt x="658" y="298"/>
                  </a:lnTo>
                  <a:lnTo>
                    <a:pt x="656" y="302"/>
                  </a:lnTo>
                  <a:lnTo>
                    <a:pt x="656" y="304"/>
                  </a:lnTo>
                  <a:lnTo>
                    <a:pt x="660" y="310"/>
                  </a:lnTo>
                  <a:lnTo>
                    <a:pt x="660" y="316"/>
                  </a:lnTo>
                  <a:lnTo>
                    <a:pt x="660" y="324"/>
                  </a:lnTo>
                  <a:lnTo>
                    <a:pt x="654" y="326"/>
                  </a:lnTo>
                  <a:lnTo>
                    <a:pt x="654" y="328"/>
                  </a:lnTo>
                  <a:lnTo>
                    <a:pt x="654" y="330"/>
                  </a:lnTo>
                  <a:lnTo>
                    <a:pt x="652" y="334"/>
                  </a:lnTo>
                  <a:lnTo>
                    <a:pt x="650" y="334"/>
                  </a:lnTo>
                  <a:lnTo>
                    <a:pt x="648" y="336"/>
                  </a:lnTo>
                  <a:lnTo>
                    <a:pt x="662" y="352"/>
                  </a:lnTo>
                  <a:lnTo>
                    <a:pt x="676" y="368"/>
                  </a:lnTo>
                  <a:lnTo>
                    <a:pt x="680" y="374"/>
                  </a:lnTo>
                  <a:lnTo>
                    <a:pt x="682" y="376"/>
                  </a:lnTo>
                  <a:lnTo>
                    <a:pt x="684" y="376"/>
                  </a:lnTo>
                  <a:lnTo>
                    <a:pt x="686" y="376"/>
                  </a:lnTo>
                  <a:lnTo>
                    <a:pt x="688" y="378"/>
                  </a:lnTo>
                  <a:lnTo>
                    <a:pt x="688" y="380"/>
                  </a:lnTo>
                  <a:lnTo>
                    <a:pt x="692" y="388"/>
                  </a:lnTo>
                  <a:lnTo>
                    <a:pt x="692" y="390"/>
                  </a:lnTo>
                  <a:lnTo>
                    <a:pt x="692" y="392"/>
                  </a:lnTo>
                  <a:lnTo>
                    <a:pt x="688" y="396"/>
                  </a:lnTo>
                  <a:lnTo>
                    <a:pt x="686" y="398"/>
                  </a:lnTo>
                  <a:lnTo>
                    <a:pt x="684" y="400"/>
                  </a:lnTo>
                  <a:lnTo>
                    <a:pt x="678" y="402"/>
                  </a:lnTo>
                  <a:lnTo>
                    <a:pt x="676" y="402"/>
                  </a:lnTo>
                  <a:lnTo>
                    <a:pt x="674" y="402"/>
                  </a:lnTo>
                  <a:lnTo>
                    <a:pt x="674" y="408"/>
                  </a:lnTo>
                  <a:lnTo>
                    <a:pt x="674" y="410"/>
                  </a:lnTo>
                  <a:lnTo>
                    <a:pt x="672" y="412"/>
                  </a:lnTo>
                  <a:lnTo>
                    <a:pt x="670" y="414"/>
                  </a:lnTo>
                  <a:lnTo>
                    <a:pt x="666" y="414"/>
                  </a:lnTo>
                  <a:lnTo>
                    <a:pt x="660" y="416"/>
                  </a:lnTo>
                  <a:lnTo>
                    <a:pt x="652" y="414"/>
                  </a:lnTo>
                  <a:lnTo>
                    <a:pt x="642" y="420"/>
                  </a:lnTo>
                  <a:lnTo>
                    <a:pt x="642" y="422"/>
                  </a:lnTo>
                  <a:lnTo>
                    <a:pt x="642" y="424"/>
                  </a:lnTo>
                  <a:lnTo>
                    <a:pt x="642" y="426"/>
                  </a:lnTo>
                  <a:lnTo>
                    <a:pt x="640" y="428"/>
                  </a:lnTo>
                  <a:lnTo>
                    <a:pt x="636" y="428"/>
                  </a:lnTo>
                  <a:lnTo>
                    <a:pt x="634" y="428"/>
                  </a:lnTo>
                  <a:lnTo>
                    <a:pt x="632" y="428"/>
                  </a:lnTo>
                  <a:lnTo>
                    <a:pt x="628" y="428"/>
                  </a:lnTo>
                  <a:lnTo>
                    <a:pt x="626" y="430"/>
                  </a:lnTo>
                  <a:lnTo>
                    <a:pt x="626" y="432"/>
                  </a:lnTo>
                  <a:lnTo>
                    <a:pt x="624" y="434"/>
                  </a:lnTo>
                  <a:lnTo>
                    <a:pt x="620" y="434"/>
                  </a:lnTo>
                  <a:lnTo>
                    <a:pt x="618" y="434"/>
                  </a:lnTo>
                  <a:lnTo>
                    <a:pt x="616" y="434"/>
                  </a:lnTo>
                  <a:lnTo>
                    <a:pt x="612" y="434"/>
                  </a:lnTo>
                  <a:lnTo>
                    <a:pt x="612" y="436"/>
                  </a:lnTo>
                  <a:lnTo>
                    <a:pt x="610" y="436"/>
                  </a:lnTo>
                  <a:lnTo>
                    <a:pt x="608" y="436"/>
                  </a:lnTo>
                  <a:lnTo>
                    <a:pt x="606" y="436"/>
                  </a:lnTo>
                  <a:lnTo>
                    <a:pt x="604" y="436"/>
                  </a:lnTo>
                  <a:lnTo>
                    <a:pt x="600" y="436"/>
                  </a:lnTo>
                  <a:lnTo>
                    <a:pt x="598" y="434"/>
                  </a:lnTo>
                  <a:lnTo>
                    <a:pt x="594" y="432"/>
                  </a:lnTo>
                  <a:lnTo>
                    <a:pt x="592" y="432"/>
                  </a:lnTo>
                  <a:lnTo>
                    <a:pt x="586" y="436"/>
                  </a:lnTo>
                  <a:lnTo>
                    <a:pt x="582" y="440"/>
                  </a:lnTo>
                  <a:lnTo>
                    <a:pt x="580" y="440"/>
                  </a:lnTo>
                  <a:lnTo>
                    <a:pt x="576" y="440"/>
                  </a:lnTo>
                  <a:lnTo>
                    <a:pt x="574" y="442"/>
                  </a:lnTo>
                  <a:lnTo>
                    <a:pt x="574" y="448"/>
                  </a:lnTo>
                  <a:lnTo>
                    <a:pt x="574" y="452"/>
                  </a:lnTo>
                  <a:lnTo>
                    <a:pt x="576" y="454"/>
                  </a:lnTo>
                  <a:lnTo>
                    <a:pt x="576" y="456"/>
                  </a:lnTo>
                  <a:lnTo>
                    <a:pt x="576" y="458"/>
                  </a:lnTo>
                  <a:lnTo>
                    <a:pt x="576" y="460"/>
                  </a:lnTo>
                  <a:lnTo>
                    <a:pt x="576" y="462"/>
                  </a:lnTo>
                  <a:lnTo>
                    <a:pt x="574" y="464"/>
                  </a:lnTo>
                  <a:lnTo>
                    <a:pt x="568" y="466"/>
                  </a:lnTo>
                  <a:lnTo>
                    <a:pt x="566" y="466"/>
                  </a:lnTo>
                  <a:lnTo>
                    <a:pt x="562" y="464"/>
                  </a:lnTo>
                  <a:lnTo>
                    <a:pt x="552" y="454"/>
                  </a:lnTo>
                  <a:lnTo>
                    <a:pt x="548" y="448"/>
                  </a:lnTo>
                  <a:lnTo>
                    <a:pt x="546" y="446"/>
                  </a:lnTo>
                  <a:lnTo>
                    <a:pt x="544" y="444"/>
                  </a:lnTo>
                  <a:lnTo>
                    <a:pt x="542" y="444"/>
                  </a:lnTo>
                  <a:lnTo>
                    <a:pt x="540" y="444"/>
                  </a:lnTo>
                  <a:lnTo>
                    <a:pt x="538" y="446"/>
                  </a:lnTo>
                  <a:lnTo>
                    <a:pt x="538" y="448"/>
                  </a:lnTo>
                  <a:lnTo>
                    <a:pt x="536" y="450"/>
                  </a:lnTo>
                  <a:lnTo>
                    <a:pt x="534" y="450"/>
                  </a:lnTo>
                  <a:lnTo>
                    <a:pt x="532" y="450"/>
                  </a:lnTo>
                  <a:lnTo>
                    <a:pt x="530" y="448"/>
                  </a:lnTo>
                  <a:lnTo>
                    <a:pt x="530" y="446"/>
                  </a:lnTo>
                  <a:lnTo>
                    <a:pt x="528" y="446"/>
                  </a:lnTo>
                  <a:lnTo>
                    <a:pt x="526" y="446"/>
                  </a:lnTo>
                  <a:lnTo>
                    <a:pt x="516" y="444"/>
                  </a:lnTo>
                  <a:lnTo>
                    <a:pt x="512" y="446"/>
                  </a:lnTo>
                  <a:lnTo>
                    <a:pt x="510" y="448"/>
                  </a:lnTo>
                  <a:lnTo>
                    <a:pt x="508" y="450"/>
                  </a:lnTo>
                  <a:lnTo>
                    <a:pt x="506" y="448"/>
                  </a:lnTo>
                  <a:lnTo>
                    <a:pt x="504" y="448"/>
                  </a:lnTo>
                  <a:lnTo>
                    <a:pt x="504" y="446"/>
                  </a:lnTo>
                  <a:lnTo>
                    <a:pt x="502" y="440"/>
                  </a:lnTo>
                  <a:lnTo>
                    <a:pt x="502" y="438"/>
                  </a:lnTo>
                  <a:lnTo>
                    <a:pt x="500" y="436"/>
                  </a:lnTo>
                  <a:lnTo>
                    <a:pt x="496" y="436"/>
                  </a:lnTo>
                  <a:lnTo>
                    <a:pt x="494" y="436"/>
                  </a:lnTo>
                  <a:lnTo>
                    <a:pt x="490" y="434"/>
                  </a:lnTo>
                  <a:lnTo>
                    <a:pt x="488" y="434"/>
                  </a:lnTo>
                  <a:lnTo>
                    <a:pt x="486" y="434"/>
                  </a:lnTo>
                  <a:lnTo>
                    <a:pt x="484" y="436"/>
                  </a:lnTo>
                  <a:lnTo>
                    <a:pt x="482" y="436"/>
                  </a:lnTo>
                  <a:lnTo>
                    <a:pt x="478" y="436"/>
                  </a:lnTo>
                  <a:lnTo>
                    <a:pt x="476" y="436"/>
                  </a:lnTo>
                  <a:lnTo>
                    <a:pt x="474" y="436"/>
                  </a:lnTo>
                  <a:lnTo>
                    <a:pt x="472" y="430"/>
                  </a:lnTo>
                  <a:lnTo>
                    <a:pt x="470" y="428"/>
                  </a:lnTo>
                  <a:lnTo>
                    <a:pt x="468" y="428"/>
                  </a:lnTo>
                  <a:lnTo>
                    <a:pt x="466" y="428"/>
                  </a:lnTo>
                  <a:lnTo>
                    <a:pt x="464" y="428"/>
                  </a:lnTo>
                  <a:lnTo>
                    <a:pt x="464" y="432"/>
                  </a:lnTo>
                  <a:lnTo>
                    <a:pt x="466" y="432"/>
                  </a:lnTo>
                  <a:lnTo>
                    <a:pt x="468" y="434"/>
                  </a:lnTo>
                  <a:lnTo>
                    <a:pt x="470" y="436"/>
                  </a:lnTo>
                  <a:lnTo>
                    <a:pt x="470" y="438"/>
                  </a:lnTo>
                  <a:lnTo>
                    <a:pt x="472" y="442"/>
                  </a:lnTo>
                  <a:lnTo>
                    <a:pt x="472" y="444"/>
                  </a:lnTo>
                  <a:lnTo>
                    <a:pt x="474" y="444"/>
                  </a:lnTo>
                  <a:lnTo>
                    <a:pt x="480" y="450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8" y="456"/>
                  </a:lnTo>
                  <a:lnTo>
                    <a:pt x="490" y="458"/>
                  </a:lnTo>
                  <a:lnTo>
                    <a:pt x="498" y="464"/>
                  </a:lnTo>
                  <a:lnTo>
                    <a:pt x="498" y="468"/>
                  </a:lnTo>
                  <a:lnTo>
                    <a:pt x="498" y="470"/>
                  </a:lnTo>
                  <a:lnTo>
                    <a:pt x="496" y="472"/>
                  </a:lnTo>
                  <a:lnTo>
                    <a:pt x="494" y="474"/>
                  </a:lnTo>
                  <a:lnTo>
                    <a:pt x="496" y="478"/>
                  </a:lnTo>
                  <a:lnTo>
                    <a:pt x="496" y="486"/>
                  </a:lnTo>
                  <a:lnTo>
                    <a:pt x="500" y="494"/>
                  </a:lnTo>
                  <a:lnTo>
                    <a:pt x="504" y="500"/>
                  </a:lnTo>
                  <a:lnTo>
                    <a:pt x="506" y="506"/>
                  </a:lnTo>
                  <a:lnTo>
                    <a:pt x="508" y="512"/>
                  </a:lnTo>
                  <a:lnTo>
                    <a:pt x="508" y="518"/>
                  </a:lnTo>
                  <a:lnTo>
                    <a:pt x="508" y="520"/>
                  </a:lnTo>
                  <a:lnTo>
                    <a:pt x="506" y="522"/>
                  </a:lnTo>
                  <a:lnTo>
                    <a:pt x="506" y="524"/>
                  </a:lnTo>
                  <a:lnTo>
                    <a:pt x="506" y="526"/>
                  </a:lnTo>
                  <a:lnTo>
                    <a:pt x="518" y="528"/>
                  </a:lnTo>
                  <a:lnTo>
                    <a:pt x="520" y="528"/>
                  </a:lnTo>
                  <a:lnTo>
                    <a:pt x="530" y="528"/>
                  </a:lnTo>
                  <a:lnTo>
                    <a:pt x="542" y="528"/>
                  </a:lnTo>
                  <a:lnTo>
                    <a:pt x="544" y="528"/>
                  </a:lnTo>
                  <a:lnTo>
                    <a:pt x="542" y="538"/>
                  </a:lnTo>
                  <a:lnTo>
                    <a:pt x="540" y="544"/>
                  </a:lnTo>
                  <a:lnTo>
                    <a:pt x="536" y="544"/>
                  </a:lnTo>
                  <a:lnTo>
                    <a:pt x="532" y="544"/>
                  </a:lnTo>
                  <a:lnTo>
                    <a:pt x="528" y="546"/>
                  </a:lnTo>
                  <a:lnTo>
                    <a:pt x="524" y="550"/>
                  </a:lnTo>
                  <a:lnTo>
                    <a:pt x="522" y="550"/>
                  </a:lnTo>
                  <a:lnTo>
                    <a:pt x="518" y="552"/>
                  </a:lnTo>
                  <a:lnTo>
                    <a:pt x="512" y="552"/>
                  </a:lnTo>
                  <a:lnTo>
                    <a:pt x="510" y="552"/>
                  </a:lnTo>
                  <a:lnTo>
                    <a:pt x="508" y="554"/>
                  </a:lnTo>
                  <a:lnTo>
                    <a:pt x="506" y="556"/>
                  </a:lnTo>
                  <a:lnTo>
                    <a:pt x="506" y="558"/>
                  </a:lnTo>
                  <a:lnTo>
                    <a:pt x="506" y="560"/>
                  </a:lnTo>
                  <a:lnTo>
                    <a:pt x="506" y="562"/>
                  </a:lnTo>
                  <a:lnTo>
                    <a:pt x="506" y="568"/>
                  </a:lnTo>
                  <a:lnTo>
                    <a:pt x="504" y="570"/>
                  </a:lnTo>
                  <a:lnTo>
                    <a:pt x="502" y="574"/>
                  </a:lnTo>
                  <a:lnTo>
                    <a:pt x="494" y="580"/>
                  </a:lnTo>
                  <a:lnTo>
                    <a:pt x="488" y="578"/>
                  </a:lnTo>
                  <a:lnTo>
                    <a:pt x="480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76" y="588"/>
                  </a:lnTo>
                  <a:lnTo>
                    <a:pt x="470" y="592"/>
                  </a:lnTo>
                  <a:lnTo>
                    <a:pt x="468" y="592"/>
                  </a:lnTo>
                  <a:lnTo>
                    <a:pt x="466" y="592"/>
                  </a:lnTo>
                  <a:lnTo>
                    <a:pt x="464" y="590"/>
                  </a:lnTo>
                  <a:lnTo>
                    <a:pt x="456" y="594"/>
                  </a:lnTo>
                  <a:lnTo>
                    <a:pt x="454" y="596"/>
                  </a:lnTo>
                  <a:lnTo>
                    <a:pt x="448" y="598"/>
                  </a:lnTo>
                  <a:lnTo>
                    <a:pt x="446" y="600"/>
                  </a:lnTo>
                  <a:lnTo>
                    <a:pt x="446" y="602"/>
                  </a:lnTo>
                  <a:lnTo>
                    <a:pt x="446" y="604"/>
                  </a:lnTo>
                  <a:lnTo>
                    <a:pt x="446" y="606"/>
                  </a:lnTo>
                  <a:lnTo>
                    <a:pt x="446" y="608"/>
                  </a:lnTo>
                  <a:lnTo>
                    <a:pt x="444" y="608"/>
                  </a:lnTo>
                  <a:lnTo>
                    <a:pt x="444" y="610"/>
                  </a:lnTo>
                  <a:lnTo>
                    <a:pt x="442" y="610"/>
                  </a:lnTo>
                  <a:lnTo>
                    <a:pt x="440" y="610"/>
                  </a:lnTo>
                  <a:lnTo>
                    <a:pt x="438" y="610"/>
                  </a:lnTo>
                  <a:lnTo>
                    <a:pt x="436" y="610"/>
                  </a:lnTo>
                  <a:lnTo>
                    <a:pt x="434" y="614"/>
                  </a:lnTo>
                  <a:lnTo>
                    <a:pt x="434" y="616"/>
                  </a:lnTo>
                  <a:lnTo>
                    <a:pt x="432" y="618"/>
                  </a:lnTo>
                  <a:lnTo>
                    <a:pt x="432" y="620"/>
                  </a:lnTo>
                  <a:lnTo>
                    <a:pt x="430" y="622"/>
                  </a:lnTo>
                  <a:lnTo>
                    <a:pt x="428" y="624"/>
                  </a:lnTo>
                  <a:lnTo>
                    <a:pt x="426" y="624"/>
                  </a:lnTo>
                  <a:lnTo>
                    <a:pt x="424" y="624"/>
                  </a:lnTo>
                  <a:lnTo>
                    <a:pt x="422" y="622"/>
                  </a:lnTo>
                  <a:lnTo>
                    <a:pt x="422" y="620"/>
                  </a:lnTo>
                  <a:lnTo>
                    <a:pt x="424" y="618"/>
                  </a:lnTo>
                  <a:lnTo>
                    <a:pt x="426" y="616"/>
                  </a:lnTo>
                  <a:lnTo>
                    <a:pt x="426" y="614"/>
                  </a:lnTo>
                  <a:lnTo>
                    <a:pt x="426" y="612"/>
                  </a:lnTo>
                  <a:lnTo>
                    <a:pt x="426" y="610"/>
                  </a:lnTo>
                  <a:lnTo>
                    <a:pt x="424" y="608"/>
                  </a:lnTo>
                  <a:lnTo>
                    <a:pt x="422" y="606"/>
                  </a:lnTo>
                  <a:lnTo>
                    <a:pt x="418" y="606"/>
                  </a:lnTo>
                  <a:lnTo>
                    <a:pt x="414" y="606"/>
                  </a:lnTo>
                  <a:lnTo>
                    <a:pt x="406" y="610"/>
                  </a:lnTo>
                  <a:lnTo>
                    <a:pt x="404" y="612"/>
                  </a:lnTo>
                  <a:lnTo>
                    <a:pt x="404" y="614"/>
                  </a:lnTo>
                  <a:lnTo>
                    <a:pt x="402" y="616"/>
                  </a:lnTo>
                  <a:lnTo>
                    <a:pt x="400" y="616"/>
                  </a:lnTo>
                  <a:lnTo>
                    <a:pt x="394" y="620"/>
                  </a:lnTo>
                  <a:lnTo>
                    <a:pt x="384" y="620"/>
                  </a:lnTo>
                  <a:lnTo>
                    <a:pt x="382" y="620"/>
                  </a:lnTo>
                  <a:lnTo>
                    <a:pt x="382" y="618"/>
                  </a:lnTo>
                  <a:lnTo>
                    <a:pt x="358" y="598"/>
                  </a:lnTo>
                  <a:lnTo>
                    <a:pt x="352" y="594"/>
                  </a:lnTo>
                  <a:lnTo>
                    <a:pt x="352" y="592"/>
                  </a:lnTo>
                  <a:lnTo>
                    <a:pt x="352" y="590"/>
                  </a:lnTo>
                  <a:lnTo>
                    <a:pt x="350" y="582"/>
                  </a:lnTo>
                  <a:lnTo>
                    <a:pt x="346" y="568"/>
                  </a:lnTo>
                  <a:lnTo>
                    <a:pt x="340" y="550"/>
                  </a:lnTo>
                  <a:lnTo>
                    <a:pt x="338" y="544"/>
                  </a:lnTo>
                  <a:lnTo>
                    <a:pt x="336" y="544"/>
                  </a:lnTo>
                  <a:lnTo>
                    <a:pt x="336" y="540"/>
                  </a:lnTo>
                  <a:lnTo>
                    <a:pt x="334" y="538"/>
                  </a:lnTo>
                  <a:lnTo>
                    <a:pt x="334" y="536"/>
                  </a:lnTo>
                  <a:lnTo>
                    <a:pt x="336" y="534"/>
                  </a:lnTo>
                  <a:lnTo>
                    <a:pt x="336" y="530"/>
                  </a:lnTo>
                  <a:lnTo>
                    <a:pt x="334" y="528"/>
                  </a:lnTo>
                  <a:lnTo>
                    <a:pt x="332" y="528"/>
                  </a:lnTo>
                  <a:lnTo>
                    <a:pt x="330" y="528"/>
                  </a:lnTo>
                  <a:lnTo>
                    <a:pt x="328" y="526"/>
                  </a:lnTo>
                  <a:lnTo>
                    <a:pt x="320" y="516"/>
                  </a:lnTo>
                  <a:lnTo>
                    <a:pt x="316" y="514"/>
                  </a:lnTo>
                  <a:lnTo>
                    <a:pt x="314" y="510"/>
                  </a:lnTo>
                  <a:lnTo>
                    <a:pt x="312" y="508"/>
                  </a:lnTo>
                  <a:lnTo>
                    <a:pt x="304" y="506"/>
                  </a:lnTo>
                  <a:lnTo>
                    <a:pt x="302" y="508"/>
                  </a:lnTo>
                  <a:lnTo>
                    <a:pt x="300" y="504"/>
                  </a:lnTo>
                  <a:lnTo>
                    <a:pt x="310" y="494"/>
                  </a:lnTo>
                  <a:lnTo>
                    <a:pt x="318" y="488"/>
                  </a:lnTo>
                  <a:lnTo>
                    <a:pt x="322" y="484"/>
                  </a:lnTo>
                  <a:lnTo>
                    <a:pt x="326" y="480"/>
                  </a:lnTo>
                  <a:lnTo>
                    <a:pt x="330" y="476"/>
                  </a:lnTo>
                  <a:lnTo>
                    <a:pt x="328" y="474"/>
                  </a:lnTo>
                  <a:lnTo>
                    <a:pt x="326" y="472"/>
                  </a:lnTo>
                  <a:lnTo>
                    <a:pt x="324" y="472"/>
                  </a:lnTo>
                  <a:lnTo>
                    <a:pt x="324" y="470"/>
                  </a:lnTo>
                  <a:lnTo>
                    <a:pt x="322" y="464"/>
                  </a:lnTo>
                  <a:lnTo>
                    <a:pt x="322" y="462"/>
                  </a:lnTo>
                  <a:lnTo>
                    <a:pt x="320" y="458"/>
                  </a:lnTo>
                  <a:lnTo>
                    <a:pt x="318" y="456"/>
                  </a:lnTo>
                  <a:lnTo>
                    <a:pt x="316" y="458"/>
                  </a:lnTo>
                  <a:lnTo>
                    <a:pt x="314" y="458"/>
                  </a:lnTo>
                  <a:lnTo>
                    <a:pt x="312" y="456"/>
                  </a:lnTo>
                  <a:lnTo>
                    <a:pt x="310" y="454"/>
                  </a:lnTo>
                  <a:lnTo>
                    <a:pt x="308" y="448"/>
                  </a:lnTo>
                  <a:lnTo>
                    <a:pt x="308" y="444"/>
                  </a:lnTo>
                  <a:lnTo>
                    <a:pt x="306" y="440"/>
                  </a:lnTo>
                  <a:lnTo>
                    <a:pt x="306" y="438"/>
                  </a:lnTo>
                  <a:lnTo>
                    <a:pt x="304" y="434"/>
                  </a:lnTo>
                  <a:lnTo>
                    <a:pt x="302" y="430"/>
                  </a:lnTo>
                  <a:lnTo>
                    <a:pt x="302" y="428"/>
                  </a:lnTo>
                  <a:lnTo>
                    <a:pt x="302" y="426"/>
                  </a:lnTo>
                  <a:lnTo>
                    <a:pt x="304" y="424"/>
                  </a:lnTo>
                  <a:lnTo>
                    <a:pt x="298" y="412"/>
                  </a:lnTo>
                  <a:lnTo>
                    <a:pt x="300" y="402"/>
                  </a:lnTo>
                  <a:lnTo>
                    <a:pt x="302" y="400"/>
                  </a:lnTo>
                  <a:lnTo>
                    <a:pt x="302" y="398"/>
                  </a:lnTo>
                  <a:lnTo>
                    <a:pt x="302" y="390"/>
                  </a:lnTo>
                  <a:lnTo>
                    <a:pt x="302" y="386"/>
                  </a:lnTo>
                  <a:lnTo>
                    <a:pt x="300" y="384"/>
                  </a:lnTo>
                  <a:lnTo>
                    <a:pt x="300" y="382"/>
                  </a:lnTo>
                  <a:lnTo>
                    <a:pt x="300" y="372"/>
                  </a:lnTo>
                  <a:lnTo>
                    <a:pt x="302" y="368"/>
                  </a:lnTo>
                  <a:lnTo>
                    <a:pt x="304" y="366"/>
                  </a:lnTo>
                  <a:lnTo>
                    <a:pt x="306" y="366"/>
                  </a:lnTo>
                  <a:lnTo>
                    <a:pt x="308" y="364"/>
                  </a:lnTo>
                  <a:lnTo>
                    <a:pt x="310" y="362"/>
                  </a:lnTo>
                  <a:lnTo>
                    <a:pt x="312" y="360"/>
                  </a:lnTo>
                  <a:lnTo>
                    <a:pt x="310" y="358"/>
                  </a:lnTo>
                  <a:lnTo>
                    <a:pt x="310" y="356"/>
                  </a:lnTo>
                  <a:lnTo>
                    <a:pt x="310" y="354"/>
                  </a:lnTo>
                  <a:lnTo>
                    <a:pt x="310" y="352"/>
                  </a:lnTo>
                  <a:lnTo>
                    <a:pt x="310" y="350"/>
                  </a:lnTo>
                  <a:lnTo>
                    <a:pt x="312" y="346"/>
                  </a:lnTo>
                  <a:lnTo>
                    <a:pt x="312" y="344"/>
                  </a:lnTo>
                  <a:lnTo>
                    <a:pt x="316" y="340"/>
                  </a:lnTo>
                  <a:lnTo>
                    <a:pt x="320" y="338"/>
                  </a:lnTo>
                  <a:lnTo>
                    <a:pt x="322" y="336"/>
                  </a:lnTo>
                  <a:lnTo>
                    <a:pt x="322" y="334"/>
                  </a:lnTo>
                  <a:lnTo>
                    <a:pt x="322" y="332"/>
                  </a:lnTo>
                  <a:lnTo>
                    <a:pt x="320" y="330"/>
                  </a:lnTo>
                  <a:lnTo>
                    <a:pt x="318" y="330"/>
                  </a:lnTo>
                  <a:lnTo>
                    <a:pt x="318" y="328"/>
                  </a:lnTo>
                  <a:lnTo>
                    <a:pt x="318" y="326"/>
                  </a:lnTo>
                  <a:lnTo>
                    <a:pt x="320" y="324"/>
                  </a:lnTo>
                  <a:lnTo>
                    <a:pt x="318" y="324"/>
                  </a:lnTo>
                  <a:lnTo>
                    <a:pt x="316" y="322"/>
                  </a:lnTo>
                  <a:lnTo>
                    <a:pt x="314" y="320"/>
                  </a:lnTo>
                  <a:lnTo>
                    <a:pt x="310" y="320"/>
                  </a:lnTo>
                  <a:lnTo>
                    <a:pt x="306" y="318"/>
                  </a:lnTo>
                  <a:lnTo>
                    <a:pt x="300" y="318"/>
                  </a:lnTo>
                  <a:lnTo>
                    <a:pt x="296" y="322"/>
                  </a:lnTo>
                  <a:lnTo>
                    <a:pt x="292" y="324"/>
                  </a:lnTo>
                  <a:lnTo>
                    <a:pt x="290" y="324"/>
                  </a:lnTo>
                  <a:lnTo>
                    <a:pt x="288" y="324"/>
                  </a:lnTo>
                  <a:lnTo>
                    <a:pt x="286" y="324"/>
                  </a:lnTo>
                  <a:lnTo>
                    <a:pt x="284" y="324"/>
                  </a:lnTo>
                  <a:lnTo>
                    <a:pt x="282" y="324"/>
                  </a:lnTo>
                  <a:lnTo>
                    <a:pt x="280" y="324"/>
                  </a:lnTo>
                  <a:lnTo>
                    <a:pt x="278" y="324"/>
                  </a:lnTo>
                  <a:lnTo>
                    <a:pt x="274" y="326"/>
                  </a:lnTo>
                  <a:lnTo>
                    <a:pt x="270" y="326"/>
                  </a:lnTo>
                  <a:lnTo>
                    <a:pt x="268" y="324"/>
                  </a:lnTo>
                  <a:lnTo>
                    <a:pt x="266" y="324"/>
                  </a:lnTo>
                  <a:lnTo>
                    <a:pt x="266" y="326"/>
                  </a:lnTo>
                  <a:lnTo>
                    <a:pt x="262" y="326"/>
                  </a:lnTo>
                  <a:lnTo>
                    <a:pt x="256" y="328"/>
                  </a:lnTo>
                  <a:lnTo>
                    <a:pt x="254" y="326"/>
                  </a:lnTo>
                  <a:lnTo>
                    <a:pt x="252" y="326"/>
                  </a:lnTo>
                  <a:lnTo>
                    <a:pt x="250" y="326"/>
                  </a:lnTo>
                  <a:lnTo>
                    <a:pt x="246" y="326"/>
                  </a:lnTo>
                  <a:lnTo>
                    <a:pt x="236" y="324"/>
                  </a:lnTo>
                  <a:lnTo>
                    <a:pt x="234" y="324"/>
                  </a:lnTo>
                  <a:lnTo>
                    <a:pt x="232" y="324"/>
                  </a:lnTo>
                  <a:lnTo>
                    <a:pt x="230" y="326"/>
                  </a:lnTo>
                  <a:lnTo>
                    <a:pt x="228" y="326"/>
                  </a:lnTo>
                  <a:lnTo>
                    <a:pt x="226" y="330"/>
                  </a:lnTo>
                  <a:lnTo>
                    <a:pt x="224" y="330"/>
                  </a:lnTo>
                  <a:lnTo>
                    <a:pt x="222" y="330"/>
                  </a:lnTo>
                  <a:lnTo>
                    <a:pt x="220" y="328"/>
                  </a:lnTo>
                  <a:lnTo>
                    <a:pt x="220" y="326"/>
                  </a:lnTo>
                  <a:lnTo>
                    <a:pt x="216" y="326"/>
                  </a:lnTo>
                  <a:lnTo>
                    <a:pt x="214" y="328"/>
                  </a:lnTo>
                  <a:lnTo>
                    <a:pt x="198" y="308"/>
                  </a:lnTo>
                  <a:lnTo>
                    <a:pt x="176" y="282"/>
                  </a:lnTo>
                  <a:lnTo>
                    <a:pt x="174" y="282"/>
                  </a:lnTo>
                  <a:lnTo>
                    <a:pt x="170" y="282"/>
                  </a:lnTo>
                  <a:lnTo>
                    <a:pt x="170" y="284"/>
                  </a:lnTo>
                  <a:lnTo>
                    <a:pt x="168" y="284"/>
                  </a:lnTo>
                  <a:lnTo>
                    <a:pt x="166" y="284"/>
                  </a:lnTo>
                  <a:lnTo>
                    <a:pt x="164" y="284"/>
                  </a:lnTo>
                  <a:lnTo>
                    <a:pt x="162" y="282"/>
                  </a:lnTo>
                  <a:lnTo>
                    <a:pt x="158" y="280"/>
                  </a:lnTo>
                  <a:lnTo>
                    <a:pt x="154" y="27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6" y="276"/>
                  </a:lnTo>
                  <a:lnTo>
                    <a:pt x="134" y="278"/>
                  </a:lnTo>
                  <a:lnTo>
                    <a:pt x="130" y="280"/>
                  </a:lnTo>
                  <a:lnTo>
                    <a:pt x="128" y="282"/>
                  </a:lnTo>
                  <a:lnTo>
                    <a:pt x="120" y="284"/>
                  </a:lnTo>
                  <a:lnTo>
                    <a:pt x="114" y="282"/>
                  </a:lnTo>
                  <a:lnTo>
                    <a:pt x="110" y="280"/>
                  </a:lnTo>
                  <a:lnTo>
                    <a:pt x="104" y="280"/>
                  </a:lnTo>
                  <a:lnTo>
                    <a:pt x="102" y="280"/>
                  </a:lnTo>
                  <a:lnTo>
                    <a:pt x="100" y="278"/>
                  </a:lnTo>
                  <a:lnTo>
                    <a:pt x="96" y="278"/>
                  </a:lnTo>
                  <a:lnTo>
                    <a:pt x="94" y="278"/>
                  </a:lnTo>
                  <a:lnTo>
                    <a:pt x="90" y="278"/>
                  </a:lnTo>
                  <a:lnTo>
                    <a:pt x="86" y="280"/>
                  </a:lnTo>
                  <a:lnTo>
                    <a:pt x="84" y="282"/>
                  </a:lnTo>
                  <a:lnTo>
                    <a:pt x="82" y="282"/>
                  </a:lnTo>
                  <a:lnTo>
                    <a:pt x="80" y="280"/>
                  </a:lnTo>
                  <a:lnTo>
                    <a:pt x="76" y="280"/>
                  </a:lnTo>
                  <a:lnTo>
                    <a:pt x="72" y="278"/>
                  </a:lnTo>
                  <a:lnTo>
                    <a:pt x="70" y="276"/>
                  </a:lnTo>
                  <a:lnTo>
                    <a:pt x="68" y="274"/>
                  </a:lnTo>
                  <a:lnTo>
                    <a:pt x="68" y="272"/>
                  </a:lnTo>
                  <a:lnTo>
                    <a:pt x="66" y="270"/>
                  </a:lnTo>
                  <a:lnTo>
                    <a:pt x="66" y="268"/>
                  </a:lnTo>
                  <a:lnTo>
                    <a:pt x="66" y="266"/>
                  </a:lnTo>
                  <a:lnTo>
                    <a:pt x="66" y="264"/>
                  </a:lnTo>
                  <a:lnTo>
                    <a:pt x="62" y="260"/>
                  </a:lnTo>
                  <a:lnTo>
                    <a:pt x="58" y="260"/>
                  </a:lnTo>
                  <a:lnTo>
                    <a:pt x="54" y="258"/>
                  </a:lnTo>
                  <a:lnTo>
                    <a:pt x="52" y="258"/>
                  </a:lnTo>
                  <a:lnTo>
                    <a:pt x="50" y="254"/>
                  </a:lnTo>
                  <a:lnTo>
                    <a:pt x="50" y="246"/>
                  </a:lnTo>
                  <a:lnTo>
                    <a:pt x="50" y="232"/>
                  </a:lnTo>
                  <a:lnTo>
                    <a:pt x="54" y="224"/>
                  </a:lnTo>
                  <a:lnTo>
                    <a:pt x="56" y="224"/>
                  </a:lnTo>
                  <a:lnTo>
                    <a:pt x="58" y="224"/>
                  </a:lnTo>
                  <a:lnTo>
                    <a:pt x="58" y="222"/>
                  </a:lnTo>
                  <a:lnTo>
                    <a:pt x="56" y="218"/>
                  </a:lnTo>
                  <a:lnTo>
                    <a:pt x="54" y="208"/>
                  </a:lnTo>
                  <a:lnTo>
                    <a:pt x="54" y="206"/>
                  </a:lnTo>
                  <a:lnTo>
                    <a:pt x="52" y="206"/>
                  </a:lnTo>
                  <a:lnTo>
                    <a:pt x="40" y="192"/>
                  </a:lnTo>
                  <a:lnTo>
                    <a:pt x="36" y="178"/>
                  </a:lnTo>
                  <a:lnTo>
                    <a:pt x="32" y="168"/>
                  </a:lnTo>
                  <a:lnTo>
                    <a:pt x="28" y="166"/>
                  </a:lnTo>
                  <a:lnTo>
                    <a:pt x="24" y="162"/>
                  </a:lnTo>
                  <a:lnTo>
                    <a:pt x="22" y="160"/>
                  </a:lnTo>
                  <a:lnTo>
                    <a:pt x="20" y="156"/>
                  </a:lnTo>
                  <a:lnTo>
                    <a:pt x="14" y="160"/>
                  </a:lnTo>
                  <a:lnTo>
                    <a:pt x="12" y="162"/>
                  </a:lnTo>
                  <a:lnTo>
                    <a:pt x="10" y="164"/>
                  </a:lnTo>
                  <a:lnTo>
                    <a:pt x="2" y="164"/>
                  </a:lnTo>
                  <a:lnTo>
                    <a:pt x="0" y="164"/>
                  </a:lnTo>
                  <a:lnTo>
                    <a:pt x="2" y="160"/>
                  </a:lnTo>
                  <a:lnTo>
                    <a:pt x="8" y="150"/>
                  </a:lnTo>
                  <a:lnTo>
                    <a:pt x="14" y="142"/>
                  </a:lnTo>
                  <a:lnTo>
                    <a:pt x="16" y="140"/>
                  </a:lnTo>
                  <a:lnTo>
                    <a:pt x="22" y="132"/>
                  </a:lnTo>
                  <a:lnTo>
                    <a:pt x="22" y="124"/>
                  </a:lnTo>
                  <a:lnTo>
                    <a:pt x="22" y="118"/>
                  </a:lnTo>
                  <a:lnTo>
                    <a:pt x="24" y="114"/>
                  </a:lnTo>
                  <a:lnTo>
                    <a:pt x="24" y="112"/>
                  </a:lnTo>
                  <a:lnTo>
                    <a:pt x="26" y="100"/>
                  </a:lnTo>
                  <a:lnTo>
                    <a:pt x="26" y="96"/>
                  </a:lnTo>
                  <a:lnTo>
                    <a:pt x="26" y="94"/>
                  </a:lnTo>
                  <a:lnTo>
                    <a:pt x="30" y="88"/>
                  </a:lnTo>
                  <a:lnTo>
                    <a:pt x="32" y="86"/>
                  </a:lnTo>
                  <a:lnTo>
                    <a:pt x="36" y="76"/>
                  </a:lnTo>
                  <a:lnTo>
                    <a:pt x="42" y="70"/>
                  </a:lnTo>
                  <a:lnTo>
                    <a:pt x="46" y="62"/>
                  </a:lnTo>
                  <a:lnTo>
                    <a:pt x="48" y="58"/>
                  </a:lnTo>
                  <a:lnTo>
                    <a:pt x="50" y="58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64" y="50"/>
                  </a:lnTo>
                  <a:lnTo>
                    <a:pt x="70" y="38"/>
                  </a:lnTo>
                  <a:lnTo>
                    <a:pt x="76" y="28"/>
                  </a:lnTo>
                  <a:lnTo>
                    <a:pt x="86" y="26"/>
                  </a:lnTo>
                  <a:lnTo>
                    <a:pt x="90" y="26"/>
                  </a:lnTo>
                  <a:lnTo>
                    <a:pt x="94" y="24"/>
                  </a:lnTo>
                  <a:lnTo>
                    <a:pt x="102" y="22"/>
                  </a:lnTo>
                  <a:lnTo>
                    <a:pt x="106" y="20"/>
                  </a:lnTo>
                  <a:lnTo>
                    <a:pt x="110" y="18"/>
                  </a:lnTo>
                  <a:lnTo>
                    <a:pt x="110" y="22"/>
                  </a:lnTo>
                  <a:lnTo>
                    <a:pt x="108" y="24"/>
                  </a:lnTo>
                  <a:lnTo>
                    <a:pt x="104" y="26"/>
                  </a:lnTo>
                  <a:lnTo>
                    <a:pt x="102" y="26"/>
                  </a:lnTo>
                  <a:lnTo>
                    <a:pt x="100" y="26"/>
                  </a:lnTo>
                  <a:lnTo>
                    <a:pt x="94" y="28"/>
                  </a:lnTo>
                  <a:lnTo>
                    <a:pt x="90" y="28"/>
                  </a:lnTo>
                  <a:lnTo>
                    <a:pt x="86" y="28"/>
                  </a:lnTo>
                  <a:lnTo>
                    <a:pt x="84" y="30"/>
                  </a:lnTo>
                  <a:lnTo>
                    <a:pt x="78" y="32"/>
                  </a:lnTo>
                  <a:lnTo>
                    <a:pt x="76" y="34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8" y="42"/>
                  </a:lnTo>
                  <a:lnTo>
                    <a:pt x="78" y="44"/>
                  </a:lnTo>
                  <a:lnTo>
                    <a:pt x="78" y="46"/>
                  </a:lnTo>
                  <a:lnTo>
                    <a:pt x="80" y="48"/>
                  </a:lnTo>
                  <a:lnTo>
                    <a:pt x="82" y="52"/>
                  </a:lnTo>
                  <a:lnTo>
                    <a:pt x="84" y="54"/>
                  </a:lnTo>
                  <a:lnTo>
                    <a:pt x="86" y="58"/>
                  </a:lnTo>
                  <a:lnTo>
                    <a:pt x="88" y="62"/>
                  </a:lnTo>
                  <a:lnTo>
                    <a:pt x="88" y="64"/>
                  </a:lnTo>
                  <a:lnTo>
                    <a:pt x="92" y="74"/>
                  </a:lnTo>
                  <a:lnTo>
                    <a:pt x="92" y="76"/>
                  </a:lnTo>
                  <a:lnTo>
                    <a:pt x="96" y="78"/>
                  </a:lnTo>
                  <a:lnTo>
                    <a:pt x="96" y="80"/>
                  </a:lnTo>
                  <a:lnTo>
                    <a:pt x="98" y="80"/>
                  </a:lnTo>
                  <a:lnTo>
                    <a:pt x="98" y="82"/>
                  </a:lnTo>
                  <a:lnTo>
                    <a:pt x="94" y="92"/>
                  </a:lnTo>
                  <a:lnTo>
                    <a:pt x="94" y="94"/>
                  </a:lnTo>
                  <a:lnTo>
                    <a:pt x="92" y="96"/>
                  </a:lnTo>
                  <a:lnTo>
                    <a:pt x="88" y="98"/>
                  </a:lnTo>
                  <a:lnTo>
                    <a:pt x="86" y="100"/>
                  </a:lnTo>
                  <a:lnTo>
                    <a:pt x="86" y="102"/>
                  </a:lnTo>
                  <a:lnTo>
                    <a:pt x="84" y="106"/>
                  </a:lnTo>
                  <a:lnTo>
                    <a:pt x="80" y="112"/>
                  </a:lnTo>
                  <a:lnTo>
                    <a:pt x="68" y="128"/>
                  </a:lnTo>
                  <a:lnTo>
                    <a:pt x="70" y="132"/>
                  </a:lnTo>
                  <a:lnTo>
                    <a:pt x="72" y="134"/>
                  </a:lnTo>
                  <a:lnTo>
                    <a:pt x="74" y="138"/>
                  </a:lnTo>
                  <a:lnTo>
                    <a:pt x="76" y="140"/>
                  </a:lnTo>
                  <a:lnTo>
                    <a:pt x="78" y="142"/>
                  </a:lnTo>
                  <a:lnTo>
                    <a:pt x="80" y="146"/>
                  </a:lnTo>
                  <a:lnTo>
                    <a:pt x="88" y="152"/>
                  </a:lnTo>
                  <a:lnTo>
                    <a:pt x="90" y="154"/>
                  </a:lnTo>
                  <a:lnTo>
                    <a:pt x="88" y="156"/>
                  </a:lnTo>
                  <a:lnTo>
                    <a:pt x="88" y="160"/>
                  </a:lnTo>
                  <a:lnTo>
                    <a:pt x="88" y="166"/>
                  </a:lnTo>
                  <a:lnTo>
                    <a:pt x="88" y="168"/>
                  </a:lnTo>
                  <a:lnTo>
                    <a:pt x="90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100" y="170"/>
                  </a:lnTo>
                  <a:lnTo>
                    <a:pt x="102" y="170"/>
                  </a:lnTo>
                  <a:lnTo>
                    <a:pt x="112" y="166"/>
                  </a:lnTo>
                  <a:lnTo>
                    <a:pt x="116" y="164"/>
                  </a:lnTo>
                  <a:lnTo>
                    <a:pt x="116" y="162"/>
                  </a:lnTo>
                  <a:lnTo>
                    <a:pt x="118" y="160"/>
                  </a:lnTo>
                  <a:lnTo>
                    <a:pt x="120" y="158"/>
                  </a:lnTo>
                  <a:lnTo>
                    <a:pt x="122" y="158"/>
                  </a:lnTo>
                  <a:lnTo>
                    <a:pt x="124" y="156"/>
                  </a:lnTo>
                  <a:lnTo>
                    <a:pt x="126" y="154"/>
                  </a:lnTo>
                  <a:lnTo>
                    <a:pt x="124" y="152"/>
                  </a:lnTo>
                  <a:lnTo>
                    <a:pt x="124" y="144"/>
                  </a:lnTo>
                  <a:lnTo>
                    <a:pt x="124" y="142"/>
                  </a:lnTo>
                  <a:lnTo>
                    <a:pt x="124" y="140"/>
                  </a:lnTo>
                  <a:lnTo>
                    <a:pt x="126" y="134"/>
                  </a:lnTo>
                  <a:lnTo>
                    <a:pt x="124" y="126"/>
                  </a:lnTo>
                  <a:lnTo>
                    <a:pt x="122" y="124"/>
                  </a:lnTo>
                  <a:lnTo>
                    <a:pt x="120" y="122"/>
                  </a:lnTo>
                  <a:lnTo>
                    <a:pt x="114" y="110"/>
                  </a:lnTo>
                  <a:lnTo>
                    <a:pt x="112" y="108"/>
                  </a:lnTo>
                  <a:lnTo>
                    <a:pt x="108" y="104"/>
                  </a:lnTo>
                  <a:lnTo>
                    <a:pt x="104" y="98"/>
                  </a:lnTo>
                  <a:lnTo>
                    <a:pt x="104" y="94"/>
                  </a:lnTo>
                  <a:lnTo>
                    <a:pt x="100" y="90"/>
                  </a:lnTo>
                  <a:lnTo>
                    <a:pt x="100" y="88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4" y="68"/>
                  </a:lnTo>
                  <a:lnTo>
                    <a:pt x="102" y="66"/>
                  </a:lnTo>
                  <a:lnTo>
                    <a:pt x="104" y="66"/>
                  </a:lnTo>
                  <a:lnTo>
                    <a:pt x="106" y="66"/>
                  </a:lnTo>
                  <a:lnTo>
                    <a:pt x="108" y="66"/>
                  </a:lnTo>
                  <a:lnTo>
                    <a:pt x="110" y="66"/>
                  </a:lnTo>
                  <a:lnTo>
                    <a:pt x="114" y="66"/>
                  </a:lnTo>
                  <a:lnTo>
                    <a:pt x="120" y="62"/>
                  </a:lnTo>
                  <a:lnTo>
                    <a:pt x="124" y="60"/>
                  </a:lnTo>
                  <a:lnTo>
                    <a:pt x="126" y="58"/>
                  </a:lnTo>
                  <a:lnTo>
                    <a:pt x="128" y="58"/>
                  </a:lnTo>
                  <a:lnTo>
                    <a:pt x="132" y="56"/>
                  </a:lnTo>
                  <a:lnTo>
                    <a:pt x="134" y="54"/>
                  </a:lnTo>
                  <a:lnTo>
                    <a:pt x="136" y="54"/>
                  </a:lnTo>
                  <a:lnTo>
                    <a:pt x="138" y="52"/>
                  </a:lnTo>
                  <a:lnTo>
                    <a:pt x="142" y="52"/>
                  </a:lnTo>
                  <a:lnTo>
                    <a:pt x="146" y="52"/>
                  </a:lnTo>
                  <a:lnTo>
                    <a:pt x="148" y="52"/>
                  </a:lnTo>
                  <a:lnTo>
                    <a:pt x="152" y="50"/>
                  </a:lnTo>
                  <a:lnTo>
                    <a:pt x="154" y="50"/>
                  </a:lnTo>
                  <a:lnTo>
                    <a:pt x="156" y="50"/>
                  </a:lnTo>
                  <a:lnTo>
                    <a:pt x="158" y="50"/>
                  </a:lnTo>
                  <a:lnTo>
                    <a:pt x="158" y="48"/>
                  </a:lnTo>
                  <a:lnTo>
                    <a:pt x="164" y="46"/>
                  </a:lnTo>
                  <a:lnTo>
                    <a:pt x="168" y="46"/>
                  </a:lnTo>
                  <a:lnTo>
                    <a:pt x="174" y="42"/>
                  </a:lnTo>
                  <a:lnTo>
                    <a:pt x="176" y="40"/>
                  </a:lnTo>
                  <a:lnTo>
                    <a:pt x="180" y="40"/>
                  </a:lnTo>
                  <a:lnTo>
                    <a:pt x="180" y="38"/>
                  </a:lnTo>
                  <a:lnTo>
                    <a:pt x="178" y="36"/>
                  </a:lnTo>
                  <a:lnTo>
                    <a:pt x="182" y="36"/>
                  </a:lnTo>
                  <a:lnTo>
                    <a:pt x="188" y="40"/>
                  </a:lnTo>
                  <a:lnTo>
                    <a:pt x="188" y="42"/>
                  </a:lnTo>
                  <a:lnTo>
                    <a:pt x="190" y="42"/>
                  </a:lnTo>
                  <a:lnTo>
                    <a:pt x="192" y="42"/>
                  </a:lnTo>
                  <a:lnTo>
                    <a:pt x="194" y="36"/>
                  </a:lnTo>
                  <a:lnTo>
                    <a:pt x="194" y="32"/>
                  </a:lnTo>
                  <a:lnTo>
                    <a:pt x="194" y="30"/>
                  </a:lnTo>
                  <a:lnTo>
                    <a:pt x="192" y="28"/>
                  </a:lnTo>
                  <a:lnTo>
                    <a:pt x="190" y="28"/>
                  </a:lnTo>
                  <a:lnTo>
                    <a:pt x="180" y="30"/>
                  </a:lnTo>
                  <a:lnTo>
                    <a:pt x="172" y="32"/>
                  </a:lnTo>
                  <a:lnTo>
                    <a:pt x="170" y="32"/>
                  </a:lnTo>
                  <a:lnTo>
                    <a:pt x="168" y="30"/>
                  </a:lnTo>
                  <a:lnTo>
                    <a:pt x="170" y="30"/>
                  </a:lnTo>
                  <a:lnTo>
                    <a:pt x="168" y="22"/>
                  </a:lnTo>
                  <a:lnTo>
                    <a:pt x="166" y="18"/>
                  </a:lnTo>
                  <a:lnTo>
                    <a:pt x="166" y="16"/>
                  </a:lnTo>
                  <a:lnTo>
                    <a:pt x="166" y="14"/>
                  </a:lnTo>
                  <a:lnTo>
                    <a:pt x="168" y="12"/>
                  </a:lnTo>
                  <a:lnTo>
                    <a:pt x="170" y="6"/>
                  </a:lnTo>
                  <a:lnTo>
                    <a:pt x="172" y="4"/>
                  </a:lnTo>
                  <a:lnTo>
                    <a:pt x="178" y="0"/>
                  </a:lnTo>
                  <a:lnTo>
                    <a:pt x="180" y="0"/>
                  </a:lnTo>
                  <a:lnTo>
                    <a:pt x="184" y="0"/>
                  </a:lnTo>
                  <a:lnTo>
                    <a:pt x="186" y="2"/>
                  </a:lnTo>
                  <a:lnTo>
                    <a:pt x="190" y="6"/>
                  </a:lnTo>
                  <a:lnTo>
                    <a:pt x="190" y="8"/>
                  </a:lnTo>
                  <a:lnTo>
                    <a:pt x="192" y="12"/>
                  </a:lnTo>
                  <a:lnTo>
                    <a:pt x="192" y="14"/>
                  </a:lnTo>
                  <a:lnTo>
                    <a:pt x="192" y="16"/>
                  </a:lnTo>
                  <a:lnTo>
                    <a:pt x="192" y="18"/>
                  </a:lnTo>
                  <a:lnTo>
                    <a:pt x="192" y="22"/>
                  </a:lnTo>
                  <a:lnTo>
                    <a:pt x="194" y="26"/>
                  </a:lnTo>
                  <a:lnTo>
                    <a:pt x="194" y="28"/>
                  </a:lnTo>
                  <a:lnTo>
                    <a:pt x="196" y="32"/>
                  </a:lnTo>
                  <a:lnTo>
                    <a:pt x="196" y="34"/>
                  </a:lnTo>
                  <a:lnTo>
                    <a:pt x="198" y="36"/>
                  </a:lnTo>
                  <a:lnTo>
                    <a:pt x="202" y="38"/>
                  </a:lnTo>
                  <a:lnTo>
                    <a:pt x="202" y="40"/>
                  </a:lnTo>
                  <a:lnTo>
                    <a:pt x="204" y="38"/>
                  </a:lnTo>
                  <a:lnTo>
                    <a:pt x="206" y="38"/>
                  </a:lnTo>
                  <a:lnTo>
                    <a:pt x="206" y="36"/>
                  </a:lnTo>
                  <a:lnTo>
                    <a:pt x="208" y="36"/>
                  </a:lnTo>
                  <a:lnTo>
                    <a:pt x="212" y="36"/>
                  </a:lnTo>
                  <a:lnTo>
                    <a:pt x="214" y="38"/>
                  </a:lnTo>
                  <a:lnTo>
                    <a:pt x="216" y="38"/>
                  </a:lnTo>
                  <a:lnTo>
                    <a:pt x="218" y="36"/>
                  </a:lnTo>
                  <a:lnTo>
                    <a:pt x="220" y="34"/>
                  </a:lnTo>
                  <a:lnTo>
                    <a:pt x="230" y="38"/>
                  </a:lnTo>
                  <a:lnTo>
                    <a:pt x="238" y="40"/>
                  </a:lnTo>
                  <a:lnTo>
                    <a:pt x="244" y="40"/>
                  </a:lnTo>
                  <a:lnTo>
                    <a:pt x="252" y="46"/>
                  </a:lnTo>
                  <a:lnTo>
                    <a:pt x="256" y="48"/>
                  </a:lnTo>
                  <a:lnTo>
                    <a:pt x="258" y="50"/>
                  </a:lnTo>
                  <a:lnTo>
                    <a:pt x="260" y="50"/>
                  </a:lnTo>
                  <a:lnTo>
                    <a:pt x="266" y="54"/>
                  </a:lnTo>
                  <a:lnTo>
                    <a:pt x="268" y="56"/>
                  </a:lnTo>
                  <a:lnTo>
                    <a:pt x="270" y="62"/>
                  </a:lnTo>
                  <a:lnTo>
                    <a:pt x="276" y="70"/>
                  </a:lnTo>
                  <a:lnTo>
                    <a:pt x="276" y="72"/>
                  </a:lnTo>
                  <a:lnTo>
                    <a:pt x="272" y="72"/>
                  </a:lnTo>
                  <a:lnTo>
                    <a:pt x="270" y="72"/>
                  </a:lnTo>
                  <a:lnTo>
                    <a:pt x="270" y="74"/>
                  </a:lnTo>
                  <a:lnTo>
                    <a:pt x="270" y="76"/>
                  </a:lnTo>
                  <a:lnTo>
                    <a:pt x="274" y="84"/>
                  </a:lnTo>
                  <a:lnTo>
                    <a:pt x="276" y="86"/>
                  </a:lnTo>
                  <a:lnTo>
                    <a:pt x="280" y="90"/>
                  </a:lnTo>
                  <a:lnTo>
                    <a:pt x="284" y="92"/>
                  </a:lnTo>
                  <a:lnTo>
                    <a:pt x="286" y="92"/>
                  </a:lnTo>
                  <a:lnTo>
                    <a:pt x="288" y="92"/>
                  </a:lnTo>
                  <a:lnTo>
                    <a:pt x="294" y="92"/>
                  </a:lnTo>
                  <a:lnTo>
                    <a:pt x="296" y="92"/>
                  </a:lnTo>
                  <a:lnTo>
                    <a:pt x="298" y="92"/>
                  </a:lnTo>
                  <a:lnTo>
                    <a:pt x="300" y="92"/>
                  </a:lnTo>
                  <a:lnTo>
                    <a:pt x="314" y="88"/>
                  </a:lnTo>
                  <a:lnTo>
                    <a:pt x="318" y="88"/>
                  </a:lnTo>
                  <a:lnTo>
                    <a:pt x="322" y="88"/>
                  </a:lnTo>
                  <a:lnTo>
                    <a:pt x="328" y="88"/>
                  </a:lnTo>
                  <a:lnTo>
                    <a:pt x="336" y="86"/>
                  </a:lnTo>
                  <a:lnTo>
                    <a:pt x="342" y="86"/>
                  </a:lnTo>
                  <a:lnTo>
                    <a:pt x="368" y="84"/>
                  </a:lnTo>
                  <a:lnTo>
                    <a:pt x="370" y="84"/>
                  </a:lnTo>
                  <a:lnTo>
                    <a:pt x="374" y="84"/>
                  </a:lnTo>
                  <a:lnTo>
                    <a:pt x="376" y="84"/>
                  </a:lnTo>
                  <a:lnTo>
                    <a:pt x="378" y="86"/>
                  </a:lnTo>
                  <a:lnTo>
                    <a:pt x="378" y="84"/>
                  </a:lnTo>
                  <a:lnTo>
                    <a:pt x="380" y="82"/>
                  </a:lnTo>
                  <a:lnTo>
                    <a:pt x="384" y="84"/>
                  </a:lnTo>
                  <a:lnTo>
                    <a:pt x="392" y="86"/>
                  </a:lnTo>
                  <a:lnTo>
                    <a:pt x="390" y="88"/>
                  </a:lnTo>
                  <a:lnTo>
                    <a:pt x="390" y="90"/>
                  </a:lnTo>
                  <a:lnTo>
                    <a:pt x="390" y="92"/>
                  </a:lnTo>
                  <a:lnTo>
                    <a:pt x="392" y="94"/>
                  </a:lnTo>
                  <a:lnTo>
                    <a:pt x="398" y="98"/>
                  </a:lnTo>
                  <a:lnTo>
                    <a:pt x="400" y="102"/>
                  </a:lnTo>
                  <a:lnTo>
                    <a:pt x="406" y="106"/>
                  </a:lnTo>
                  <a:lnTo>
                    <a:pt x="408" y="106"/>
                  </a:lnTo>
                  <a:lnTo>
                    <a:pt x="412" y="106"/>
                  </a:lnTo>
                  <a:lnTo>
                    <a:pt x="420" y="108"/>
                  </a:lnTo>
                  <a:lnTo>
                    <a:pt x="428" y="110"/>
                  </a:lnTo>
                  <a:lnTo>
                    <a:pt x="434" y="110"/>
                  </a:lnTo>
                  <a:lnTo>
                    <a:pt x="446" y="114"/>
                  </a:lnTo>
                  <a:lnTo>
                    <a:pt x="460" y="112"/>
                  </a:lnTo>
                  <a:lnTo>
                    <a:pt x="462" y="112"/>
                  </a:lnTo>
                  <a:lnTo>
                    <a:pt x="464" y="110"/>
                  </a:lnTo>
                  <a:lnTo>
                    <a:pt x="466" y="106"/>
                  </a:lnTo>
                  <a:lnTo>
                    <a:pt x="470" y="104"/>
                  </a:lnTo>
                  <a:lnTo>
                    <a:pt x="472" y="104"/>
                  </a:lnTo>
                  <a:lnTo>
                    <a:pt x="474" y="104"/>
                  </a:lnTo>
                  <a:lnTo>
                    <a:pt x="478" y="104"/>
                  </a:lnTo>
                  <a:lnTo>
                    <a:pt x="484" y="100"/>
                  </a:lnTo>
                  <a:lnTo>
                    <a:pt x="482" y="98"/>
                  </a:lnTo>
                  <a:lnTo>
                    <a:pt x="482" y="96"/>
                  </a:lnTo>
                  <a:lnTo>
                    <a:pt x="484" y="96"/>
                  </a:lnTo>
                  <a:lnTo>
                    <a:pt x="492" y="92"/>
                  </a:lnTo>
                  <a:lnTo>
                    <a:pt x="494" y="92"/>
                  </a:lnTo>
                  <a:lnTo>
                    <a:pt x="498" y="92"/>
                  </a:lnTo>
                  <a:lnTo>
                    <a:pt x="500" y="92"/>
                  </a:lnTo>
                  <a:lnTo>
                    <a:pt x="510" y="92"/>
                  </a:lnTo>
                  <a:lnTo>
                    <a:pt x="514" y="92"/>
                  </a:lnTo>
                  <a:lnTo>
                    <a:pt x="518" y="90"/>
                  </a:lnTo>
                  <a:lnTo>
                    <a:pt x="520" y="90"/>
                  </a:lnTo>
                  <a:lnTo>
                    <a:pt x="514" y="88"/>
                  </a:lnTo>
                  <a:lnTo>
                    <a:pt x="512" y="86"/>
                  </a:lnTo>
                  <a:lnTo>
                    <a:pt x="506" y="86"/>
                  </a:lnTo>
                  <a:lnTo>
                    <a:pt x="494" y="86"/>
                  </a:lnTo>
                  <a:lnTo>
                    <a:pt x="492" y="86"/>
                  </a:lnTo>
                  <a:lnTo>
                    <a:pt x="492" y="88"/>
                  </a:lnTo>
                  <a:lnTo>
                    <a:pt x="490" y="88"/>
                  </a:lnTo>
                  <a:lnTo>
                    <a:pt x="488" y="82"/>
                  </a:lnTo>
                  <a:lnTo>
                    <a:pt x="490" y="82"/>
                  </a:lnTo>
                  <a:lnTo>
                    <a:pt x="494" y="84"/>
                  </a:lnTo>
                  <a:lnTo>
                    <a:pt x="504" y="82"/>
                  </a:lnTo>
                  <a:lnTo>
                    <a:pt x="510" y="82"/>
                  </a:lnTo>
                  <a:lnTo>
                    <a:pt x="520" y="82"/>
                  </a:lnTo>
                  <a:lnTo>
                    <a:pt x="528" y="82"/>
                  </a:lnTo>
                  <a:lnTo>
                    <a:pt x="530" y="82"/>
                  </a:lnTo>
                  <a:lnTo>
                    <a:pt x="538" y="80"/>
                  </a:lnTo>
                  <a:lnTo>
                    <a:pt x="542" y="80"/>
                  </a:lnTo>
                  <a:lnTo>
                    <a:pt x="544" y="80"/>
                  </a:lnTo>
                  <a:lnTo>
                    <a:pt x="544" y="78"/>
                  </a:lnTo>
                  <a:lnTo>
                    <a:pt x="546" y="78"/>
                  </a:lnTo>
                  <a:lnTo>
                    <a:pt x="556" y="78"/>
                  </a:lnTo>
                  <a:lnTo>
                    <a:pt x="558" y="78"/>
                  </a:lnTo>
                  <a:lnTo>
                    <a:pt x="560" y="78"/>
                  </a:lnTo>
                  <a:lnTo>
                    <a:pt x="562" y="78"/>
                  </a:lnTo>
                  <a:lnTo>
                    <a:pt x="568" y="76"/>
                  </a:lnTo>
                  <a:lnTo>
                    <a:pt x="570" y="76"/>
                  </a:lnTo>
                  <a:lnTo>
                    <a:pt x="572" y="76"/>
                  </a:lnTo>
                  <a:lnTo>
                    <a:pt x="582" y="76"/>
                  </a:lnTo>
                  <a:lnTo>
                    <a:pt x="584" y="76"/>
                  </a:lnTo>
                  <a:lnTo>
                    <a:pt x="590" y="78"/>
                  </a:lnTo>
                  <a:lnTo>
                    <a:pt x="594" y="78"/>
                  </a:lnTo>
                  <a:lnTo>
                    <a:pt x="600" y="78"/>
                  </a:lnTo>
                  <a:lnTo>
                    <a:pt x="602" y="78"/>
                  </a:lnTo>
                  <a:lnTo>
                    <a:pt x="610" y="76"/>
                  </a:lnTo>
                  <a:lnTo>
                    <a:pt x="616" y="76"/>
                  </a:lnTo>
                  <a:lnTo>
                    <a:pt x="616" y="78"/>
                  </a:lnTo>
                  <a:lnTo>
                    <a:pt x="614" y="80"/>
                  </a:lnTo>
                  <a:lnTo>
                    <a:pt x="612" y="80"/>
                  </a:lnTo>
                  <a:lnTo>
                    <a:pt x="608" y="82"/>
                  </a:lnTo>
                  <a:lnTo>
                    <a:pt x="606" y="82"/>
                  </a:lnTo>
                  <a:lnTo>
                    <a:pt x="604" y="82"/>
                  </a:lnTo>
                  <a:lnTo>
                    <a:pt x="602" y="82"/>
                  </a:lnTo>
                  <a:lnTo>
                    <a:pt x="600" y="82"/>
                  </a:lnTo>
                  <a:lnTo>
                    <a:pt x="596" y="82"/>
                  </a:lnTo>
                  <a:lnTo>
                    <a:pt x="596" y="84"/>
                  </a:lnTo>
                  <a:lnTo>
                    <a:pt x="594" y="84"/>
                  </a:lnTo>
                  <a:lnTo>
                    <a:pt x="594" y="86"/>
                  </a:lnTo>
                  <a:lnTo>
                    <a:pt x="592" y="86"/>
                  </a:lnTo>
                  <a:lnTo>
                    <a:pt x="586" y="86"/>
                  </a:lnTo>
                  <a:lnTo>
                    <a:pt x="582" y="86"/>
                  </a:lnTo>
                  <a:lnTo>
                    <a:pt x="580" y="86"/>
                  </a:lnTo>
                  <a:lnTo>
                    <a:pt x="576" y="86"/>
                  </a:lnTo>
                  <a:lnTo>
                    <a:pt x="574" y="86"/>
                  </a:lnTo>
                  <a:lnTo>
                    <a:pt x="566" y="86"/>
                  </a:lnTo>
                  <a:lnTo>
                    <a:pt x="562" y="86"/>
                  </a:lnTo>
                  <a:lnTo>
                    <a:pt x="556" y="92"/>
                  </a:lnTo>
                  <a:lnTo>
                    <a:pt x="558" y="90"/>
                  </a:lnTo>
                  <a:lnTo>
                    <a:pt x="560" y="90"/>
                  </a:lnTo>
                  <a:lnTo>
                    <a:pt x="562" y="88"/>
                  </a:lnTo>
                  <a:lnTo>
                    <a:pt x="564" y="88"/>
                  </a:lnTo>
                  <a:lnTo>
                    <a:pt x="566" y="92"/>
                  </a:lnTo>
                  <a:lnTo>
                    <a:pt x="564" y="94"/>
                  </a:lnTo>
                  <a:lnTo>
                    <a:pt x="562" y="94"/>
                  </a:lnTo>
                  <a:lnTo>
                    <a:pt x="560" y="94"/>
                  </a:lnTo>
                  <a:lnTo>
                    <a:pt x="558" y="94"/>
                  </a:lnTo>
                  <a:lnTo>
                    <a:pt x="556" y="94"/>
                  </a:lnTo>
                  <a:lnTo>
                    <a:pt x="558" y="102"/>
                  </a:lnTo>
                  <a:lnTo>
                    <a:pt x="560" y="102"/>
                  </a:lnTo>
                  <a:lnTo>
                    <a:pt x="562" y="100"/>
                  </a:lnTo>
                  <a:lnTo>
                    <a:pt x="560" y="98"/>
                  </a:lnTo>
                  <a:lnTo>
                    <a:pt x="560" y="96"/>
                  </a:lnTo>
                  <a:lnTo>
                    <a:pt x="560" y="94"/>
                  </a:lnTo>
                  <a:lnTo>
                    <a:pt x="562" y="94"/>
                  </a:lnTo>
                  <a:lnTo>
                    <a:pt x="562" y="96"/>
                  </a:lnTo>
                  <a:lnTo>
                    <a:pt x="564" y="96"/>
                  </a:lnTo>
                  <a:lnTo>
                    <a:pt x="566" y="94"/>
                  </a:lnTo>
                  <a:lnTo>
                    <a:pt x="568" y="94"/>
                  </a:lnTo>
                  <a:lnTo>
                    <a:pt x="570" y="96"/>
                  </a:lnTo>
                  <a:lnTo>
                    <a:pt x="574" y="100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2" y="112"/>
                  </a:lnTo>
                  <a:lnTo>
                    <a:pt x="568" y="112"/>
                  </a:lnTo>
                  <a:lnTo>
                    <a:pt x="566" y="114"/>
                  </a:lnTo>
                  <a:lnTo>
                    <a:pt x="562" y="112"/>
                  </a:lnTo>
                  <a:lnTo>
                    <a:pt x="562" y="110"/>
                  </a:lnTo>
                  <a:lnTo>
                    <a:pt x="560" y="110"/>
                  </a:lnTo>
                  <a:lnTo>
                    <a:pt x="556" y="110"/>
                  </a:lnTo>
                  <a:lnTo>
                    <a:pt x="558" y="112"/>
                  </a:lnTo>
                  <a:lnTo>
                    <a:pt x="560" y="112"/>
                  </a:lnTo>
                  <a:lnTo>
                    <a:pt x="562" y="112"/>
                  </a:lnTo>
                  <a:lnTo>
                    <a:pt x="564" y="114"/>
                  </a:lnTo>
                  <a:lnTo>
                    <a:pt x="568" y="116"/>
                  </a:lnTo>
                  <a:lnTo>
                    <a:pt x="574" y="114"/>
                  </a:lnTo>
                  <a:lnTo>
                    <a:pt x="576" y="112"/>
                  </a:lnTo>
                  <a:lnTo>
                    <a:pt x="578" y="110"/>
                  </a:lnTo>
                  <a:lnTo>
                    <a:pt x="578" y="108"/>
                  </a:lnTo>
                  <a:lnTo>
                    <a:pt x="578" y="106"/>
                  </a:lnTo>
                  <a:lnTo>
                    <a:pt x="578" y="104"/>
                  </a:lnTo>
                  <a:lnTo>
                    <a:pt x="580" y="104"/>
                  </a:lnTo>
                  <a:lnTo>
                    <a:pt x="582" y="106"/>
                  </a:lnTo>
                  <a:lnTo>
                    <a:pt x="584" y="106"/>
                  </a:lnTo>
                  <a:lnTo>
                    <a:pt x="584" y="108"/>
                  </a:lnTo>
                  <a:lnTo>
                    <a:pt x="586" y="110"/>
                  </a:lnTo>
                  <a:lnTo>
                    <a:pt x="588" y="118"/>
                  </a:lnTo>
                  <a:lnTo>
                    <a:pt x="590" y="122"/>
                  </a:lnTo>
                  <a:lnTo>
                    <a:pt x="594" y="128"/>
                  </a:lnTo>
                  <a:lnTo>
                    <a:pt x="594" y="130"/>
                  </a:lnTo>
                  <a:lnTo>
                    <a:pt x="594" y="132"/>
                  </a:lnTo>
                  <a:lnTo>
                    <a:pt x="596" y="130"/>
                  </a:lnTo>
                  <a:lnTo>
                    <a:pt x="596" y="128"/>
                  </a:lnTo>
                  <a:lnTo>
                    <a:pt x="598" y="126"/>
                  </a:lnTo>
                  <a:lnTo>
                    <a:pt x="598" y="124"/>
                  </a:lnTo>
                  <a:lnTo>
                    <a:pt x="598" y="122"/>
                  </a:lnTo>
                  <a:lnTo>
                    <a:pt x="598" y="120"/>
                  </a:lnTo>
                  <a:lnTo>
                    <a:pt x="598" y="118"/>
                  </a:lnTo>
                  <a:lnTo>
                    <a:pt x="600" y="120"/>
                  </a:lnTo>
                  <a:lnTo>
                    <a:pt x="600" y="124"/>
                  </a:lnTo>
                  <a:lnTo>
                    <a:pt x="602" y="132"/>
                  </a:lnTo>
                  <a:lnTo>
                    <a:pt x="600" y="136"/>
                  </a:lnTo>
                  <a:lnTo>
                    <a:pt x="602" y="134"/>
                  </a:lnTo>
                  <a:lnTo>
                    <a:pt x="602" y="132"/>
                  </a:lnTo>
                  <a:lnTo>
                    <a:pt x="604" y="128"/>
                  </a:lnTo>
                  <a:lnTo>
                    <a:pt x="604" y="124"/>
                  </a:lnTo>
                  <a:lnTo>
                    <a:pt x="610" y="124"/>
                  </a:lnTo>
                  <a:lnTo>
                    <a:pt x="608" y="122"/>
                  </a:lnTo>
                  <a:lnTo>
                    <a:pt x="604" y="120"/>
                  </a:lnTo>
                  <a:lnTo>
                    <a:pt x="602" y="118"/>
                  </a:lnTo>
                  <a:lnTo>
                    <a:pt x="600" y="120"/>
                  </a:lnTo>
                  <a:lnTo>
                    <a:pt x="598" y="118"/>
                  </a:lnTo>
                  <a:lnTo>
                    <a:pt x="600" y="116"/>
                  </a:lnTo>
                  <a:lnTo>
                    <a:pt x="600" y="114"/>
                  </a:lnTo>
                  <a:lnTo>
                    <a:pt x="606" y="116"/>
                  </a:lnTo>
                  <a:lnTo>
                    <a:pt x="608" y="116"/>
                  </a:lnTo>
                  <a:lnTo>
                    <a:pt x="614" y="120"/>
                  </a:lnTo>
                  <a:lnTo>
                    <a:pt x="620" y="128"/>
                  </a:lnTo>
                  <a:lnTo>
                    <a:pt x="626" y="138"/>
                  </a:lnTo>
                  <a:lnTo>
                    <a:pt x="626" y="136"/>
                  </a:lnTo>
                  <a:lnTo>
                    <a:pt x="626" y="134"/>
                  </a:lnTo>
                  <a:lnTo>
                    <a:pt x="626" y="132"/>
                  </a:lnTo>
                  <a:lnTo>
                    <a:pt x="624" y="128"/>
                  </a:lnTo>
                  <a:lnTo>
                    <a:pt x="622" y="128"/>
                  </a:lnTo>
                  <a:lnTo>
                    <a:pt x="622" y="126"/>
                  </a:lnTo>
                  <a:lnTo>
                    <a:pt x="622" y="124"/>
                  </a:lnTo>
                  <a:lnTo>
                    <a:pt x="626" y="126"/>
                  </a:lnTo>
                  <a:lnTo>
                    <a:pt x="628" y="126"/>
                  </a:lnTo>
                  <a:lnTo>
                    <a:pt x="630" y="126"/>
                  </a:lnTo>
                  <a:lnTo>
                    <a:pt x="632" y="126"/>
                  </a:lnTo>
                  <a:lnTo>
                    <a:pt x="634" y="126"/>
                  </a:lnTo>
                  <a:lnTo>
                    <a:pt x="634" y="124"/>
                  </a:lnTo>
                  <a:lnTo>
                    <a:pt x="632" y="124"/>
                  </a:lnTo>
                  <a:lnTo>
                    <a:pt x="630" y="122"/>
                  </a:lnTo>
                  <a:lnTo>
                    <a:pt x="632" y="120"/>
                  </a:lnTo>
                  <a:lnTo>
                    <a:pt x="634" y="122"/>
                  </a:lnTo>
                  <a:lnTo>
                    <a:pt x="636" y="122"/>
                  </a:lnTo>
                  <a:lnTo>
                    <a:pt x="638" y="124"/>
                  </a:lnTo>
                  <a:lnTo>
                    <a:pt x="640" y="126"/>
                  </a:lnTo>
                  <a:lnTo>
                    <a:pt x="642" y="130"/>
                  </a:lnTo>
                  <a:lnTo>
                    <a:pt x="642" y="132"/>
                  </a:lnTo>
                  <a:lnTo>
                    <a:pt x="644" y="132"/>
                  </a:lnTo>
                  <a:lnTo>
                    <a:pt x="652" y="138"/>
                  </a:lnTo>
                  <a:lnTo>
                    <a:pt x="654" y="138"/>
                  </a:lnTo>
                  <a:lnTo>
                    <a:pt x="660" y="138"/>
                  </a:lnTo>
                  <a:lnTo>
                    <a:pt x="662" y="138"/>
                  </a:lnTo>
                  <a:lnTo>
                    <a:pt x="666" y="140"/>
                  </a:lnTo>
                  <a:lnTo>
                    <a:pt x="668" y="140"/>
                  </a:lnTo>
                  <a:lnTo>
                    <a:pt x="674" y="144"/>
                  </a:lnTo>
                  <a:lnTo>
                    <a:pt x="676" y="148"/>
                  </a:lnTo>
                  <a:lnTo>
                    <a:pt x="676" y="152"/>
                  </a:lnTo>
                  <a:lnTo>
                    <a:pt x="674" y="154"/>
                  </a:lnTo>
                  <a:lnTo>
                    <a:pt x="674" y="156"/>
                  </a:lnTo>
                  <a:lnTo>
                    <a:pt x="670" y="156"/>
                  </a:lnTo>
                  <a:lnTo>
                    <a:pt x="666" y="160"/>
                  </a:lnTo>
                  <a:lnTo>
                    <a:pt x="662" y="162"/>
                  </a:lnTo>
                  <a:lnTo>
                    <a:pt x="660" y="164"/>
                  </a:lnTo>
                  <a:lnTo>
                    <a:pt x="660" y="166"/>
                  </a:lnTo>
                  <a:lnTo>
                    <a:pt x="662" y="166"/>
                  </a:lnTo>
                  <a:lnTo>
                    <a:pt x="662" y="164"/>
                  </a:lnTo>
                  <a:lnTo>
                    <a:pt x="666" y="160"/>
                  </a:lnTo>
                  <a:lnTo>
                    <a:pt x="668" y="160"/>
                  </a:lnTo>
                  <a:lnTo>
                    <a:pt x="664" y="168"/>
                  </a:lnTo>
                  <a:lnTo>
                    <a:pt x="662" y="170"/>
                  </a:lnTo>
                  <a:lnTo>
                    <a:pt x="660" y="172"/>
                  </a:lnTo>
                  <a:lnTo>
                    <a:pt x="658" y="176"/>
                  </a:lnTo>
                  <a:lnTo>
                    <a:pt x="656" y="184"/>
                  </a:lnTo>
                  <a:lnTo>
                    <a:pt x="656" y="186"/>
                  </a:lnTo>
                  <a:lnTo>
                    <a:pt x="656" y="190"/>
                  </a:lnTo>
                  <a:lnTo>
                    <a:pt x="654" y="192"/>
                  </a:lnTo>
                  <a:lnTo>
                    <a:pt x="652" y="192"/>
                  </a:lnTo>
                  <a:lnTo>
                    <a:pt x="648" y="192"/>
                  </a:lnTo>
                  <a:lnTo>
                    <a:pt x="642" y="192"/>
                  </a:lnTo>
                  <a:lnTo>
                    <a:pt x="638" y="192"/>
                  </a:lnTo>
                  <a:lnTo>
                    <a:pt x="636" y="192"/>
                  </a:lnTo>
                  <a:lnTo>
                    <a:pt x="634" y="190"/>
                  </a:lnTo>
                  <a:lnTo>
                    <a:pt x="634" y="194"/>
                  </a:lnTo>
                  <a:lnTo>
                    <a:pt x="640" y="196"/>
                  </a:lnTo>
                  <a:lnTo>
                    <a:pt x="644" y="198"/>
                  </a:lnTo>
                  <a:lnTo>
                    <a:pt x="648" y="200"/>
                  </a:lnTo>
                  <a:lnTo>
                    <a:pt x="654" y="198"/>
                  </a:lnTo>
                  <a:lnTo>
                    <a:pt x="656" y="198"/>
                  </a:lnTo>
                  <a:lnTo>
                    <a:pt x="662" y="198"/>
                  </a:lnTo>
                  <a:lnTo>
                    <a:pt x="662" y="200"/>
                  </a:lnTo>
                  <a:lnTo>
                    <a:pt x="662" y="202"/>
                  </a:lnTo>
                  <a:lnTo>
                    <a:pt x="666" y="198"/>
                  </a:lnTo>
                  <a:lnTo>
                    <a:pt x="666" y="196"/>
                  </a:lnTo>
                  <a:lnTo>
                    <a:pt x="668" y="194"/>
                  </a:lnTo>
                  <a:lnTo>
                    <a:pt x="672" y="192"/>
                  </a:lnTo>
                  <a:lnTo>
                    <a:pt x="682" y="190"/>
                  </a:lnTo>
                  <a:lnTo>
                    <a:pt x="684" y="192"/>
                  </a:lnTo>
                  <a:lnTo>
                    <a:pt x="686" y="194"/>
                  </a:lnTo>
                  <a:lnTo>
                    <a:pt x="694" y="196"/>
                  </a:lnTo>
                  <a:lnTo>
                    <a:pt x="696" y="192"/>
                  </a:lnTo>
                  <a:lnTo>
                    <a:pt x="698" y="190"/>
                  </a:lnTo>
                  <a:lnTo>
                    <a:pt x="708" y="190"/>
                  </a:lnTo>
                  <a:lnTo>
                    <a:pt x="712" y="190"/>
                  </a:lnTo>
                  <a:lnTo>
                    <a:pt x="718" y="194"/>
                  </a:lnTo>
                  <a:lnTo>
                    <a:pt x="720" y="194"/>
                  </a:lnTo>
                  <a:lnTo>
                    <a:pt x="720" y="196"/>
                  </a:lnTo>
                  <a:lnTo>
                    <a:pt x="726" y="202"/>
                  </a:lnTo>
                  <a:lnTo>
                    <a:pt x="730" y="206"/>
                  </a:lnTo>
                  <a:lnTo>
                    <a:pt x="730" y="208"/>
                  </a:lnTo>
                  <a:lnTo>
                    <a:pt x="728" y="210"/>
                  </a:lnTo>
                  <a:lnTo>
                    <a:pt x="726" y="212"/>
                  </a:lnTo>
                  <a:lnTo>
                    <a:pt x="724" y="212"/>
                  </a:lnTo>
                  <a:lnTo>
                    <a:pt x="722" y="214"/>
                  </a:lnTo>
                  <a:lnTo>
                    <a:pt x="720" y="216"/>
                  </a:lnTo>
                  <a:lnTo>
                    <a:pt x="720" y="220"/>
                  </a:lnTo>
                  <a:lnTo>
                    <a:pt x="718" y="222"/>
                  </a:lnTo>
                  <a:lnTo>
                    <a:pt x="716" y="222"/>
                  </a:lnTo>
                  <a:lnTo>
                    <a:pt x="714" y="222"/>
                  </a:lnTo>
                  <a:lnTo>
                    <a:pt x="706" y="22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0" name="Freeform 270"/>
            <p:cNvSpPr>
              <a:spLocks/>
            </p:cNvSpPr>
            <p:nvPr/>
          </p:nvSpPr>
          <p:spPr bwMode="auto">
            <a:xfrm>
              <a:off x="2816" y="378"/>
              <a:ext cx="32" cy="18"/>
            </a:xfrm>
            <a:custGeom>
              <a:avLst/>
              <a:gdLst/>
              <a:ahLst/>
              <a:cxnLst>
                <a:cxn ang="0">
                  <a:pos x="20" y="18"/>
                </a:cxn>
                <a:cxn ang="0">
                  <a:pos x="16" y="14"/>
                </a:cxn>
                <a:cxn ang="0">
                  <a:pos x="14" y="14"/>
                </a:cxn>
                <a:cxn ang="0">
                  <a:pos x="12" y="12"/>
                </a:cxn>
                <a:cxn ang="0">
                  <a:pos x="12" y="14"/>
                </a:cxn>
                <a:cxn ang="0">
                  <a:pos x="10" y="14"/>
                </a:cxn>
                <a:cxn ang="0">
                  <a:pos x="4" y="14"/>
                </a:cxn>
                <a:cxn ang="0">
                  <a:pos x="0" y="12"/>
                </a:cxn>
                <a:cxn ang="0">
                  <a:pos x="2" y="8"/>
                </a:cxn>
                <a:cxn ang="0">
                  <a:pos x="10" y="6"/>
                </a:cxn>
                <a:cxn ang="0">
                  <a:pos x="12" y="6"/>
                </a:cxn>
                <a:cxn ang="0">
                  <a:pos x="12" y="8"/>
                </a:cxn>
                <a:cxn ang="0">
                  <a:pos x="16" y="10"/>
                </a:cxn>
                <a:cxn ang="0">
                  <a:pos x="18" y="12"/>
                </a:cxn>
                <a:cxn ang="0">
                  <a:pos x="20" y="12"/>
                </a:cxn>
                <a:cxn ang="0">
                  <a:pos x="22" y="10"/>
                </a:cxn>
                <a:cxn ang="0">
                  <a:pos x="24" y="6"/>
                </a:cxn>
                <a:cxn ang="0">
                  <a:pos x="26" y="4"/>
                </a:cxn>
                <a:cxn ang="0">
                  <a:pos x="28" y="0"/>
                </a:cxn>
                <a:cxn ang="0">
                  <a:pos x="30" y="4"/>
                </a:cxn>
                <a:cxn ang="0">
                  <a:pos x="32" y="10"/>
                </a:cxn>
                <a:cxn ang="0">
                  <a:pos x="32" y="12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20" y="18"/>
                </a:cxn>
              </a:cxnLst>
              <a:rect l="0" t="0" r="r" b="b"/>
              <a:pathLst>
                <a:path w="32" h="18">
                  <a:moveTo>
                    <a:pt x="20" y="18"/>
                  </a:moveTo>
                  <a:lnTo>
                    <a:pt x="16" y="14"/>
                  </a:lnTo>
                  <a:lnTo>
                    <a:pt x="14" y="14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0" y="14"/>
                  </a:lnTo>
                  <a:lnTo>
                    <a:pt x="4" y="14"/>
                  </a:lnTo>
                  <a:lnTo>
                    <a:pt x="0" y="12"/>
                  </a:lnTo>
                  <a:lnTo>
                    <a:pt x="2" y="8"/>
                  </a:lnTo>
                  <a:lnTo>
                    <a:pt x="10" y="6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6" y="10"/>
                  </a:lnTo>
                  <a:lnTo>
                    <a:pt x="18" y="12"/>
                  </a:lnTo>
                  <a:lnTo>
                    <a:pt x="20" y="12"/>
                  </a:lnTo>
                  <a:lnTo>
                    <a:pt x="22" y="10"/>
                  </a:lnTo>
                  <a:lnTo>
                    <a:pt x="24" y="6"/>
                  </a:lnTo>
                  <a:lnTo>
                    <a:pt x="26" y="4"/>
                  </a:lnTo>
                  <a:lnTo>
                    <a:pt x="28" y="0"/>
                  </a:lnTo>
                  <a:lnTo>
                    <a:pt x="30" y="4"/>
                  </a:lnTo>
                  <a:lnTo>
                    <a:pt x="32" y="10"/>
                  </a:lnTo>
                  <a:lnTo>
                    <a:pt x="32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1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61" name="Freeform 271"/>
            <p:cNvSpPr>
              <a:spLocks/>
            </p:cNvSpPr>
            <p:nvPr/>
          </p:nvSpPr>
          <p:spPr bwMode="auto">
            <a:xfrm>
              <a:off x="2762" y="390"/>
              <a:ext cx="12" cy="4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2" y="4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2"/>
                </a:cxn>
                <a:cxn ang="0">
                  <a:pos x="12" y="4"/>
                </a:cxn>
                <a:cxn ang="0">
                  <a:pos x="8" y="4"/>
                </a:cxn>
              </a:cxnLst>
              <a:rect l="0" t="0" r="r" b="b"/>
              <a:pathLst>
                <a:path w="12" h="4">
                  <a:moveTo>
                    <a:pt x="8" y="4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162" name="Freeform 273"/>
          <p:cNvSpPr>
            <a:spLocks/>
          </p:cNvSpPr>
          <p:nvPr/>
        </p:nvSpPr>
        <p:spPr bwMode="auto">
          <a:xfrm>
            <a:off x="4442452" y="1489428"/>
            <a:ext cx="11113" cy="12700"/>
          </a:xfrm>
          <a:custGeom>
            <a:avLst/>
            <a:gdLst/>
            <a:ahLst/>
            <a:cxnLst>
              <a:cxn ang="0">
                <a:pos x="6" y="8"/>
              </a:cxn>
              <a:cxn ang="0">
                <a:pos x="4" y="8"/>
              </a:cxn>
              <a:cxn ang="0">
                <a:pos x="0" y="10"/>
              </a:cxn>
              <a:cxn ang="0">
                <a:pos x="4" y="0"/>
              </a:cxn>
              <a:cxn ang="0">
                <a:pos x="6" y="0"/>
              </a:cxn>
              <a:cxn ang="0">
                <a:pos x="8" y="0"/>
              </a:cxn>
              <a:cxn ang="0">
                <a:pos x="10" y="0"/>
              </a:cxn>
              <a:cxn ang="0">
                <a:pos x="10" y="2"/>
              </a:cxn>
              <a:cxn ang="0">
                <a:pos x="10" y="4"/>
              </a:cxn>
              <a:cxn ang="0">
                <a:pos x="8" y="6"/>
              </a:cxn>
              <a:cxn ang="0">
                <a:pos x="6" y="8"/>
              </a:cxn>
            </a:cxnLst>
            <a:rect l="0" t="0" r="r" b="b"/>
            <a:pathLst>
              <a:path w="10" h="10">
                <a:moveTo>
                  <a:pt x="6" y="8"/>
                </a:moveTo>
                <a:lnTo>
                  <a:pt x="4" y="8"/>
                </a:lnTo>
                <a:lnTo>
                  <a:pt x="0" y="10"/>
                </a:lnTo>
                <a:lnTo>
                  <a:pt x="4" y="0"/>
                </a:lnTo>
                <a:lnTo>
                  <a:pt x="6" y="0"/>
                </a:lnTo>
                <a:lnTo>
                  <a:pt x="8" y="0"/>
                </a:lnTo>
                <a:lnTo>
                  <a:pt x="10" y="0"/>
                </a:lnTo>
                <a:lnTo>
                  <a:pt x="10" y="2"/>
                </a:lnTo>
                <a:lnTo>
                  <a:pt x="10" y="4"/>
                </a:lnTo>
                <a:lnTo>
                  <a:pt x="8" y="6"/>
                </a:lnTo>
                <a:lnTo>
                  <a:pt x="6" y="8"/>
                </a:lnTo>
                <a:close/>
              </a:path>
            </a:pathLst>
          </a:custGeom>
          <a:solidFill>
            <a:srgbClr val="C4E0DD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63" name="Freeform 274"/>
          <p:cNvSpPr>
            <a:spLocks/>
          </p:cNvSpPr>
          <p:nvPr/>
        </p:nvSpPr>
        <p:spPr bwMode="auto">
          <a:xfrm>
            <a:off x="4431381" y="1502204"/>
            <a:ext cx="22225" cy="11113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0" y="6"/>
              </a:cxn>
              <a:cxn ang="0">
                <a:pos x="2" y="6"/>
              </a:cxn>
              <a:cxn ang="0">
                <a:pos x="4" y="4"/>
              </a:cxn>
              <a:cxn ang="0">
                <a:pos x="6" y="2"/>
              </a:cxn>
              <a:cxn ang="0">
                <a:pos x="8" y="0"/>
              </a:cxn>
              <a:cxn ang="0">
                <a:pos x="18" y="0"/>
              </a:cxn>
              <a:cxn ang="0">
                <a:pos x="12" y="4"/>
              </a:cxn>
              <a:cxn ang="0">
                <a:pos x="12" y="6"/>
              </a:cxn>
              <a:cxn ang="0">
                <a:pos x="10" y="6"/>
              </a:cxn>
              <a:cxn ang="0">
                <a:pos x="6" y="6"/>
              </a:cxn>
              <a:cxn ang="0">
                <a:pos x="4" y="8"/>
              </a:cxn>
              <a:cxn ang="0">
                <a:pos x="2" y="8"/>
              </a:cxn>
              <a:cxn ang="0">
                <a:pos x="0" y="8"/>
              </a:cxn>
            </a:cxnLst>
            <a:rect l="0" t="0" r="r" b="b"/>
            <a:pathLst>
              <a:path w="18" h="8">
                <a:moveTo>
                  <a:pt x="0" y="8"/>
                </a:moveTo>
                <a:lnTo>
                  <a:pt x="0" y="6"/>
                </a:lnTo>
                <a:lnTo>
                  <a:pt x="2" y="6"/>
                </a:lnTo>
                <a:lnTo>
                  <a:pt x="4" y="4"/>
                </a:lnTo>
                <a:lnTo>
                  <a:pt x="6" y="2"/>
                </a:lnTo>
                <a:lnTo>
                  <a:pt x="8" y="0"/>
                </a:lnTo>
                <a:lnTo>
                  <a:pt x="18" y="0"/>
                </a:lnTo>
                <a:lnTo>
                  <a:pt x="12" y="4"/>
                </a:lnTo>
                <a:lnTo>
                  <a:pt x="12" y="6"/>
                </a:lnTo>
                <a:lnTo>
                  <a:pt x="10" y="6"/>
                </a:lnTo>
                <a:lnTo>
                  <a:pt x="6" y="6"/>
                </a:lnTo>
                <a:lnTo>
                  <a:pt x="4" y="8"/>
                </a:lnTo>
                <a:lnTo>
                  <a:pt x="2" y="8"/>
                </a:lnTo>
                <a:lnTo>
                  <a:pt x="0" y="8"/>
                </a:lnTo>
                <a:close/>
              </a:path>
            </a:pathLst>
          </a:custGeom>
          <a:solidFill>
            <a:srgbClr val="C4E0DD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64" name="Freeform 275"/>
          <p:cNvSpPr>
            <a:spLocks/>
          </p:cNvSpPr>
          <p:nvPr/>
        </p:nvSpPr>
        <p:spPr bwMode="auto">
          <a:xfrm>
            <a:off x="4444045" y="1510142"/>
            <a:ext cx="12700" cy="7937"/>
          </a:xfrm>
          <a:custGeom>
            <a:avLst/>
            <a:gdLst/>
            <a:ahLst/>
            <a:cxnLst>
              <a:cxn ang="0">
                <a:pos x="4" y="6"/>
              </a:cxn>
              <a:cxn ang="0">
                <a:pos x="2" y="6"/>
              </a:cxn>
              <a:cxn ang="0">
                <a:pos x="0" y="6"/>
              </a:cxn>
              <a:cxn ang="0">
                <a:pos x="8" y="0"/>
              </a:cxn>
              <a:cxn ang="0">
                <a:pos x="10" y="0"/>
              </a:cxn>
              <a:cxn ang="0">
                <a:pos x="10" y="2"/>
              </a:cxn>
              <a:cxn ang="0">
                <a:pos x="10" y="4"/>
              </a:cxn>
              <a:cxn ang="0">
                <a:pos x="8" y="4"/>
              </a:cxn>
              <a:cxn ang="0">
                <a:pos x="4" y="6"/>
              </a:cxn>
            </a:cxnLst>
            <a:rect l="0" t="0" r="r" b="b"/>
            <a:pathLst>
              <a:path w="10" h="6">
                <a:moveTo>
                  <a:pt x="4" y="6"/>
                </a:moveTo>
                <a:lnTo>
                  <a:pt x="2" y="6"/>
                </a:lnTo>
                <a:lnTo>
                  <a:pt x="0" y="6"/>
                </a:lnTo>
                <a:lnTo>
                  <a:pt x="8" y="0"/>
                </a:lnTo>
                <a:lnTo>
                  <a:pt x="10" y="0"/>
                </a:lnTo>
                <a:lnTo>
                  <a:pt x="10" y="2"/>
                </a:lnTo>
                <a:lnTo>
                  <a:pt x="10" y="4"/>
                </a:lnTo>
                <a:lnTo>
                  <a:pt x="8" y="4"/>
                </a:lnTo>
                <a:lnTo>
                  <a:pt x="4" y="6"/>
                </a:lnTo>
                <a:close/>
              </a:path>
            </a:pathLst>
          </a:custGeom>
          <a:solidFill>
            <a:srgbClr val="C4E0DD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65" name="Freeform 276"/>
          <p:cNvSpPr>
            <a:spLocks/>
          </p:cNvSpPr>
          <p:nvPr/>
        </p:nvSpPr>
        <p:spPr bwMode="auto">
          <a:xfrm>
            <a:off x="4431342" y="1510142"/>
            <a:ext cx="17462" cy="7937"/>
          </a:xfrm>
          <a:custGeom>
            <a:avLst/>
            <a:gdLst/>
            <a:ahLst/>
            <a:cxnLst>
              <a:cxn ang="0">
                <a:pos x="8" y="6"/>
              </a:cxn>
              <a:cxn ang="0">
                <a:pos x="6" y="6"/>
              </a:cxn>
              <a:cxn ang="0">
                <a:pos x="2" y="4"/>
              </a:cxn>
              <a:cxn ang="0">
                <a:pos x="0" y="4"/>
              </a:cxn>
              <a:cxn ang="0">
                <a:pos x="4" y="2"/>
              </a:cxn>
              <a:cxn ang="0">
                <a:pos x="8" y="0"/>
              </a:cxn>
              <a:cxn ang="0">
                <a:pos x="14" y="0"/>
              </a:cxn>
              <a:cxn ang="0">
                <a:pos x="12" y="2"/>
              </a:cxn>
              <a:cxn ang="0">
                <a:pos x="10" y="4"/>
              </a:cxn>
              <a:cxn ang="0">
                <a:pos x="8" y="4"/>
              </a:cxn>
              <a:cxn ang="0">
                <a:pos x="8" y="6"/>
              </a:cxn>
            </a:cxnLst>
            <a:rect l="0" t="0" r="r" b="b"/>
            <a:pathLst>
              <a:path w="14" h="6">
                <a:moveTo>
                  <a:pt x="8" y="6"/>
                </a:moveTo>
                <a:lnTo>
                  <a:pt x="6" y="6"/>
                </a:lnTo>
                <a:lnTo>
                  <a:pt x="2" y="4"/>
                </a:lnTo>
                <a:lnTo>
                  <a:pt x="0" y="4"/>
                </a:lnTo>
                <a:lnTo>
                  <a:pt x="4" y="2"/>
                </a:lnTo>
                <a:lnTo>
                  <a:pt x="8" y="0"/>
                </a:lnTo>
                <a:lnTo>
                  <a:pt x="14" y="0"/>
                </a:lnTo>
                <a:lnTo>
                  <a:pt x="12" y="2"/>
                </a:lnTo>
                <a:lnTo>
                  <a:pt x="10" y="4"/>
                </a:lnTo>
                <a:lnTo>
                  <a:pt x="8" y="4"/>
                </a:lnTo>
                <a:lnTo>
                  <a:pt x="8" y="6"/>
                </a:lnTo>
                <a:close/>
              </a:path>
            </a:pathLst>
          </a:custGeom>
          <a:solidFill>
            <a:srgbClr val="C4E0DD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66" name="Freeform 277"/>
          <p:cNvSpPr>
            <a:spLocks/>
          </p:cNvSpPr>
          <p:nvPr/>
        </p:nvSpPr>
        <p:spPr bwMode="auto">
          <a:xfrm>
            <a:off x="4426577" y="1518079"/>
            <a:ext cx="17463" cy="9525"/>
          </a:xfrm>
          <a:custGeom>
            <a:avLst/>
            <a:gdLst/>
            <a:ahLst/>
            <a:cxnLst>
              <a:cxn ang="0">
                <a:pos x="6" y="8"/>
              </a:cxn>
              <a:cxn ang="0">
                <a:pos x="4" y="6"/>
              </a:cxn>
              <a:cxn ang="0">
                <a:pos x="0" y="6"/>
              </a:cxn>
              <a:cxn ang="0">
                <a:pos x="0" y="4"/>
              </a:cxn>
              <a:cxn ang="0">
                <a:pos x="2" y="4"/>
              </a:cxn>
              <a:cxn ang="0">
                <a:pos x="4" y="4"/>
              </a:cxn>
              <a:cxn ang="0">
                <a:pos x="6" y="4"/>
              </a:cxn>
              <a:cxn ang="0">
                <a:pos x="10" y="0"/>
              </a:cxn>
              <a:cxn ang="0">
                <a:pos x="12" y="0"/>
              </a:cxn>
              <a:cxn ang="0">
                <a:pos x="14" y="2"/>
              </a:cxn>
              <a:cxn ang="0">
                <a:pos x="14" y="4"/>
              </a:cxn>
              <a:cxn ang="0">
                <a:pos x="12" y="6"/>
              </a:cxn>
              <a:cxn ang="0">
                <a:pos x="6" y="8"/>
              </a:cxn>
            </a:cxnLst>
            <a:rect l="0" t="0" r="r" b="b"/>
            <a:pathLst>
              <a:path w="14" h="8">
                <a:moveTo>
                  <a:pt x="6" y="8"/>
                </a:moveTo>
                <a:lnTo>
                  <a:pt x="4" y="6"/>
                </a:lnTo>
                <a:lnTo>
                  <a:pt x="0" y="6"/>
                </a:lnTo>
                <a:lnTo>
                  <a:pt x="0" y="4"/>
                </a:lnTo>
                <a:lnTo>
                  <a:pt x="2" y="4"/>
                </a:lnTo>
                <a:lnTo>
                  <a:pt x="4" y="4"/>
                </a:lnTo>
                <a:lnTo>
                  <a:pt x="6" y="4"/>
                </a:lnTo>
                <a:lnTo>
                  <a:pt x="10" y="0"/>
                </a:lnTo>
                <a:lnTo>
                  <a:pt x="12" y="0"/>
                </a:lnTo>
                <a:lnTo>
                  <a:pt x="14" y="2"/>
                </a:lnTo>
                <a:lnTo>
                  <a:pt x="14" y="4"/>
                </a:lnTo>
                <a:lnTo>
                  <a:pt x="12" y="6"/>
                </a:lnTo>
                <a:lnTo>
                  <a:pt x="6" y="8"/>
                </a:lnTo>
                <a:close/>
              </a:path>
            </a:pathLst>
          </a:custGeom>
          <a:solidFill>
            <a:srgbClr val="C4E0DD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67" name="Freeform 278"/>
          <p:cNvSpPr>
            <a:spLocks/>
          </p:cNvSpPr>
          <p:nvPr/>
        </p:nvSpPr>
        <p:spPr bwMode="auto">
          <a:xfrm>
            <a:off x="3121693" y="2119742"/>
            <a:ext cx="823913" cy="1266825"/>
          </a:xfrm>
          <a:custGeom>
            <a:avLst/>
            <a:gdLst/>
            <a:ahLst/>
            <a:cxnLst>
              <a:cxn ang="0">
                <a:pos x="674" y="658"/>
              </a:cxn>
              <a:cxn ang="0">
                <a:pos x="666" y="712"/>
              </a:cxn>
              <a:cxn ang="0">
                <a:pos x="666" y="768"/>
              </a:cxn>
              <a:cxn ang="0">
                <a:pos x="648" y="814"/>
              </a:cxn>
              <a:cxn ang="0">
                <a:pos x="664" y="876"/>
              </a:cxn>
              <a:cxn ang="0">
                <a:pos x="652" y="906"/>
              </a:cxn>
              <a:cxn ang="0">
                <a:pos x="628" y="952"/>
              </a:cxn>
              <a:cxn ang="0">
                <a:pos x="610" y="986"/>
              </a:cxn>
              <a:cxn ang="0">
                <a:pos x="576" y="984"/>
              </a:cxn>
              <a:cxn ang="0">
                <a:pos x="536" y="946"/>
              </a:cxn>
              <a:cxn ang="0">
                <a:pos x="506" y="922"/>
              </a:cxn>
              <a:cxn ang="0">
                <a:pos x="462" y="898"/>
              </a:cxn>
              <a:cxn ang="0">
                <a:pos x="400" y="866"/>
              </a:cxn>
              <a:cxn ang="0">
                <a:pos x="348" y="838"/>
              </a:cxn>
              <a:cxn ang="0">
                <a:pos x="302" y="796"/>
              </a:cxn>
              <a:cxn ang="0">
                <a:pos x="272" y="752"/>
              </a:cxn>
              <a:cxn ang="0">
                <a:pos x="272" y="712"/>
              </a:cxn>
              <a:cxn ang="0">
                <a:pos x="248" y="668"/>
              </a:cxn>
              <a:cxn ang="0">
                <a:pos x="218" y="620"/>
              </a:cxn>
              <a:cxn ang="0">
                <a:pos x="190" y="574"/>
              </a:cxn>
              <a:cxn ang="0">
                <a:pos x="160" y="506"/>
              </a:cxn>
              <a:cxn ang="0">
                <a:pos x="142" y="464"/>
              </a:cxn>
              <a:cxn ang="0">
                <a:pos x="104" y="416"/>
              </a:cxn>
              <a:cxn ang="0">
                <a:pos x="88" y="382"/>
              </a:cxn>
              <a:cxn ang="0">
                <a:pos x="44" y="346"/>
              </a:cxn>
              <a:cxn ang="0">
                <a:pos x="18" y="316"/>
              </a:cxn>
              <a:cxn ang="0">
                <a:pos x="14" y="286"/>
              </a:cxn>
              <a:cxn ang="0">
                <a:pos x="4" y="234"/>
              </a:cxn>
              <a:cxn ang="0">
                <a:pos x="36" y="196"/>
              </a:cxn>
              <a:cxn ang="0">
                <a:pos x="60" y="188"/>
              </a:cxn>
              <a:cxn ang="0">
                <a:pos x="48" y="226"/>
              </a:cxn>
              <a:cxn ang="0">
                <a:pos x="60" y="234"/>
              </a:cxn>
              <a:cxn ang="0">
                <a:pos x="98" y="246"/>
              </a:cxn>
              <a:cxn ang="0">
                <a:pos x="132" y="258"/>
              </a:cxn>
              <a:cxn ang="0">
                <a:pos x="144" y="232"/>
              </a:cxn>
              <a:cxn ang="0">
                <a:pos x="160" y="196"/>
              </a:cxn>
              <a:cxn ang="0">
                <a:pos x="168" y="180"/>
              </a:cxn>
              <a:cxn ang="0">
                <a:pos x="240" y="142"/>
              </a:cxn>
              <a:cxn ang="0">
                <a:pos x="320" y="48"/>
              </a:cxn>
              <a:cxn ang="0">
                <a:pos x="320" y="20"/>
              </a:cxn>
              <a:cxn ang="0">
                <a:pos x="330" y="4"/>
              </a:cxn>
              <a:cxn ang="0">
                <a:pos x="362" y="20"/>
              </a:cxn>
              <a:cxn ang="0">
                <a:pos x="386" y="54"/>
              </a:cxn>
              <a:cxn ang="0">
                <a:pos x="424" y="94"/>
              </a:cxn>
              <a:cxn ang="0">
                <a:pos x="450" y="128"/>
              </a:cxn>
              <a:cxn ang="0">
                <a:pos x="512" y="126"/>
              </a:cxn>
              <a:cxn ang="0">
                <a:pos x="568" y="118"/>
              </a:cxn>
              <a:cxn ang="0">
                <a:pos x="590" y="176"/>
              </a:cxn>
              <a:cxn ang="0">
                <a:pos x="600" y="208"/>
              </a:cxn>
              <a:cxn ang="0">
                <a:pos x="600" y="230"/>
              </a:cxn>
              <a:cxn ang="0">
                <a:pos x="566" y="230"/>
              </a:cxn>
              <a:cxn ang="0">
                <a:pos x="492" y="256"/>
              </a:cxn>
              <a:cxn ang="0">
                <a:pos x="454" y="292"/>
              </a:cxn>
              <a:cxn ang="0">
                <a:pos x="444" y="344"/>
              </a:cxn>
              <a:cxn ang="0">
                <a:pos x="410" y="384"/>
              </a:cxn>
              <a:cxn ang="0">
                <a:pos x="412" y="418"/>
              </a:cxn>
              <a:cxn ang="0">
                <a:pos x="426" y="454"/>
              </a:cxn>
              <a:cxn ang="0">
                <a:pos x="454" y="488"/>
              </a:cxn>
              <a:cxn ang="0">
                <a:pos x="484" y="512"/>
              </a:cxn>
              <a:cxn ang="0">
                <a:pos x="508" y="540"/>
              </a:cxn>
              <a:cxn ang="0">
                <a:pos x="580" y="510"/>
              </a:cxn>
              <a:cxn ang="0">
                <a:pos x="578" y="558"/>
              </a:cxn>
              <a:cxn ang="0">
                <a:pos x="594" y="598"/>
              </a:cxn>
            </a:cxnLst>
            <a:rect l="0" t="0" r="r" b="b"/>
            <a:pathLst>
              <a:path w="682" h="992">
                <a:moveTo>
                  <a:pt x="634" y="590"/>
                </a:moveTo>
                <a:lnTo>
                  <a:pt x="638" y="598"/>
                </a:lnTo>
                <a:lnTo>
                  <a:pt x="642" y="602"/>
                </a:lnTo>
                <a:lnTo>
                  <a:pt x="652" y="620"/>
                </a:lnTo>
                <a:lnTo>
                  <a:pt x="654" y="622"/>
                </a:lnTo>
                <a:lnTo>
                  <a:pt x="656" y="626"/>
                </a:lnTo>
                <a:lnTo>
                  <a:pt x="662" y="636"/>
                </a:lnTo>
                <a:lnTo>
                  <a:pt x="662" y="638"/>
                </a:lnTo>
                <a:lnTo>
                  <a:pt x="664" y="640"/>
                </a:lnTo>
                <a:lnTo>
                  <a:pt x="666" y="642"/>
                </a:lnTo>
                <a:lnTo>
                  <a:pt x="666" y="644"/>
                </a:lnTo>
                <a:lnTo>
                  <a:pt x="668" y="648"/>
                </a:lnTo>
                <a:lnTo>
                  <a:pt x="672" y="654"/>
                </a:lnTo>
                <a:lnTo>
                  <a:pt x="674" y="658"/>
                </a:lnTo>
                <a:lnTo>
                  <a:pt x="678" y="668"/>
                </a:lnTo>
                <a:lnTo>
                  <a:pt x="680" y="668"/>
                </a:lnTo>
                <a:lnTo>
                  <a:pt x="680" y="674"/>
                </a:lnTo>
                <a:lnTo>
                  <a:pt x="682" y="676"/>
                </a:lnTo>
                <a:lnTo>
                  <a:pt x="678" y="680"/>
                </a:lnTo>
                <a:lnTo>
                  <a:pt x="678" y="682"/>
                </a:lnTo>
                <a:lnTo>
                  <a:pt x="674" y="688"/>
                </a:lnTo>
                <a:lnTo>
                  <a:pt x="670" y="690"/>
                </a:lnTo>
                <a:lnTo>
                  <a:pt x="668" y="692"/>
                </a:lnTo>
                <a:lnTo>
                  <a:pt x="666" y="694"/>
                </a:lnTo>
                <a:lnTo>
                  <a:pt x="666" y="702"/>
                </a:lnTo>
                <a:lnTo>
                  <a:pt x="666" y="704"/>
                </a:lnTo>
                <a:lnTo>
                  <a:pt x="666" y="708"/>
                </a:lnTo>
                <a:lnTo>
                  <a:pt x="666" y="712"/>
                </a:lnTo>
                <a:lnTo>
                  <a:pt x="666" y="716"/>
                </a:lnTo>
                <a:lnTo>
                  <a:pt x="666" y="728"/>
                </a:lnTo>
                <a:lnTo>
                  <a:pt x="666" y="730"/>
                </a:lnTo>
                <a:lnTo>
                  <a:pt x="664" y="732"/>
                </a:lnTo>
                <a:lnTo>
                  <a:pt x="662" y="736"/>
                </a:lnTo>
                <a:lnTo>
                  <a:pt x="660" y="740"/>
                </a:lnTo>
                <a:lnTo>
                  <a:pt x="662" y="746"/>
                </a:lnTo>
                <a:lnTo>
                  <a:pt x="664" y="748"/>
                </a:lnTo>
                <a:lnTo>
                  <a:pt x="664" y="754"/>
                </a:lnTo>
                <a:lnTo>
                  <a:pt x="666" y="756"/>
                </a:lnTo>
                <a:lnTo>
                  <a:pt x="668" y="758"/>
                </a:lnTo>
                <a:lnTo>
                  <a:pt x="672" y="768"/>
                </a:lnTo>
                <a:lnTo>
                  <a:pt x="668" y="768"/>
                </a:lnTo>
                <a:lnTo>
                  <a:pt x="666" y="768"/>
                </a:lnTo>
                <a:lnTo>
                  <a:pt x="664" y="768"/>
                </a:lnTo>
                <a:lnTo>
                  <a:pt x="664" y="770"/>
                </a:lnTo>
                <a:lnTo>
                  <a:pt x="664" y="774"/>
                </a:lnTo>
                <a:lnTo>
                  <a:pt x="664" y="776"/>
                </a:lnTo>
                <a:lnTo>
                  <a:pt x="658" y="782"/>
                </a:lnTo>
                <a:lnTo>
                  <a:pt x="650" y="788"/>
                </a:lnTo>
                <a:lnTo>
                  <a:pt x="650" y="790"/>
                </a:lnTo>
                <a:lnTo>
                  <a:pt x="650" y="792"/>
                </a:lnTo>
                <a:lnTo>
                  <a:pt x="650" y="794"/>
                </a:lnTo>
                <a:lnTo>
                  <a:pt x="646" y="798"/>
                </a:lnTo>
                <a:lnTo>
                  <a:pt x="644" y="798"/>
                </a:lnTo>
                <a:lnTo>
                  <a:pt x="644" y="800"/>
                </a:lnTo>
                <a:lnTo>
                  <a:pt x="644" y="808"/>
                </a:lnTo>
                <a:lnTo>
                  <a:pt x="648" y="814"/>
                </a:lnTo>
                <a:lnTo>
                  <a:pt x="652" y="820"/>
                </a:lnTo>
                <a:lnTo>
                  <a:pt x="654" y="822"/>
                </a:lnTo>
                <a:lnTo>
                  <a:pt x="656" y="824"/>
                </a:lnTo>
                <a:lnTo>
                  <a:pt x="654" y="824"/>
                </a:lnTo>
                <a:lnTo>
                  <a:pt x="652" y="824"/>
                </a:lnTo>
                <a:lnTo>
                  <a:pt x="648" y="828"/>
                </a:lnTo>
                <a:lnTo>
                  <a:pt x="644" y="834"/>
                </a:lnTo>
                <a:lnTo>
                  <a:pt x="640" y="844"/>
                </a:lnTo>
                <a:lnTo>
                  <a:pt x="652" y="874"/>
                </a:lnTo>
                <a:lnTo>
                  <a:pt x="654" y="876"/>
                </a:lnTo>
                <a:lnTo>
                  <a:pt x="656" y="878"/>
                </a:lnTo>
                <a:lnTo>
                  <a:pt x="658" y="878"/>
                </a:lnTo>
                <a:lnTo>
                  <a:pt x="660" y="876"/>
                </a:lnTo>
                <a:lnTo>
                  <a:pt x="664" y="876"/>
                </a:lnTo>
                <a:lnTo>
                  <a:pt x="666" y="878"/>
                </a:lnTo>
                <a:lnTo>
                  <a:pt x="668" y="880"/>
                </a:lnTo>
                <a:lnTo>
                  <a:pt x="670" y="880"/>
                </a:lnTo>
                <a:lnTo>
                  <a:pt x="672" y="882"/>
                </a:lnTo>
                <a:lnTo>
                  <a:pt x="672" y="884"/>
                </a:lnTo>
                <a:lnTo>
                  <a:pt x="662" y="888"/>
                </a:lnTo>
                <a:lnTo>
                  <a:pt x="660" y="890"/>
                </a:lnTo>
                <a:lnTo>
                  <a:pt x="660" y="894"/>
                </a:lnTo>
                <a:lnTo>
                  <a:pt x="660" y="898"/>
                </a:lnTo>
                <a:lnTo>
                  <a:pt x="662" y="898"/>
                </a:lnTo>
                <a:lnTo>
                  <a:pt x="662" y="900"/>
                </a:lnTo>
                <a:lnTo>
                  <a:pt x="660" y="902"/>
                </a:lnTo>
                <a:lnTo>
                  <a:pt x="656" y="904"/>
                </a:lnTo>
                <a:lnTo>
                  <a:pt x="652" y="906"/>
                </a:lnTo>
                <a:lnTo>
                  <a:pt x="644" y="916"/>
                </a:lnTo>
                <a:lnTo>
                  <a:pt x="642" y="922"/>
                </a:lnTo>
                <a:lnTo>
                  <a:pt x="640" y="922"/>
                </a:lnTo>
                <a:lnTo>
                  <a:pt x="638" y="924"/>
                </a:lnTo>
                <a:lnTo>
                  <a:pt x="634" y="926"/>
                </a:lnTo>
                <a:lnTo>
                  <a:pt x="630" y="928"/>
                </a:lnTo>
                <a:lnTo>
                  <a:pt x="628" y="930"/>
                </a:lnTo>
                <a:lnTo>
                  <a:pt x="626" y="934"/>
                </a:lnTo>
                <a:lnTo>
                  <a:pt x="630" y="934"/>
                </a:lnTo>
                <a:lnTo>
                  <a:pt x="634" y="938"/>
                </a:lnTo>
                <a:lnTo>
                  <a:pt x="636" y="940"/>
                </a:lnTo>
                <a:lnTo>
                  <a:pt x="636" y="942"/>
                </a:lnTo>
                <a:lnTo>
                  <a:pt x="636" y="946"/>
                </a:lnTo>
                <a:lnTo>
                  <a:pt x="628" y="952"/>
                </a:lnTo>
                <a:lnTo>
                  <a:pt x="626" y="954"/>
                </a:lnTo>
                <a:lnTo>
                  <a:pt x="624" y="954"/>
                </a:lnTo>
                <a:lnTo>
                  <a:pt x="622" y="954"/>
                </a:lnTo>
                <a:lnTo>
                  <a:pt x="618" y="954"/>
                </a:lnTo>
                <a:lnTo>
                  <a:pt x="618" y="956"/>
                </a:lnTo>
                <a:lnTo>
                  <a:pt x="616" y="960"/>
                </a:lnTo>
                <a:lnTo>
                  <a:pt x="618" y="960"/>
                </a:lnTo>
                <a:lnTo>
                  <a:pt x="618" y="962"/>
                </a:lnTo>
                <a:lnTo>
                  <a:pt x="622" y="970"/>
                </a:lnTo>
                <a:lnTo>
                  <a:pt x="620" y="972"/>
                </a:lnTo>
                <a:lnTo>
                  <a:pt x="620" y="974"/>
                </a:lnTo>
                <a:lnTo>
                  <a:pt x="616" y="980"/>
                </a:lnTo>
                <a:lnTo>
                  <a:pt x="616" y="982"/>
                </a:lnTo>
                <a:lnTo>
                  <a:pt x="610" y="986"/>
                </a:lnTo>
                <a:lnTo>
                  <a:pt x="608" y="988"/>
                </a:lnTo>
                <a:lnTo>
                  <a:pt x="602" y="990"/>
                </a:lnTo>
                <a:lnTo>
                  <a:pt x="600" y="990"/>
                </a:lnTo>
                <a:lnTo>
                  <a:pt x="598" y="990"/>
                </a:lnTo>
                <a:lnTo>
                  <a:pt x="596" y="990"/>
                </a:lnTo>
                <a:lnTo>
                  <a:pt x="592" y="990"/>
                </a:lnTo>
                <a:lnTo>
                  <a:pt x="590" y="990"/>
                </a:lnTo>
                <a:lnTo>
                  <a:pt x="588" y="990"/>
                </a:lnTo>
                <a:lnTo>
                  <a:pt x="588" y="992"/>
                </a:lnTo>
                <a:lnTo>
                  <a:pt x="588" y="990"/>
                </a:lnTo>
                <a:lnTo>
                  <a:pt x="582" y="986"/>
                </a:lnTo>
                <a:lnTo>
                  <a:pt x="580" y="984"/>
                </a:lnTo>
                <a:lnTo>
                  <a:pt x="578" y="984"/>
                </a:lnTo>
                <a:lnTo>
                  <a:pt x="576" y="984"/>
                </a:lnTo>
                <a:lnTo>
                  <a:pt x="574" y="984"/>
                </a:lnTo>
                <a:lnTo>
                  <a:pt x="570" y="980"/>
                </a:lnTo>
                <a:lnTo>
                  <a:pt x="562" y="972"/>
                </a:lnTo>
                <a:lnTo>
                  <a:pt x="560" y="970"/>
                </a:lnTo>
                <a:lnTo>
                  <a:pt x="558" y="968"/>
                </a:lnTo>
                <a:lnTo>
                  <a:pt x="556" y="966"/>
                </a:lnTo>
                <a:lnTo>
                  <a:pt x="552" y="966"/>
                </a:lnTo>
                <a:lnTo>
                  <a:pt x="548" y="962"/>
                </a:lnTo>
                <a:lnTo>
                  <a:pt x="548" y="960"/>
                </a:lnTo>
                <a:lnTo>
                  <a:pt x="546" y="960"/>
                </a:lnTo>
                <a:lnTo>
                  <a:pt x="540" y="956"/>
                </a:lnTo>
                <a:lnTo>
                  <a:pt x="538" y="952"/>
                </a:lnTo>
                <a:lnTo>
                  <a:pt x="538" y="948"/>
                </a:lnTo>
                <a:lnTo>
                  <a:pt x="536" y="946"/>
                </a:lnTo>
                <a:lnTo>
                  <a:pt x="536" y="940"/>
                </a:lnTo>
                <a:lnTo>
                  <a:pt x="534" y="940"/>
                </a:lnTo>
                <a:lnTo>
                  <a:pt x="532" y="936"/>
                </a:lnTo>
                <a:lnTo>
                  <a:pt x="532" y="934"/>
                </a:lnTo>
                <a:lnTo>
                  <a:pt x="528" y="934"/>
                </a:lnTo>
                <a:lnTo>
                  <a:pt x="522" y="930"/>
                </a:lnTo>
                <a:lnTo>
                  <a:pt x="520" y="930"/>
                </a:lnTo>
                <a:lnTo>
                  <a:pt x="518" y="930"/>
                </a:lnTo>
                <a:lnTo>
                  <a:pt x="514" y="930"/>
                </a:lnTo>
                <a:lnTo>
                  <a:pt x="514" y="928"/>
                </a:lnTo>
                <a:lnTo>
                  <a:pt x="510" y="926"/>
                </a:lnTo>
                <a:lnTo>
                  <a:pt x="510" y="924"/>
                </a:lnTo>
                <a:lnTo>
                  <a:pt x="508" y="924"/>
                </a:lnTo>
                <a:lnTo>
                  <a:pt x="506" y="922"/>
                </a:lnTo>
                <a:lnTo>
                  <a:pt x="504" y="920"/>
                </a:lnTo>
                <a:lnTo>
                  <a:pt x="502" y="920"/>
                </a:lnTo>
                <a:lnTo>
                  <a:pt x="498" y="916"/>
                </a:lnTo>
                <a:lnTo>
                  <a:pt x="492" y="914"/>
                </a:lnTo>
                <a:lnTo>
                  <a:pt x="488" y="910"/>
                </a:lnTo>
                <a:lnTo>
                  <a:pt x="486" y="906"/>
                </a:lnTo>
                <a:lnTo>
                  <a:pt x="480" y="902"/>
                </a:lnTo>
                <a:lnTo>
                  <a:pt x="478" y="902"/>
                </a:lnTo>
                <a:lnTo>
                  <a:pt x="474" y="900"/>
                </a:lnTo>
                <a:lnTo>
                  <a:pt x="472" y="900"/>
                </a:lnTo>
                <a:lnTo>
                  <a:pt x="470" y="900"/>
                </a:lnTo>
                <a:lnTo>
                  <a:pt x="468" y="900"/>
                </a:lnTo>
                <a:lnTo>
                  <a:pt x="466" y="900"/>
                </a:lnTo>
                <a:lnTo>
                  <a:pt x="462" y="898"/>
                </a:lnTo>
                <a:lnTo>
                  <a:pt x="460" y="898"/>
                </a:lnTo>
                <a:lnTo>
                  <a:pt x="460" y="896"/>
                </a:lnTo>
                <a:lnTo>
                  <a:pt x="458" y="894"/>
                </a:lnTo>
                <a:lnTo>
                  <a:pt x="456" y="894"/>
                </a:lnTo>
                <a:lnTo>
                  <a:pt x="450" y="892"/>
                </a:lnTo>
                <a:lnTo>
                  <a:pt x="440" y="886"/>
                </a:lnTo>
                <a:lnTo>
                  <a:pt x="436" y="882"/>
                </a:lnTo>
                <a:lnTo>
                  <a:pt x="430" y="880"/>
                </a:lnTo>
                <a:lnTo>
                  <a:pt x="428" y="880"/>
                </a:lnTo>
                <a:lnTo>
                  <a:pt x="420" y="878"/>
                </a:lnTo>
                <a:lnTo>
                  <a:pt x="418" y="876"/>
                </a:lnTo>
                <a:lnTo>
                  <a:pt x="408" y="872"/>
                </a:lnTo>
                <a:lnTo>
                  <a:pt x="402" y="868"/>
                </a:lnTo>
                <a:lnTo>
                  <a:pt x="400" y="866"/>
                </a:lnTo>
                <a:lnTo>
                  <a:pt x="396" y="862"/>
                </a:lnTo>
                <a:lnTo>
                  <a:pt x="390" y="860"/>
                </a:lnTo>
                <a:lnTo>
                  <a:pt x="386" y="858"/>
                </a:lnTo>
                <a:lnTo>
                  <a:pt x="380" y="856"/>
                </a:lnTo>
                <a:lnTo>
                  <a:pt x="378" y="856"/>
                </a:lnTo>
                <a:lnTo>
                  <a:pt x="376" y="854"/>
                </a:lnTo>
                <a:lnTo>
                  <a:pt x="374" y="852"/>
                </a:lnTo>
                <a:lnTo>
                  <a:pt x="374" y="850"/>
                </a:lnTo>
                <a:lnTo>
                  <a:pt x="372" y="848"/>
                </a:lnTo>
                <a:lnTo>
                  <a:pt x="366" y="846"/>
                </a:lnTo>
                <a:lnTo>
                  <a:pt x="362" y="844"/>
                </a:lnTo>
                <a:lnTo>
                  <a:pt x="356" y="842"/>
                </a:lnTo>
                <a:lnTo>
                  <a:pt x="354" y="840"/>
                </a:lnTo>
                <a:lnTo>
                  <a:pt x="348" y="838"/>
                </a:lnTo>
                <a:lnTo>
                  <a:pt x="344" y="836"/>
                </a:lnTo>
                <a:lnTo>
                  <a:pt x="342" y="834"/>
                </a:lnTo>
                <a:lnTo>
                  <a:pt x="340" y="832"/>
                </a:lnTo>
                <a:lnTo>
                  <a:pt x="338" y="828"/>
                </a:lnTo>
                <a:lnTo>
                  <a:pt x="334" y="822"/>
                </a:lnTo>
                <a:lnTo>
                  <a:pt x="332" y="822"/>
                </a:lnTo>
                <a:lnTo>
                  <a:pt x="332" y="820"/>
                </a:lnTo>
                <a:lnTo>
                  <a:pt x="330" y="820"/>
                </a:lnTo>
                <a:lnTo>
                  <a:pt x="326" y="816"/>
                </a:lnTo>
                <a:lnTo>
                  <a:pt x="318" y="806"/>
                </a:lnTo>
                <a:lnTo>
                  <a:pt x="316" y="804"/>
                </a:lnTo>
                <a:lnTo>
                  <a:pt x="312" y="804"/>
                </a:lnTo>
                <a:lnTo>
                  <a:pt x="308" y="800"/>
                </a:lnTo>
                <a:lnTo>
                  <a:pt x="302" y="796"/>
                </a:lnTo>
                <a:lnTo>
                  <a:pt x="296" y="792"/>
                </a:lnTo>
                <a:lnTo>
                  <a:pt x="296" y="790"/>
                </a:lnTo>
                <a:lnTo>
                  <a:pt x="296" y="788"/>
                </a:lnTo>
                <a:lnTo>
                  <a:pt x="294" y="782"/>
                </a:lnTo>
                <a:lnTo>
                  <a:pt x="290" y="778"/>
                </a:lnTo>
                <a:lnTo>
                  <a:pt x="288" y="776"/>
                </a:lnTo>
                <a:lnTo>
                  <a:pt x="286" y="774"/>
                </a:lnTo>
                <a:lnTo>
                  <a:pt x="286" y="768"/>
                </a:lnTo>
                <a:lnTo>
                  <a:pt x="282" y="766"/>
                </a:lnTo>
                <a:lnTo>
                  <a:pt x="280" y="766"/>
                </a:lnTo>
                <a:lnTo>
                  <a:pt x="278" y="758"/>
                </a:lnTo>
                <a:lnTo>
                  <a:pt x="276" y="750"/>
                </a:lnTo>
                <a:lnTo>
                  <a:pt x="274" y="752"/>
                </a:lnTo>
                <a:lnTo>
                  <a:pt x="272" y="752"/>
                </a:lnTo>
                <a:lnTo>
                  <a:pt x="272" y="750"/>
                </a:lnTo>
                <a:lnTo>
                  <a:pt x="272" y="746"/>
                </a:lnTo>
                <a:lnTo>
                  <a:pt x="274" y="746"/>
                </a:lnTo>
                <a:lnTo>
                  <a:pt x="276" y="746"/>
                </a:lnTo>
                <a:lnTo>
                  <a:pt x="278" y="748"/>
                </a:lnTo>
                <a:lnTo>
                  <a:pt x="280" y="744"/>
                </a:lnTo>
                <a:lnTo>
                  <a:pt x="280" y="742"/>
                </a:lnTo>
                <a:lnTo>
                  <a:pt x="282" y="736"/>
                </a:lnTo>
                <a:lnTo>
                  <a:pt x="282" y="734"/>
                </a:lnTo>
                <a:lnTo>
                  <a:pt x="282" y="728"/>
                </a:lnTo>
                <a:lnTo>
                  <a:pt x="282" y="726"/>
                </a:lnTo>
                <a:lnTo>
                  <a:pt x="278" y="720"/>
                </a:lnTo>
                <a:lnTo>
                  <a:pt x="276" y="718"/>
                </a:lnTo>
                <a:lnTo>
                  <a:pt x="272" y="712"/>
                </a:lnTo>
                <a:lnTo>
                  <a:pt x="270" y="710"/>
                </a:lnTo>
                <a:lnTo>
                  <a:pt x="270" y="708"/>
                </a:lnTo>
                <a:lnTo>
                  <a:pt x="268" y="706"/>
                </a:lnTo>
                <a:lnTo>
                  <a:pt x="266" y="706"/>
                </a:lnTo>
                <a:lnTo>
                  <a:pt x="266" y="704"/>
                </a:lnTo>
                <a:lnTo>
                  <a:pt x="264" y="702"/>
                </a:lnTo>
                <a:lnTo>
                  <a:pt x="264" y="700"/>
                </a:lnTo>
                <a:lnTo>
                  <a:pt x="264" y="696"/>
                </a:lnTo>
                <a:lnTo>
                  <a:pt x="260" y="692"/>
                </a:lnTo>
                <a:lnTo>
                  <a:pt x="258" y="688"/>
                </a:lnTo>
                <a:lnTo>
                  <a:pt x="252" y="676"/>
                </a:lnTo>
                <a:lnTo>
                  <a:pt x="250" y="672"/>
                </a:lnTo>
                <a:lnTo>
                  <a:pt x="248" y="670"/>
                </a:lnTo>
                <a:lnTo>
                  <a:pt x="248" y="668"/>
                </a:lnTo>
                <a:lnTo>
                  <a:pt x="246" y="666"/>
                </a:lnTo>
                <a:lnTo>
                  <a:pt x="242" y="662"/>
                </a:lnTo>
                <a:lnTo>
                  <a:pt x="236" y="656"/>
                </a:lnTo>
                <a:lnTo>
                  <a:pt x="234" y="654"/>
                </a:lnTo>
                <a:lnTo>
                  <a:pt x="232" y="652"/>
                </a:lnTo>
                <a:lnTo>
                  <a:pt x="228" y="652"/>
                </a:lnTo>
                <a:lnTo>
                  <a:pt x="230" y="648"/>
                </a:lnTo>
                <a:lnTo>
                  <a:pt x="230" y="646"/>
                </a:lnTo>
                <a:lnTo>
                  <a:pt x="230" y="642"/>
                </a:lnTo>
                <a:lnTo>
                  <a:pt x="228" y="638"/>
                </a:lnTo>
                <a:lnTo>
                  <a:pt x="228" y="634"/>
                </a:lnTo>
                <a:lnTo>
                  <a:pt x="226" y="630"/>
                </a:lnTo>
                <a:lnTo>
                  <a:pt x="220" y="622"/>
                </a:lnTo>
                <a:lnTo>
                  <a:pt x="218" y="620"/>
                </a:lnTo>
                <a:lnTo>
                  <a:pt x="212" y="616"/>
                </a:lnTo>
                <a:lnTo>
                  <a:pt x="208" y="614"/>
                </a:lnTo>
                <a:lnTo>
                  <a:pt x="208" y="612"/>
                </a:lnTo>
                <a:lnTo>
                  <a:pt x="206" y="612"/>
                </a:lnTo>
                <a:lnTo>
                  <a:pt x="202" y="610"/>
                </a:lnTo>
                <a:lnTo>
                  <a:pt x="202" y="608"/>
                </a:lnTo>
                <a:lnTo>
                  <a:pt x="202" y="606"/>
                </a:lnTo>
                <a:lnTo>
                  <a:pt x="204" y="606"/>
                </a:lnTo>
                <a:lnTo>
                  <a:pt x="204" y="604"/>
                </a:lnTo>
                <a:lnTo>
                  <a:pt x="202" y="590"/>
                </a:lnTo>
                <a:lnTo>
                  <a:pt x="200" y="586"/>
                </a:lnTo>
                <a:lnTo>
                  <a:pt x="196" y="582"/>
                </a:lnTo>
                <a:lnTo>
                  <a:pt x="192" y="578"/>
                </a:lnTo>
                <a:lnTo>
                  <a:pt x="190" y="574"/>
                </a:lnTo>
                <a:lnTo>
                  <a:pt x="190" y="572"/>
                </a:lnTo>
                <a:lnTo>
                  <a:pt x="188" y="570"/>
                </a:lnTo>
                <a:lnTo>
                  <a:pt x="186" y="568"/>
                </a:lnTo>
                <a:lnTo>
                  <a:pt x="182" y="564"/>
                </a:lnTo>
                <a:lnTo>
                  <a:pt x="180" y="558"/>
                </a:lnTo>
                <a:lnTo>
                  <a:pt x="174" y="546"/>
                </a:lnTo>
                <a:lnTo>
                  <a:pt x="170" y="536"/>
                </a:lnTo>
                <a:lnTo>
                  <a:pt x="170" y="534"/>
                </a:lnTo>
                <a:lnTo>
                  <a:pt x="170" y="530"/>
                </a:lnTo>
                <a:lnTo>
                  <a:pt x="164" y="524"/>
                </a:lnTo>
                <a:lnTo>
                  <a:pt x="164" y="520"/>
                </a:lnTo>
                <a:lnTo>
                  <a:pt x="162" y="514"/>
                </a:lnTo>
                <a:lnTo>
                  <a:pt x="162" y="510"/>
                </a:lnTo>
                <a:lnTo>
                  <a:pt x="160" y="506"/>
                </a:lnTo>
                <a:lnTo>
                  <a:pt x="156" y="504"/>
                </a:lnTo>
                <a:lnTo>
                  <a:pt x="156" y="498"/>
                </a:lnTo>
                <a:lnTo>
                  <a:pt x="154" y="496"/>
                </a:lnTo>
                <a:lnTo>
                  <a:pt x="152" y="492"/>
                </a:lnTo>
                <a:lnTo>
                  <a:pt x="148" y="490"/>
                </a:lnTo>
                <a:lnTo>
                  <a:pt x="146" y="486"/>
                </a:lnTo>
                <a:lnTo>
                  <a:pt x="146" y="484"/>
                </a:lnTo>
                <a:lnTo>
                  <a:pt x="146" y="482"/>
                </a:lnTo>
                <a:lnTo>
                  <a:pt x="144" y="476"/>
                </a:lnTo>
                <a:lnTo>
                  <a:pt x="142" y="472"/>
                </a:lnTo>
                <a:lnTo>
                  <a:pt x="142" y="470"/>
                </a:lnTo>
                <a:lnTo>
                  <a:pt x="142" y="468"/>
                </a:lnTo>
                <a:lnTo>
                  <a:pt x="142" y="466"/>
                </a:lnTo>
                <a:lnTo>
                  <a:pt x="142" y="464"/>
                </a:lnTo>
                <a:lnTo>
                  <a:pt x="138" y="460"/>
                </a:lnTo>
                <a:lnTo>
                  <a:pt x="132" y="456"/>
                </a:lnTo>
                <a:lnTo>
                  <a:pt x="132" y="454"/>
                </a:lnTo>
                <a:lnTo>
                  <a:pt x="132" y="452"/>
                </a:lnTo>
                <a:lnTo>
                  <a:pt x="128" y="444"/>
                </a:lnTo>
                <a:lnTo>
                  <a:pt x="120" y="434"/>
                </a:lnTo>
                <a:lnTo>
                  <a:pt x="118" y="434"/>
                </a:lnTo>
                <a:lnTo>
                  <a:pt x="116" y="432"/>
                </a:lnTo>
                <a:lnTo>
                  <a:pt x="112" y="430"/>
                </a:lnTo>
                <a:lnTo>
                  <a:pt x="110" y="428"/>
                </a:lnTo>
                <a:lnTo>
                  <a:pt x="110" y="426"/>
                </a:lnTo>
                <a:lnTo>
                  <a:pt x="108" y="424"/>
                </a:lnTo>
                <a:lnTo>
                  <a:pt x="106" y="418"/>
                </a:lnTo>
                <a:lnTo>
                  <a:pt x="104" y="416"/>
                </a:lnTo>
                <a:lnTo>
                  <a:pt x="104" y="414"/>
                </a:lnTo>
                <a:lnTo>
                  <a:pt x="102" y="410"/>
                </a:lnTo>
                <a:lnTo>
                  <a:pt x="100" y="408"/>
                </a:lnTo>
                <a:lnTo>
                  <a:pt x="98" y="406"/>
                </a:lnTo>
                <a:lnTo>
                  <a:pt x="96" y="402"/>
                </a:lnTo>
                <a:lnTo>
                  <a:pt x="96" y="400"/>
                </a:lnTo>
                <a:lnTo>
                  <a:pt x="96" y="396"/>
                </a:lnTo>
                <a:lnTo>
                  <a:pt x="94" y="396"/>
                </a:lnTo>
                <a:lnTo>
                  <a:pt x="94" y="392"/>
                </a:lnTo>
                <a:lnTo>
                  <a:pt x="92" y="390"/>
                </a:lnTo>
                <a:lnTo>
                  <a:pt x="90" y="388"/>
                </a:lnTo>
                <a:lnTo>
                  <a:pt x="90" y="386"/>
                </a:lnTo>
                <a:lnTo>
                  <a:pt x="90" y="384"/>
                </a:lnTo>
                <a:lnTo>
                  <a:pt x="88" y="382"/>
                </a:lnTo>
                <a:lnTo>
                  <a:pt x="84" y="378"/>
                </a:lnTo>
                <a:lnTo>
                  <a:pt x="82" y="376"/>
                </a:lnTo>
                <a:lnTo>
                  <a:pt x="80" y="376"/>
                </a:lnTo>
                <a:lnTo>
                  <a:pt x="78" y="372"/>
                </a:lnTo>
                <a:lnTo>
                  <a:pt x="76" y="370"/>
                </a:lnTo>
                <a:lnTo>
                  <a:pt x="76" y="368"/>
                </a:lnTo>
                <a:lnTo>
                  <a:pt x="74" y="366"/>
                </a:lnTo>
                <a:lnTo>
                  <a:pt x="68" y="360"/>
                </a:lnTo>
                <a:lnTo>
                  <a:pt x="66" y="358"/>
                </a:lnTo>
                <a:lnTo>
                  <a:pt x="64" y="356"/>
                </a:lnTo>
                <a:lnTo>
                  <a:pt x="56" y="354"/>
                </a:lnTo>
                <a:lnTo>
                  <a:pt x="50" y="350"/>
                </a:lnTo>
                <a:lnTo>
                  <a:pt x="46" y="346"/>
                </a:lnTo>
                <a:lnTo>
                  <a:pt x="44" y="346"/>
                </a:lnTo>
                <a:lnTo>
                  <a:pt x="42" y="344"/>
                </a:lnTo>
                <a:lnTo>
                  <a:pt x="40" y="344"/>
                </a:lnTo>
                <a:lnTo>
                  <a:pt x="38" y="342"/>
                </a:lnTo>
                <a:lnTo>
                  <a:pt x="26" y="336"/>
                </a:lnTo>
                <a:lnTo>
                  <a:pt x="16" y="332"/>
                </a:lnTo>
                <a:lnTo>
                  <a:pt x="12" y="330"/>
                </a:lnTo>
                <a:lnTo>
                  <a:pt x="10" y="328"/>
                </a:lnTo>
                <a:lnTo>
                  <a:pt x="8" y="324"/>
                </a:lnTo>
                <a:lnTo>
                  <a:pt x="8" y="322"/>
                </a:lnTo>
                <a:lnTo>
                  <a:pt x="10" y="318"/>
                </a:lnTo>
                <a:lnTo>
                  <a:pt x="12" y="316"/>
                </a:lnTo>
                <a:lnTo>
                  <a:pt x="14" y="314"/>
                </a:lnTo>
                <a:lnTo>
                  <a:pt x="16" y="314"/>
                </a:lnTo>
                <a:lnTo>
                  <a:pt x="18" y="316"/>
                </a:lnTo>
                <a:lnTo>
                  <a:pt x="20" y="316"/>
                </a:lnTo>
                <a:lnTo>
                  <a:pt x="22" y="316"/>
                </a:lnTo>
                <a:lnTo>
                  <a:pt x="24" y="316"/>
                </a:lnTo>
                <a:lnTo>
                  <a:pt x="24" y="314"/>
                </a:lnTo>
                <a:lnTo>
                  <a:pt x="26" y="312"/>
                </a:lnTo>
                <a:lnTo>
                  <a:pt x="26" y="310"/>
                </a:lnTo>
                <a:lnTo>
                  <a:pt x="26" y="308"/>
                </a:lnTo>
                <a:lnTo>
                  <a:pt x="26" y="304"/>
                </a:lnTo>
                <a:lnTo>
                  <a:pt x="24" y="298"/>
                </a:lnTo>
                <a:lnTo>
                  <a:pt x="24" y="296"/>
                </a:lnTo>
                <a:lnTo>
                  <a:pt x="22" y="294"/>
                </a:lnTo>
                <a:lnTo>
                  <a:pt x="20" y="292"/>
                </a:lnTo>
                <a:lnTo>
                  <a:pt x="16" y="288"/>
                </a:lnTo>
                <a:lnTo>
                  <a:pt x="14" y="286"/>
                </a:lnTo>
                <a:lnTo>
                  <a:pt x="12" y="286"/>
                </a:lnTo>
                <a:lnTo>
                  <a:pt x="8" y="280"/>
                </a:lnTo>
                <a:lnTo>
                  <a:pt x="10" y="274"/>
                </a:lnTo>
                <a:lnTo>
                  <a:pt x="10" y="272"/>
                </a:lnTo>
                <a:lnTo>
                  <a:pt x="14" y="272"/>
                </a:lnTo>
                <a:lnTo>
                  <a:pt x="14" y="268"/>
                </a:lnTo>
                <a:lnTo>
                  <a:pt x="12" y="268"/>
                </a:lnTo>
                <a:lnTo>
                  <a:pt x="8" y="262"/>
                </a:lnTo>
                <a:lnTo>
                  <a:pt x="0" y="254"/>
                </a:lnTo>
                <a:lnTo>
                  <a:pt x="0" y="252"/>
                </a:lnTo>
                <a:lnTo>
                  <a:pt x="0" y="250"/>
                </a:lnTo>
                <a:lnTo>
                  <a:pt x="2" y="246"/>
                </a:lnTo>
                <a:lnTo>
                  <a:pt x="4" y="236"/>
                </a:lnTo>
                <a:lnTo>
                  <a:pt x="4" y="234"/>
                </a:lnTo>
                <a:lnTo>
                  <a:pt x="2" y="232"/>
                </a:lnTo>
                <a:lnTo>
                  <a:pt x="4" y="230"/>
                </a:lnTo>
                <a:lnTo>
                  <a:pt x="12" y="222"/>
                </a:lnTo>
                <a:lnTo>
                  <a:pt x="16" y="220"/>
                </a:lnTo>
                <a:lnTo>
                  <a:pt x="18" y="216"/>
                </a:lnTo>
                <a:lnTo>
                  <a:pt x="18" y="214"/>
                </a:lnTo>
                <a:lnTo>
                  <a:pt x="22" y="212"/>
                </a:lnTo>
                <a:lnTo>
                  <a:pt x="24" y="210"/>
                </a:lnTo>
                <a:lnTo>
                  <a:pt x="26" y="208"/>
                </a:lnTo>
                <a:lnTo>
                  <a:pt x="26" y="206"/>
                </a:lnTo>
                <a:lnTo>
                  <a:pt x="26" y="204"/>
                </a:lnTo>
                <a:lnTo>
                  <a:pt x="28" y="202"/>
                </a:lnTo>
                <a:lnTo>
                  <a:pt x="34" y="198"/>
                </a:lnTo>
                <a:lnTo>
                  <a:pt x="36" y="196"/>
                </a:lnTo>
                <a:lnTo>
                  <a:pt x="40" y="194"/>
                </a:lnTo>
                <a:lnTo>
                  <a:pt x="42" y="192"/>
                </a:lnTo>
                <a:lnTo>
                  <a:pt x="42" y="190"/>
                </a:lnTo>
                <a:lnTo>
                  <a:pt x="44" y="188"/>
                </a:lnTo>
                <a:lnTo>
                  <a:pt x="46" y="188"/>
                </a:lnTo>
                <a:lnTo>
                  <a:pt x="48" y="188"/>
                </a:lnTo>
                <a:lnTo>
                  <a:pt x="50" y="188"/>
                </a:lnTo>
                <a:lnTo>
                  <a:pt x="52" y="188"/>
                </a:lnTo>
                <a:lnTo>
                  <a:pt x="52" y="186"/>
                </a:lnTo>
                <a:lnTo>
                  <a:pt x="54" y="186"/>
                </a:lnTo>
                <a:lnTo>
                  <a:pt x="54" y="184"/>
                </a:lnTo>
                <a:lnTo>
                  <a:pt x="54" y="182"/>
                </a:lnTo>
                <a:lnTo>
                  <a:pt x="58" y="184"/>
                </a:lnTo>
                <a:lnTo>
                  <a:pt x="60" y="188"/>
                </a:lnTo>
                <a:lnTo>
                  <a:pt x="60" y="194"/>
                </a:lnTo>
                <a:lnTo>
                  <a:pt x="62" y="196"/>
                </a:lnTo>
                <a:lnTo>
                  <a:pt x="62" y="200"/>
                </a:lnTo>
                <a:lnTo>
                  <a:pt x="64" y="208"/>
                </a:lnTo>
                <a:lnTo>
                  <a:pt x="64" y="210"/>
                </a:lnTo>
                <a:lnTo>
                  <a:pt x="56" y="216"/>
                </a:lnTo>
                <a:lnTo>
                  <a:pt x="54" y="216"/>
                </a:lnTo>
                <a:lnTo>
                  <a:pt x="52" y="214"/>
                </a:lnTo>
                <a:lnTo>
                  <a:pt x="50" y="214"/>
                </a:lnTo>
                <a:lnTo>
                  <a:pt x="48" y="214"/>
                </a:lnTo>
                <a:lnTo>
                  <a:pt x="46" y="218"/>
                </a:lnTo>
                <a:lnTo>
                  <a:pt x="46" y="222"/>
                </a:lnTo>
                <a:lnTo>
                  <a:pt x="46" y="224"/>
                </a:lnTo>
                <a:lnTo>
                  <a:pt x="48" y="226"/>
                </a:lnTo>
                <a:lnTo>
                  <a:pt x="48" y="228"/>
                </a:lnTo>
                <a:lnTo>
                  <a:pt x="50" y="226"/>
                </a:lnTo>
                <a:lnTo>
                  <a:pt x="52" y="226"/>
                </a:lnTo>
                <a:lnTo>
                  <a:pt x="54" y="226"/>
                </a:lnTo>
                <a:lnTo>
                  <a:pt x="52" y="230"/>
                </a:lnTo>
                <a:lnTo>
                  <a:pt x="50" y="232"/>
                </a:lnTo>
                <a:lnTo>
                  <a:pt x="46" y="236"/>
                </a:lnTo>
                <a:lnTo>
                  <a:pt x="46" y="238"/>
                </a:lnTo>
                <a:lnTo>
                  <a:pt x="48" y="238"/>
                </a:lnTo>
                <a:lnTo>
                  <a:pt x="50" y="240"/>
                </a:lnTo>
                <a:lnTo>
                  <a:pt x="52" y="242"/>
                </a:lnTo>
                <a:lnTo>
                  <a:pt x="54" y="240"/>
                </a:lnTo>
                <a:lnTo>
                  <a:pt x="58" y="236"/>
                </a:lnTo>
                <a:lnTo>
                  <a:pt x="60" y="234"/>
                </a:lnTo>
                <a:lnTo>
                  <a:pt x="62" y="234"/>
                </a:lnTo>
                <a:lnTo>
                  <a:pt x="64" y="232"/>
                </a:lnTo>
                <a:lnTo>
                  <a:pt x="66" y="230"/>
                </a:lnTo>
                <a:lnTo>
                  <a:pt x="68" y="232"/>
                </a:lnTo>
                <a:lnTo>
                  <a:pt x="70" y="232"/>
                </a:lnTo>
                <a:lnTo>
                  <a:pt x="72" y="234"/>
                </a:lnTo>
                <a:lnTo>
                  <a:pt x="82" y="240"/>
                </a:lnTo>
                <a:lnTo>
                  <a:pt x="84" y="242"/>
                </a:lnTo>
                <a:lnTo>
                  <a:pt x="90" y="240"/>
                </a:lnTo>
                <a:lnTo>
                  <a:pt x="90" y="238"/>
                </a:lnTo>
                <a:lnTo>
                  <a:pt x="92" y="238"/>
                </a:lnTo>
                <a:lnTo>
                  <a:pt x="92" y="240"/>
                </a:lnTo>
                <a:lnTo>
                  <a:pt x="98" y="244"/>
                </a:lnTo>
                <a:lnTo>
                  <a:pt x="98" y="246"/>
                </a:lnTo>
                <a:lnTo>
                  <a:pt x="98" y="250"/>
                </a:lnTo>
                <a:lnTo>
                  <a:pt x="102" y="256"/>
                </a:lnTo>
                <a:lnTo>
                  <a:pt x="104" y="258"/>
                </a:lnTo>
                <a:lnTo>
                  <a:pt x="108" y="264"/>
                </a:lnTo>
                <a:lnTo>
                  <a:pt x="112" y="268"/>
                </a:lnTo>
                <a:lnTo>
                  <a:pt x="114" y="268"/>
                </a:lnTo>
                <a:lnTo>
                  <a:pt x="116" y="268"/>
                </a:lnTo>
                <a:lnTo>
                  <a:pt x="118" y="268"/>
                </a:lnTo>
                <a:lnTo>
                  <a:pt x="122" y="268"/>
                </a:lnTo>
                <a:lnTo>
                  <a:pt x="124" y="270"/>
                </a:lnTo>
                <a:lnTo>
                  <a:pt x="126" y="270"/>
                </a:lnTo>
                <a:lnTo>
                  <a:pt x="126" y="268"/>
                </a:lnTo>
                <a:lnTo>
                  <a:pt x="130" y="262"/>
                </a:lnTo>
                <a:lnTo>
                  <a:pt x="132" y="258"/>
                </a:lnTo>
                <a:lnTo>
                  <a:pt x="132" y="254"/>
                </a:lnTo>
                <a:lnTo>
                  <a:pt x="134" y="252"/>
                </a:lnTo>
                <a:lnTo>
                  <a:pt x="136" y="250"/>
                </a:lnTo>
                <a:lnTo>
                  <a:pt x="138" y="248"/>
                </a:lnTo>
                <a:lnTo>
                  <a:pt x="140" y="248"/>
                </a:lnTo>
                <a:lnTo>
                  <a:pt x="142" y="248"/>
                </a:lnTo>
                <a:lnTo>
                  <a:pt x="142" y="246"/>
                </a:lnTo>
                <a:lnTo>
                  <a:pt x="144" y="246"/>
                </a:lnTo>
                <a:lnTo>
                  <a:pt x="146" y="246"/>
                </a:lnTo>
                <a:lnTo>
                  <a:pt x="146" y="240"/>
                </a:lnTo>
                <a:lnTo>
                  <a:pt x="146" y="238"/>
                </a:lnTo>
                <a:lnTo>
                  <a:pt x="146" y="234"/>
                </a:lnTo>
                <a:lnTo>
                  <a:pt x="144" y="234"/>
                </a:lnTo>
                <a:lnTo>
                  <a:pt x="144" y="232"/>
                </a:lnTo>
                <a:lnTo>
                  <a:pt x="146" y="232"/>
                </a:lnTo>
                <a:lnTo>
                  <a:pt x="146" y="230"/>
                </a:lnTo>
                <a:lnTo>
                  <a:pt x="150" y="220"/>
                </a:lnTo>
                <a:lnTo>
                  <a:pt x="150" y="218"/>
                </a:lnTo>
                <a:lnTo>
                  <a:pt x="150" y="216"/>
                </a:lnTo>
                <a:lnTo>
                  <a:pt x="150" y="214"/>
                </a:lnTo>
                <a:lnTo>
                  <a:pt x="152" y="212"/>
                </a:lnTo>
                <a:lnTo>
                  <a:pt x="152" y="210"/>
                </a:lnTo>
                <a:lnTo>
                  <a:pt x="156" y="206"/>
                </a:lnTo>
                <a:lnTo>
                  <a:pt x="158" y="204"/>
                </a:lnTo>
                <a:lnTo>
                  <a:pt x="158" y="202"/>
                </a:lnTo>
                <a:lnTo>
                  <a:pt x="160" y="200"/>
                </a:lnTo>
                <a:lnTo>
                  <a:pt x="160" y="198"/>
                </a:lnTo>
                <a:lnTo>
                  <a:pt x="160" y="196"/>
                </a:lnTo>
                <a:lnTo>
                  <a:pt x="162" y="192"/>
                </a:lnTo>
                <a:lnTo>
                  <a:pt x="160" y="190"/>
                </a:lnTo>
                <a:lnTo>
                  <a:pt x="162" y="188"/>
                </a:lnTo>
                <a:lnTo>
                  <a:pt x="162" y="186"/>
                </a:lnTo>
                <a:lnTo>
                  <a:pt x="162" y="184"/>
                </a:lnTo>
                <a:lnTo>
                  <a:pt x="164" y="184"/>
                </a:lnTo>
                <a:lnTo>
                  <a:pt x="164" y="182"/>
                </a:lnTo>
                <a:lnTo>
                  <a:pt x="166" y="182"/>
                </a:lnTo>
                <a:lnTo>
                  <a:pt x="166" y="184"/>
                </a:lnTo>
                <a:lnTo>
                  <a:pt x="166" y="188"/>
                </a:lnTo>
                <a:lnTo>
                  <a:pt x="170" y="186"/>
                </a:lnTo>
                <a:lnTo>
                  <a:pt x="172" y="184"/>
                </a:lnTo>
                <a:lnTo>
                  <a:pt x="170" y="182"/>
                </a:lnTo>
                <a:lnTo>
                  <a:pt x="168" y="180"/>
                </a:lnTo>
                <a:lnTo>
                  <a:pt x="170" y="180"/>
                </a:lnTo>
                <a:lnTo>
                  <a:pt x="170" y="178"/>
                </a:lnTo>
                <a:lnTo>
                  <a:pt x="172" y="176"/>
                </a:lnTo>
                <a:lnTo>
                  <a:pt x="174" y="176"/>
                </a:lnTo>
                <a:lnTo>
                  <a:pt x="178" y="172"/>
                </a:lnTo>
                <a:lnTo>
                  <a:pt x="178" y="170"/>
                </a:lnTo>
                <a:lnTo>
                  <a:pt x="184" y="162"/>
                </a:lnTo>
                <a:lnTo>
                  <a:pt x="188" y="160"/>
                </a:lnTo>
                <a:lnTo>
                  <a:pt x="190" y="160"/>
                </a:lnTo>
                <a:lnTo>
                  <a:pt x="192" y="160"/>
                </a:lnTo>
                <a:lnTo>
                  <a:pt x="210" y="152"/>
                </a:lnTo>
                <a:lnTo>
                  <a:pt x="222" y="148"/>
                </a:lnTo>
                <a:lnTo>
                  <a:pt x="232" y="144"/>
                </a:lnTo>
                <a:lnTo>
                  <a:pt x="240" y="142"/>
                </a:lnTo>
                <a:lnTo>
                  <a:pt x="254" y="138"/>
                </a:lnTo>
                <a:lnTo>
                  <a:pt x="266" y="126"/>
                </a:lnTo>
                <a:lnTo>
                  <a:pt x="284" y="114"/>
                </a:lnTo>
                <a:lnTo>
                  <a:pt x="290" y="106"/>
                </a:lnTo>
                <a:lnTo>
                  <a:pt x="300" y="94"/>
                </a:lnTo>
                <a:lnTo>
                  <a:pt x="304" y="90"/>
                </a:lnTo>
                <a:lnTo>
                  <a:pt x="310" y="84"/>
                </a:lnTo>
                <a:lnTo>
                  <a:pt x="312" y="82"/>
                </a:lnTo>
                <a:lnTo>
                  <a:pt x="312" y="80"/>
                </a:lnTo>
                <a:lnTo>
                  <a:pt x="316" y="66"/>
                </a:lnTo>
                <a:lnTo>
                  <a:pt x="318" y="60"/>
                </a:lnTo>
                <a:lnTo>
                  <a:pt x="318" y="56"/>
                </a:lnTo>
                <a:lnTo>
                  <a:pt x="320" y="54"/>
                </a:lnTo>
                <a:lnTo>
                  <a:pt x="320" y="48"/>
                </a:lnTo>
                <a:lnTo>
                  <a:pt x="322" y="50"/>
                </a:lnTo>
                <a:lnTo>
                  <a:pt x="324" y="50"/>
                </a:lnTo>
                <a:lnTo>
                  <a:pt x="326" y="50"/>
                </a:lnTo>
                <a:lnTo>
                  <a:pt x="330" y="50"/>
                </a:lnTo>
                <a:lnTo>
                  <a:pt x="328" y="42"/>
                </a:lnTo>
                <a:lnTo>
                  <a:pt x="328" y="38"/>
                </a:lnTo>
                <a:lnTo>
                  <a:pt x="328" y="34"/>
                </a:lnTo>
                <a:lnTo>
                  <a:pt x="328" y="32"/>
                </a:lnTo>
                <a:lnTo>
                  <a:pt x="330" y="32"/>
                </a:lnTo>
                <a:lnTo>
                  <a:pt x="330" y="28"/>
                </a:lnTo>
                <a:lnTo>
                  <a:pt x="328" y="26"/>
                </a:lnTo>
                <a:lnTo>
                  <a:pt x="324" y="24"/>
                </a:lnTo>
                <a:lnTo>
                  <a:pt x="322" y="22"/>
                </a:lnTo>
                <a:lnTo>
                  <a:pt x="320" y="20"/>
                </a:lnTo>
                <a:lnTo>
                  <a:pt x="320" y="18"/>
                </a:lnTo>
                <a:lnTo>
                  <a:pt x="318" y="16"/>
                </a:lnTo>
                <a:lnTo>
                  <a:pt x="318" y="14"/>
                </a:lnTo>
                <a:lnTo>
                  <a:pt x="316" y="10"/>
                </a:lnTo>
                <a:lnTo>
                  <a:pt x="312" y="8"/>
                </a:lnTo>
                <a:lnTo>
                  <a:pt x="310" y="8"/>
                </a:lnTo>
                <a:lnTo>
                  <a:pt x="310" y="4"/>
                </a:lnTo>
                <a:lnTo>
                  <a:pt x="314" y="4"/>
                </a:lnTo>
                <a:lnTo>
                  <a:pt x="316" y="6"/>
                </a:lnTo>
                <a:lnTo>
                  <a:pt x="320" y="8"/>
                </a:lnTo>
                <a:lnTo>
                  <a:pt x="324" y="6"/>
                </a:lnTo>
                <a:lnTo>
                  <a:pt x="326" y="6"/>
                </a:lnTo>
                <a:lnTo>
                  <a:pt x="328" y="4"/>
                </a:lnTo>
                <a:lnTo>
                  <a:pt x="330" y="4"/>
                </a:lnTo>
                <a:lnTo>
                  <a:pt x="330" y="2"/>
                </a:lnTo>
                <a:lnTo>
                  <a:pt x="332" y="0"/>
                </a:lnTo>
                <a:lnTo>
                  <a:pt x="336" y="0"/>
                </a:lnTo>
                <a:lnTo>
                  <a:pt x="342" y="4"/>
                </a:lnTo>
                <a:lnTo>
                  <a:pt x="346" y="8"/>
                </a:lnTo>
                <a:lnTo>
                  <a:pt x="350" y="10"/>
                </a:lnTo>
                <a:lnTo>
                  <a:pt x="352" y="10"/>
                </a:lnTo>
                <a:lnTo>
                  <a:pt x="354" y="10"/>
                </a:lnTo>
                <a:lnTo>
                  <a:pt x="356" y="12"/>
                </a:lnTo>
                <a:lnTo>
                  <a:pt x="358" y="12"/>
                </a:lnTo>
                <a:lnTo>
                  <a:pt x="358" y="14"/>
                </a:lnTo>
                <a:lnTo>
                  <a:pt x="358" y="16"/>
                </a:lnTo>
                <a:lnTo>
                  <a:pt x="358" y="18"/>
                </a:lnTo>
                <a:lnTo>
                  <a:pt x="362" y="20"/>
                </a:lnTo>
                <a:lnTo>
                  <a:pt x="364" y="18"/>
                </a:lnTo>
                <a:lnTo>
                  <a:pt x="366" y="20"/>
                </a:lnTo>
                <a:lnTo>
                  <a:pt x="376" y="28"/>
                </a:lnTo>
                <a:lnTo>
                  <a:pt x="376" y="30"/>
                </a:lnTo>
                <a:lnTo>
                  <a:pt x="378" y="32"/>
                </a:lnTo>
                <a:lnTo>
                  <a:pt x="378" y="36"/>
                </a:lnTo>
                <a:lnTo>
                  <a:pt x="380" y="40"/>
                </a:lnTo>
                <a:lnTo>
                  <a:pt x="382" y="42"/>
                </a:lnTo>
                <a:lnTo>
                  <a:pt x="384" y="44"/>
                </a:lnTo>
                <a:lnTo>
                  <a:pt x="382" y="46"/>
                </a:lnTo>
                <a:lnTo>
                  <a:pt x="382" y="48"/>
                </a:lnTo>
                <a:lnTo>
                  <a:pt x="384" y="50"/>
                </a:lnTo>
                <a:lnTo>
                  <a:pt x="384" y="52"/>
                </a:lnTo>
                <a:lnTo>
                  <a:pt x="386" y="54"/>
                </a:lnTo>
                <a:lnTo>
                  <a:pt x="392" y="56"/>
                </a:lnTo>
                <a:lnTo>
                  <a:pt x="404" y="64"/>
                </a:lnTo>
                <a:lnTo>
                  <a:pt x="406" y="66"/>
                </a:lnTo>
                <a:lnTo>
                  <a:pt x="410" y="68"/>
                </a:lnTo>
                <a:lnTo>
                  <a:pt x="412" y="68"/>
                </a:lnTo>
                <a:lnTo>
                  <a:pt x="416" y="68"/>
                </a:lnTo>
                <a:lnTo>
                  <a:pt x="422" y="72"/>
                </a:lnTo>
                <a:lnTo>
                  <a:pt x="422" y="76"/>
                </a:lnTo>
                <a:lnTo>
                  <a:pt x="422" y="78"/>
                </a:lnTo>
                <a:lnTo>
                  <a:pt x="424" y="82"/>
                </a:lnTo>
                <a:lnTo>
                  <a:pt x="426" y="86"/>
                </a:lnTo>
                <a:lnTo>
                  <a:pt x="424" y="88"/>
                </a:lnTo>
                <a:lnTo>
                  <a:pt x="424" y="92"/>
                </a:lnTo>
                <a:lnTo>
                  <a:pt x="424" y="94"/>
                </a:lnTo>
                <a:lnTo>
                  <a:pt x="428" y="96"/>
                </a:lnTo>
                <a:lnTo>
                  <a:pt x="436" y="100"/>
                </a:lnTo>
                <a:lnTo>
                  <a:pt x="438" y="98"/>
                </a:lnTo>
                <a:lnTo>
                  <a:pt x="440" y="96"/>
                </a:lnTo>
                <a:lnTo>
                  <a:pt x="444" y="98"/>
                </a:lnTo>
                <a:lnTo>
                  <a:pt x="446" y="102"/>
                </a:lnTo>
                <a:lnTo>
                  <a:pt x="448" y="114"/>
                </a:lnTo>
                <a:lnTo>
                  <a:pt x="446" y="118"/>
                </a:lnTo>
                <a:lnTo>
                  <a:pt x="446" y="120"/>
                </a:lnTo>
                <a:lnTo>
                  <a:pt x="444" y="120"/>
                </a:lnTo>
                <a:lnTo>
                  <a:pt x="444" y="124"/>
                </a:lnTo>
                <a:lnTo>
                  <a:pt x="446" y="124"/>
                </a:lnTo>
                <a:lnTo>
                  <a:pt x="446" y="126"/>
                </a:lnTo>
                <a:lnTo>
                  <a:pt x="450" y="128"/>
                </a:lnTo>
                <a:lnTo>
                  <a:pt x="452" y="128"/>
                </a:lnTo>
                <a:lnTo>
                  <a:pt x="454" y="128"/>
                </a:lnTo>
                <a:lnTo>
                  <a:pt x="456" y="130"/>
                </a:lnTo>
                <a:lnTo>
                  <a:pt x="458" y="134"/>
                </a:lnTo>
                <a:lnTo>
                  <a:pt x="460" y="132"/>
                </a:lnTo>
                <a:lnTo>
                  <a:pt x="468" y="130"/>
                </a:lnTo>
                <a:lnTo>
                  <a:pt x="474" y="128"/>
                </a:lnTo>
                <a:lnTo>
                  <a:pt x="480" y="130"/>
                </a:lnTo>
                <a:lnTo>
                  <a:pt x="488" y="132"/>
                </a:lnTo>
                <a:lnTo>
                  <a:pt x="494" y="134"/>
                </a:lnTo>
                <a:lnTo>
                  <a:pt x="502" y="128"/>
                </a:lnTo>
                <a:lnTo>
                  <a:pt x="506" y="126"/>
                </a:lnTo>
                <a:lnTo>
                  <a:pt x="508" y="126"/>
                </a:lnTo>
                <a:lnTo>
                  <a:pt x="512" y="126"/>
                </a:lnTo>
                <a:lnTo>
                  <a:pt x="512" y="124"/>
                </a:lnTo>
                <a:lnTo>
                  <a:pt x="516" y="118"/>
                </a:lnTo>
                <a:lnTo>
                  <a:pt x="520" y="114"/>
                </a:lnTo>
                <a:lnTo>
                  <a:pt x="522" y="114"/>
                </a:lnTo>
                <a:lnTo>
                  <a:pt x="522" y="116"/>
                </a:lnTo>
                <a:lnTo>
                  <a:pt x="522" y="118"/>
                </a:lnTo>
                <a:lnTo>
                  <a:pt x="528" y="120"/>
                </a:lnTo>
                <a:lnTo>
                  <a:pt x="532" y="120"/>
                </a:lnTo>
                <a:lnTo>
                  <a:pt x="536" y="122"/>
                </a:lnTo>
                <a:lnTo>
                  <a:pt x="540" y="124"/>
                </a:lnTo>
                <a:lnTo>
                  <a:pt x="550" y="126"/>
                </a:lnTo>
                <a:lnTo>
                  <a:pt x="554" y="124"/>
                </a:lnTo>
                <a:lnTo>
                  <a:pt x="560" y="122"/>
                </a:lnTo>
                <a:lnTo>
                  <a:pt x="568" y="118"/>
                </a:lnTo>
                <a:lnTo>
                  <a:pt x="578" y="126"/>
                </a:lnTo>
                <a:lnTo>
                  <a:pt x="578" y="128"/>
                </a:lnTo>
                <a:lnTo>
                  <a:pt x="582" y="132"/>
                </a:lnTo>
                <a:lnTo>
                  <a:pt x="592" y="134"/>
                </a:lnTo>
                <a:lnTo>
                  <a:pt x="594" y="134"/>
                </a:lnTo>
                <a:lnTo>
                  <a:pt x="596" y="132"/>
                </a:lnTo>
                <a:lnTo>
                  <a:pt x="598" y="134"/>
                </a:lnTo>
                <a:lnTo>
                  <a:pt x="602" y="138"/>
                </a:lnTo>
                <a:lnTo>
                  <a:pt x="602" y="140"/>
                </a:lnTo>
                <a:lnTo>
                  <a:pt x="604" y="142"/>
                </a:lnTo>
                <a:lnTo>
                  <a:pt x="606" y="144"/>
                </a:lnTo>
                <a:lnTo>
                  <a:pt x="608" y="144"/>
                </a:lnTo>
                <a:lnTo>
                  <a:pt x="610" y="146"/>
                </a:lnTo>
                <a:lnTo>
                  <a:pt x="590" y="176"/>
                </a:lnTo>
                <a:lnTo>
                  <a:pt x="588" y="180"/>
                </a:lnTo>
                <a:lnTo>
                  <a:pt x="582" y="190"/>
                </a:lnTo>
                <a:lnTo>
                  <a:pt x="580" y="194"/>
                </a:lnTo>
                <a:lnTo>
                  <a:pt x="576" y="198"/>
                </a:lnTo>
                <a:lnTo>
                  <a:pt x="574" y="202"/>
                </a:lnTo>
                <a:lnTo>
                  <a:pt x="580" y="206"/>
                </a:lnTo>
                <a:lnTo>
                  <a:pt x="584" y="206"/>
                </a:lnTo>
                <a:lnTo>
                  <a:pt x="586" y="206"/>
                </a:lnTo>
                <a:lnTo>
                  <a:pt x="588" y="206"/>
                </a:lnTo>
                <a:lnTo>
                  <a:pt x="590" y="204"/>
                </a:lnTo>
                <a:lnTo>
                  <a:pt x="594" y="202"/>
                </a:lnTo>
                <a:lnTo>
                  <a:pt x="594" y="204"/>
                </a:lnTo>
                <a:lnTo>
                  <a:pt x="596" y="204"/>
                </a:lnTo>
                <a:lnTo>
                  <a:pt x="600" y="208"/>
                </a:lnTo>
                <a:lnTo>
                  <a:pt x="604" y="212"/>
                </a:lnTo>
                <a:lnTo>
                  <a:pt x="604" y="214"/>
                </a:lnTo>
                <a:lnTo>
                  <a:pt x="606" y="216"/>
                </a:lnTo>
                <a:lnTo>
                  <a:pt x="606" y="218"/>
                </a:lnTo>
                <a:lnTo>
                  <a:pt x="610" y="222"/>
                </a:lnTo>
                <a:lnTo>
                  <a:pt x="612" y="222"/>
                </a:lnTo>
                <a:lnTo>
                  <a:pt x="614" y="224"/>
                </a:lnTo>
                <a:lnTo>
                  <a:pt x="616" y="226"/>
                </a:lnTo>
                <a:lnTo>
                  <a:pt x="616" y="228"/>
                </a:lnTo>
                <a:lnTo>
                  <a:pt x="616" y="230"/>
                </a:lnTo>
                <a:lnTo>
                  <a:pt x="614" y="232"/>
                </a:lnTo>
                <a:lnTo>
                  <a:pt x="612" y="234"/>
                </a:lnTo>
                <a:lnTo>
                  <a:pt x="602" y="232"/>
                </a:lnTo>
                <a:lnTo>
                  <a:pt x="600" y="230"/>
                </a:lnTo>
                <a:lnTo>
                  <a:pt x="596" y="228"/>
                </a:lnTo>
                <a:lnTo>
                  <a:pt x="598" y="226"/>
                </a:lnTo>
                <a:lnTo>
                  <a:pt x="596" y="224"/>
                </a:lnTo>
                <a:lnTo>
                  <a:pt x="596" y="222"/>
                </a:lnTo>
                <a:lnTo>
                  <a:pt x="590" y="222"/>
                </a:lnTo>
                <a:lnTo>
                  <a:pt x="588" y="222"/>
                </a:lnTo>
                <a:lnTo>
                  <a:pt x="586" y="224"/>
                </a:lnTo>
                <a:lnTo>
                  <a:pt x="582" y="226"/>
                </a:lnTo>
                <a:lnTo>
                  <a:pt x="580" y="224"/>
                </a:lnTo>
                <a:lnTo>
                  <a:pt x="572" y="222"/>
                </a:lnTo>
                <a:lnTo>
                  <a:pt x="570" y="224"/>
                </a:lnTo>
                <a:lnTo>
                  <a:pt x="568" y="224"/>
                </a:lnTo>
                <a:lnTo>
                  <a:pt x="566" y="228"/>
                </a:lnTo>
                <a:lnTo>
                  <a:pt x="566" y="230"/>
                </a:lnTo>
                <a:lnTo>
                  <a:pt x="562" y="234"/>
                </a:lnTo>
                <a:lnTo>
                  <a:pt x="556" y="234"/>
                </a:lnTo>
                <a:lnTo>
                  <a:pt x="550" y="234"/>
                </a:lnTo>
                <a:lnTo>
                  <a:pt x="544" y="234"/>
                </a:lnTo>
                <a:lnTo>
                  <a:pt x="538" y="238"/>
                </a:lnTo>
                <a:lnTo>
                  <a:pt x="524" y="242"/>
                </a:lnTo>
                <a:lnTo>
                  <a:pt x="520" y="242"/>
                </a:lnTo>
                <a:lnTo>
                  <a:pt x="518" y="240"/>
                </a:lnTo>
                <a:lnTo>
                  <a:pt x="512" y="242"/>
                </a:lnTo>
                <a:lnTo>
                  <a:pt x="510" y="242"/>
                </a:lnTo>
                <a:lnTo>
                  <a:pt x="504" y="248"/>
                </a:lnTo>
                <a:lnTo>
                  <a:pt x="498" y="252"/>
                </a:lnTo>
                <a:lnTo>
                  <a:pt x="492" y="254"/>
                </a:lnTo>
                <a:lnTo>
                  <a:pt x="492" y="256"/>
                </a:lnTo>
                <a:lnTo>
                  <a:pt x="490" y="256"/>
                </a:lnTo>
                <a:lnTo>
                  <a:pt x="488" y="256"/>
                </a:lnTo>
                <a:lnTo>
                  <a:pt x="484" y="256"/>
                </a:lnTo>
                <a:lnTo>
                  <a:pt x="484" y="258"/>
                </a:lnTo>
                <a:lnTo>
                  <a:pt x="484" y="260"/>
                </a:lnTo>
                <a:lnTo>
                  <a:pt x="484" y="262"/>
                </a:lnTo>
                <a:lnTo>
                  <a:pt x="478" y="266"/>
                </a:lnTo>
                <a:lnTo>
                  <a:pt x="472" y="270"/>
                </a:lnTo>
                <a:lnTo>
                  <a:pt x="464" y="272"/>
                </a:lnTo>
                <a:lnTo>
                  <a:pt x="462" y="274"/>
                </a:lnTo>
                <a:lnTo>
                  <a:pt x="458" y="276"/>
                </a:lnTo>
                <a:lnTo>
                  <a:pt x="456" y="278"/>
                </a:lnTo>
                <a:lnTo>
                  <a:pt x="456" y="286"/>
                </a:lnTo>
                <a:lnTo>
                  <a:pt x="454" y="292"/>
                </a:lnTo>
                <a:lnTo>
                  <a:pt x="454" y="294"/>
                </a:lnTo>
                <a:lnTo>
                  <a:pt x="454" y="296"/>
                </a:lnTo>
                <a:lnTo>
                  <a:pt x="454" y="298"/>
                </a:lnTo>
                <a:lnTo>
                  <a:pt x="454" y="304"/>
                </a:lnTo>
                <a:lnTo>
                  <a:pt x="452" y="308"/>
                </a:lnTo>
                <a:lnTo>
                  <a:pt x="448" y="312"/>
                </a:lnTo>
                <a:lnTo>
                  <a:pt x="446" y="314"/>
                </a:lnTo>
                <a:lnTo>
                  <a:pt x="444" y="316"/>
                </a:lnTo>
                <a:lnTo>
                  <a:pt x="440" y="324"/>
                </a:lnTo>
                <a:lnTo>
                  <a:pt x="440" y="326"/>
                </a:lnTo>
                <a:lnTo>
                  <a:pt x="440" y="328"/>
                </a:lnTo>
                <a:lnTo>
                  <a:pt x="440" y="330"/>
                </a:lnTo>
                <a:lnTo>
                  <a:pt x="442" y="336"/>
                </a:lnTo>
                <a:lnTo>
                  <a:pt x="444" y="344"/>
                </a:lnTo>
                <a:lnTo>
                  <a:pt x="444" y="346"/>
                </a:lnTo>
                <a:lnTo>
                  <a:pt x="442" y="350"/>
                </a:lnTo>
                <a:lnTo>
                  <a:pt x="440" y="352"/>
                </a:lnTo>
                <a:lnTo>
                  <a:pt x="440" y="354"/>
                </a:lnTo>
                <a:lnTo>
                  <a:pt x="436" y="354"/>
                </a:lnTo>
                <a:lnTo>
                  <a:pt x="434" y="354"/>
                </a:lnTo>
                <a:lnTo>
                  <a:pt x="432" y="354"/>
                </a:lnTo>
                <a:lnTo>
                  <a:pt x="420" y="364"/>
                </a:lnTo>
                <a:lnTo>
                  <a:pt x="414" y="366"/>
                </a:lnTo>
                <a:lnTo>
                  <a:pt x="410" y="370"/>
                </a:lnTo>
                <a:lnTo>
                  <a:pt x="410" y="372"/>
                </a:lnTo>
                <a:lnTo>
                  <a:pt x="408" y="382"/>
                </a:lnTo>
                <a:lnTo>
                  <a:pt x="408" y="384"/>
                </a:lnTo>
                <a:lnTo>
                  <a:pt x="410" y="384"/>
                </a:lnTo>
                <a:lnTo>
                  <a:pt x="412" y="388"/>
                </a:lnTo>
                <a:lnTo>
                  <a:pt x="414" y="394"/>
                </a:lnTo>
                <a:lnTo>
                  <a:pt x="412" y="396"/>
                </a:lnTo>
                <a:lnTo>
                  <a:pt x="402" y="396"/>
                </a:lnTo>
                <a:lnTo>
                  <a:pt x="402" y="400"/>
                </a:lnTo>
                <a:lnTo>
                  <a:pt x="400" y="406"/>
                </a:lnTo>
                <a:lnTo>
                  <a:pt x="398" y="406"/>
                </a:lnTo>
                <a:lnTo>
                  <a:pt x="398" y="408"/>
                </a:lnTo>
                <a:lnTo>
                  <a:pt x="402" y="410"/>
                </a:lnTo>
                <a:lnTo>
                  <a:pt x="404" y="414"/>
                </a:lnTo>
                <a:lnTo>
                  <a:pt x="404" y="416"/>
                </a:lnTo>
                <a:lnTo>
                  <a:pt x="406" y="416"/>
                </a:lnTo>
                <a:lnTo>
                  <a:pt x="410" y="418"/>
                </a:lnTo>
                <a:lnTo>
                  <a:pt x="412" y="418"/>
                </a:lnTo>
                <a:lnTo>
                  <a:pt x="414" y="418"/>
                </a:lnTo>
                <a:lnTo>
                  <a:pt x="414" y="420"/>
                </a:lnTo>
                <a:lnTo>
                  <a:pt x="414" y="422"/>
                </a:lnTo>
                <a:lnTo>
                  <a:pt x="412" y="424"/>
                </a:lnTo>
                <a:lnTo>
                  <a:pt x="410" y="424"/>
                </a:lnTo>
                <a:lnTo>
                  <a:pt x="410" y="428"/>
                </a:lnTo>
                <a:lnTo>
                  <a:pt x="410" y="430"/>
                </a:lnTo>
                <a:lnTo>
                  <a:pt x="412" y="430"/>
                </a:lnTo>
                <a:lnTo>
                  <a:pt x="416" y="432"/>
                </a:lnTo>
                <a:lnTo>
                  <a:pt x="420" y="438"/>
                </a:lnTo>
                <a:lnTo>
                  <a:pt x="422" y="444"/>
                </a:lnTo>
                <a:lnTo>
                  <a:pt x="422" y="448"/>
                </a:lnTo>
                <a:lnTo>
                  <a:pt x="422" y="450"/>
                </a:lnTo>
                <a:lnTo>
                  <a:pt x="426" y="454"/>
                </a:lnTo>
                <a:lnTo>
                  <a:pt x="430" y="456"/>
                </a:lnTo>
                <a:lnTo>
                  <a:pt x="432" y="464"/>
                </a:lnTo>
                <a:lnTo>
                  <a:pt x="436" y="468"/>
                </a:lnTo>
                <a:lnTo>
                  <a:pt x="438" y="468"/>
                </a:lnTo>
                <a:lnTo>
                  <a:pt x="440" y="468"/>
                </a:lnTo>
                <a:lnTo>
                  <a:pt x="440" y="470"/>
                </a:lnTo>
                <a:lnTo>
                  <a:pt x="442" y="470"/>
                </a:lnTo>
                <a:lnTo>
                  <a:pt x="442" y="472"/>
                </a:lnTo>
                <a:lnTo>
                  <a:pt x="444" y="472"/>
                </a:lnTo>
                <a:lnTo>
                  <a:pt x="444" y="474"/>
                </a:lnTo>
                <a:lnTo>
                  <a:pt x="448" y="480"/>
                </a:lnTo>
                <a:lnTo>
                  <a:pt x="450" y="482"/>
                </a:lnTo>
                <a:lnTo>
                  <a:pt x="454" y="484"/>
                </a:lnTo>
                <a:lnTo>
                  <a:pt x="454" y="488"/>
                </a:lnTo>
                <a:lnTo>
                  <a:pt x="454" y="490"/>
                </a:lnTo>
                <a:lnTo>
                  <a:pt x="454" y="492"/>
                </a:lnTo>
                <a:lnTo>
                  <a:pt x="450" y="496"/>
                </a:lnTo>
                <a:lnTo>
                  <a:pt x="444" y="502"/>
                </a:lnTo>
                <a:lnTo>
                  <a:pt x="442" y="504"/>
                </a:lnTo>
                <a:lnTo>
                  <a:pt x="440" y="506"/>
                </a:lnTo>
                <a:lnTo>
                  <a:pt x="440" y="508"/>
                </a:lnTo>
                <a:lnTo>
                  <a:pt x="452" y="508"/>
                </a:lnTo>
                <a:lnTo>
                  <a:pt x="458" y="508"/>
                </a:lnTo>
                <a:lnTo>
                  <a:pt x="460" y="508"/>
                </a:lnTo>
                <a:lnTo>
                  <a:pt x="466" y="508"/>
                </a:lnTo>
                <a:lnTo>
                  <a:pt x="472" y="510"/>
                </a:lnTo>
                <a:lnTo>
                  <a:pt x="484" y="510"/>
                </a:lnTo>
                <a:lnTo>
                  <a:pt x="484" y="512"/>
                </a:lnTo>
                <a:lnTo>
                  <a:pt x="488" y="514"/>
                </a:lnTo>
                <a:lnTo>
                  <a:pt x="492" y="520"/>
                </a:lnTo>
                <a:lnTo>
                  <a:pt x="492" y="522"/>
                </a:lnTo>
                <a:lnTo>
                  <a:pt x="490" y="526"/>
                </a:lnTo>
                <a:lnTo>
                  <a:pt x="492" y="526"/>
                </a:lnTo>
                <a:lnTo>
                  <a:pt x="492" y="528"/>
                </a:lnTo>
                <a:lnTo>
                  <a:pt x="496" y="530"/>
                </a:lnTo>
                <a:lnTo>
                  <a:pt x="496" y="532"/>
                </a:lnTo>
                <a:lnTo>
                  <a:pt x="496" y="536"/>
                </a:lnTo>
                <a:lnTo>
                  <a:pt x="496" y="540"/>
                </a:lnTo>
                <a:lnTo>
                  <a:pt x="502" y="540"/>
                </a:lnTo>
                <a:lnTo>
                  <a:pt x="504" y="540"/>
                </a:lnTo>
                <a:lnTo>
                  <a:pt x="506" y="540"/>
                </a:lnTo>
                <a:lnTo>
                  <a:pt x="508" y="540"/>
                </a:lnTo>
                <a:lnTo>
                  <a:pt x="524" y="540"/>
                </a:lnTo>
                <a:lnTo>
                  <a:pt x="534" y="540"/>
                </a:lnTo>
                <a:lnTo>
                  <a:pt x="538" y="540"/>
                </a:lnTo>
                <a:lnTo>
                  <a:pt x="542" y="540"/>
                </a:lnTo>
                <a:lnTo>
                  <a:pt x="550" y="536"/>
                </a:lnTo>
                <a:lnTo>
                  <a:pt x="550" y="534"/>
                </a:lnTo>
                <a:lnTo>
                  <a:pt x="550" y="532"/>
                </a:lnTo>
                <a:lnTo>
                  <a:pt x="558" y="530"/>
                </a:lnTo>
                <a:lnTo>
                  <a:pt x="560" y="528"/>
                </a:lnTo>
                <a:lnTo>
                  <a:pt x="566" y="522"/>
                </a:lnTo>
                <a:lnTo>
                  <a:pt x="568" y="520"/>
                </a:lnTo>
                <a:lnTo>
                  <a:pt x="570" y="518"/>
                </a:lnTo>
                <a:lnTo>
                  <a:pt x="578" y="512"/>
                </a:lnTo>
                <a:lnTo>
                  <a:pt x="580" y="510"/>
                </a:lnTo>
                <a:lnTo>
                  <a:pt x="582" y="510"/>
                </a:lnTo>
                <a:lnTo>
                  <a:pt x="584" y="508"/>
                </a:lnTo>
                <a:lnTo>
                  <a:pt x="584" y="512"/>
                </a:lnTo>
                <a:lnTo>
                  <a:pt x="582" y="514"/>
                </a:lnTo>
                <a:lnTo>
                  <a:pt x="580" y="516"/>
                </a:lnTo>
                <a:lnTo>
                  <a:pt x="580" y="520"/>
                </a:lnTo>
                <a:lnTo>
                  <a:pt x="580" y="528"/>
                </a:lnTo>
                <a:lnTo>
                  <a:pt x="580" y="530"/>
                </a:lnTo>
                <a:lnTo>
                  <a:pt x="578" y="530"/>
                </a:lnTo>
                <a:lnTo>
                  <a:pt x="578" y="534"/>
                </a:lnTo>
                <a:lnTo>
                  <a:pt x="578" y="536"/>
                </a:lnTo>
                <a:lnTo>
                  <a:pt x="578" y="544"/>
                </a:lnTo>
                <a:lnTo>
                  <a:pt x="578" y="550"/>
                </a:lnTo>
                <a:lnTo>
                  <a:pt x="578" y="558"/>
                </a:lnTo>
                <a:lnTo>
                  <a:pt x="578" y="572"/>
                </a:lnTo>
                <a:lnTo>
                  <a:pt x="578" y="582"/>
                </a:lnTo>
                <a:lnTo>
                  <a:pt x="578" y="588"/>
                </a:lnTo>
                <a:lnTo>
                  <a:pt x="578" y="592"/>
                </a:lnTo>
                <a:lnTo>
                  <a:pt x="578" y="594"/>
                </a:lnTo>
                <a:lnTo>
                  <a:pt x="580" y="592"/>
                </a:lnTo>
                <a:lnTo>
                  <a:pt x="584" y="590"/>
                </a:lnTo>
                <a:lnTo>
                  <a:pt x="586" y="590"/>
                </a:lnTo>
                <a:lnTo>
                  <a:pt x="586" y="592"/>
                </a:lnTo>
                <a:lnTo>
                  <a:pt x="588" y="594"/>
                </a:lnTo>
                <a:lnTo>
                  <a:pt x="588" y="596"/>
                </a:lnTo>
                <a:lnTo>
                  <a:pt x="590" y="596"/>
                </a:lnTo>
                <a:lnTo>
                  <a:pt x="592" y="598"/>
                </a:lnTo>
                <a:lnTo>
                  <a:pt x="594" y="598"/>
                </a:lnTo>
                <a:lnTo>
                  <a:pt x="600" y="596"/>
                </a:lnTo>
                <a:lnTo>
                  <a:pt x="602" y="596"/>
                </a:lnTo>
                <a:lnTo>
                  <a:pt x="604" y="596"/>
                </a:lnTo>
                <a:lnTo>
                  <a:pt x="608" y="592"/>
                </a:lnTo>
                <a:lnTo>
                  <a:pt x="612" y="590"/>
                </a:lnTo>
                <a:lnTo>
                  <a:pt x="614" y="590"/>
                </a:lnTo>
                <a:lnTo>
                  <a:pt x="616" y="588"/>
                </a:lnTo>
                <a:lnTo>
                  <a:pt x="624" y="590"/>
                </a:lnTo>
                <a:lnTo>
                  <a:pt x="626" y="592"/>
                </a:lnTo>
                <a:lnTo>
                  <a:pt x="628" y="592"/>
                </a:lnTo>
                <a:lnTo>
                  <a:pt x="630" y="592"/>
                </a:lnTo>
                <a:lnTo>
                  <a:pt x="634" y="590"/>
                </a:lnTo>
                <a:close/>
              </a:path>
            </a:pathLst>
          </a:custGeom>
          <a:solidFill>
            <a:srgbClr val="92D050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68" name="Freeform 279"/>
          <p:cNvSpPr>
            <a:spLocks/>
          </p:cNvSpPr>
          <p:nvPr/>
        </p:nvSpPr>
        <p:spPr bwMode="auto">
          <a:xfrm>
            <a:off x="3877344" y="2789591"/>
            <a:ext cx="766763" cy="914400"/>
          </a:xfrm>
          <a:custGeom>
            <a:avLst/>
            <a:gdLst/>
            <a:ahLst/>
            <a:cxnLst>
              <a:cxn ang="0">
                <a:pos x="368" y="656"/>
              </a:cxn>
              <a:cxn ang="0">
                <a:pos x="350" y="670"/>
              </a:cxn>
              <a:cxn ang="0">
                <a:pos x="282" y="692"/>
              </a:cxn>
              <a:cxn ang="0">
                <a:pos x="272" y="714"/>
              </a:cxn>
              <a:cxn ang="0">
                <a:pos x="266" y="700"/>
              </a:cxn>
              <a:cxn ang="0">
                <a:pos x="206" y="674"/>
              </a:cxn>
              <a:cxn ang="0">
                <a:pos x="172" y="662"/>
              </a:cxn>
              <a:cxn ang="0">
                <a:pos x="150" y="678"/>
              </a:cxn>
              <a:cxn ang="0">
                <a:pos x="128" y="706"/>
              </a:cxn>
              <a:cxn ang="0">
                <a:pos x="88" y="690"/>
              </a:cxn>
              <a:cxn ang="0">
                <a:pos x="80" y="660"/>
              </a:cxn>
              <a:cxn ang="0">
                <a:pos x="62" y="608"/>
              </a:cxn>
              <a:cxn ang="0">
                <a:pos x="60" y="592"/>
              </a:cxn>
              <a:cxn ang="0">
                <a:pos x="46" y="578"/>
              </a:cxn>
              <a:cxn ang="0">
                <a:pos x="58" y="554"/>
              </a:cxn>
              <a:cxn ang="0">
                <a:pos x="60" y="524"/>
              </a:cxn>
              <a:cxn ang="0">
                <a:pos x="38" y="498"/>
              </a:cxn>
              <a:cxn ang="0">
                <a:pos x="32" y="472"/>
              </a:cxn>
              <a:cxn ang="0">
                <a:pos x="32" y="452"/>
              </a:cxn>
              <a:cxn ang="0">
                <a:pos x="18" y="436"/>
              </a:cxn>
              <a:cxn ang="0">
                <a:pos x="2" y="406"/>
              </a:cxn>
              <a:cxn ang="0">
                <a:pos x="34" y="378"/>
              </a:cxn>
              <a:cxn ang="0">
                <a:pos x="44" y="356"/>
              </a:cxn>
              <a:cxn ang="0">
                <a:pos x="14" y="320"/>
              </a:cxn>
              <a:cxn ang="0">
                <a:pos x="18" y="284"/>
              </a:cxn>
              <a:cxn ang="0">
                <a:pos x="38" y="252"/>
              </a:cxn>
              <a:cxn ang="0">
                <a:pos x="38" y="230"/>
              </a:cxn>
              <a:cxn ang="0">
                <a:pos x="40" y="188"/>
              </a:cxn>
              <a:cxn ang="0">
                <a:pos x="52" y="156"/>
              </a:cxn>
              <a:cxn ang="0">
                <a:pos x="40" y="118"/>
              </a:cxn>
              <a:cxn ang="0">
                <a:pos x="8" y="66"/>
              </a:cxn>
              <a:cxn ang="0">
                <a:pos x="52" y="78"/>
              </a:cxn>
              <a:cxn ang="0">
                <a:pos x="76" y="70"/>
              </a:cxn>
              <a:cxn ang="0">
                <a:pos x="102" y="52"/>
              </a:cxn>
              <a:cxn ang="0">
                <a:pos x="122" y="40"/>
              </a:cxn>
              <a:cxn ang="0">
                <a:pos x="150" y="24"/>
              </a:cxn>
              <a:cxn ang="0">
                <a:pos x="180" y="8"/>
              </a:cxn>
              <a:cxn ang="0">
                <a:pos x="226" y="4"/>
              </a:cxn>
              <a:cxn ang="0">
                <a:pos x="236" y="20"/>
              </a:cxn>
              <a:cxn ang="0">
                <a:pos x="230" y="42"/>
              </a:cxn>
              <a:cxn ang="0">
                <a:pos x="232" y="86"/>
              </a:cxn>
              <a:cxn ang="0">
                <a:pos x="242" y="112"/>
              </a:cxn>
              <a:cxn ang="0">
                <a:pos x="260" y="126"/>
              </a:cxn>
              <a:cxn ang="0">
                <a:pos x="284" y="152"/>
              </a:cxn>
              <a:cxn ang="0">
                <a:pos x="312" y="152"/>
              </a:cxn>
              <a:cxn ang="0">
                <a:pos x="348" y="162"/>
              </a:cxn>
              <a:cxn ang="0">
                <a:pos x="370" y="182"/>
              </a:cxn>
              <a:cxn ang="0">
                <a:pos x="400" y="188"/>
              </a:cxn>
              <a:cxn ang="0">
                <a:pos x="418" y="210"/>
              </a:cxn>
              <a:cxn ang="0">
                <a:pos x="464" y="214"/>
              </a:cxn>
              <a:cxn ang="0">
                <a:pos x="490" y="244"/>
              </a:cxn>
              <a:cxn ang="0">
                <a:pos x="498" y="298"/>
              </a:cxn>
              <a:cxn ang="0">
                <a:pos x="534" y="364"/>
              </a:cxn>
              <a:cxn ang="0">
                <a:pos x="598" y="370"/>
              </a:cxn>
              <a:cxn ang="0">
                <a:pos x="590" y="400"/>
              </a:cxn>
              <a:cxn ang="0">
                <a:pos x="596" y="420"/>
              </a:cxn>
              <a:cxn ang="0">
                <a:pos x="618" y="430"/>
              </a:cxn>
              <a:cxn ang="0">
                <a:pos x="626" y="450"/>
              </a:cxn>
              <a:cxn ang="0">
                <a:pos x="624" y="516"/>
              </a:cxn>
              <a:cxn ang="0">
                <a:pos x="612" y="566"/>
              </a:cxn>
              <a:cxn ang="0">
                <a:pos x="592" y="556"/>
              </a:cxn>
              <a:cxn ang="0">
                <a:pos x="500" y="528"/>
              </a:cxn>
              <a:cxn ang="0">
                <a:pos x="404" y="558"/>
              </a:cxn>
            </a:cxnLst>
            <a:rect l="0" t="0" r="r" b="b"/>
            <a:pathLst>
              <a:path w="636" h="716">
                <a:moveTo>
                  <a:pt x="386" y="588"/>
                </a:moveTo>
                <a:lnTo>
                  <a:pt x="382" y="594"/>
                </a:lnTo>
                <a:lnTo>
                  <a:pt x="382" y="596"/>
                </a:lnTo>
                <a:lnTo>
                  <a:pt x="382" y="602"/>
                </a:lnTo>
                <a:lnTo>
                  <a:pt x="382" y="606"/>
                </a:lnTo>
                <a:lnTo>
                  <a:pt x="382" y="616"/>
                </a:lnTo>
                <a:lnTo>
                  <a:pt x="382" y="620"/>
                </a:lnTo>
                <a:lnTo>
                  <a:pt x="374" y="640"/>
                </a:lnTo>
                <a:lnTo>
                  <a:pt x="368" y="656"/>
                </a:lnTo>
                <a:lnTo>
                  <a:pt x="368" y="658"/>
                </a:lnTo>
                <a:lnTo>
                  <a:pt x="366" y="664"/>
                </a:lnTo>
                <a:lnTo>
                  <a:pt x="362" y="678"/>
                </a:lnTo>
                <a:lnTo>
                  <a:pt x="358" y="684"/>
                </a:lnTo>
                <a:lnTo>
                  <a:pt x="352" y="680"/>
                </a:lnTo>
                <a:lnTo>
                  <a:pt x="350" y="676"/>
                </a:lnTo>
                <a:lnTo>
                  <a:pt x="350" y="674"/>
                </a:lnTo>
                <a:lnTo>
                  <a:pt x="350" y="672"/>
                </a:lnTo>
                <a:lnTo>
                  <a:pt x="350" y="670"/>
                </a:lnTo>
                <a:lnTo>
                  <a:pt x="346" y="670"/>
                </a:lnTo>
                <a:lnTo>
                  <a:pt x="334" y="670"/>
                </a:lnTo>
                <a:lnTo>
                  <a:pt x="310" y="670"/>
                </a:lnTo>
                <a:lnTo>
                  <a:pt x="306" y="670"/>
                </a:lnTo>
                <a:lnTo>
                  <a:pt x="302" y="670"/>
                </a:lnTo>
                <a:lnTo>
                  <a:pt x="292" y="668"/>
                </a:lnTo>
                <a:lnTo>
                  <a:pt x="290" y="674"/>
                </a:lnTo>
                <a:lnTo>
                  <a:pt x="286" y="684"/>
                </a:lnTo>
                <a:lnTo>
                  <a:pt x="282" y="692"/>
                </a:lnTo>
                <a:lnTo>
                  <a:pt x="280" y="694"/>
                </a:lnTo>
                <a:lnTo>
                  <a:pt x="278" y="696"/>
                </a:lnTo>
                <a:lnTo>
                  <a:pt x="276" y="696"/>
                </a:lnTo>
                <a:lnTo>
                  <a:pt x="276" y="700"/>
                </a:lnTo>
                <a:lnTo>
                  <a:pt x="274" y="700"/>
                </a:lnTo>
                <a:lnTo>
                  <a:pt x="274" y="704"/>
                </a:lnTo>
                <a:lnTo>
                  <a:pt x="274" y="708"/>
                </a:lnTo>
                <a:lnTo>
                  <a:pt x="274" y="710"/>
                </a:lnTo>
                <a:lnTo>
                  <a:pt x="272" y="714"/>
                </a:lnTo>
                <a:lnTo>
                  <a:pt x="272" y="716"/>
                </a:lnTo>
                <a:lnTo>
                  <a:pt x="270" y="716"/>
                </a:lnTo>
                <a:lnTo>
                  <a:pt x="270" y="714"/>
                </a:lnTo>
                <a:lnTo>
                  <a:pt x="270" y="710"/>
                </a:lnTo>
                <a:lnTo>
                  <a:pt x="270" y="708"/>
                </a:lnTo>
                <a:lnTo>
                  <a:pt x="266" y="706"/>
                </a:lnTo>
                <a:lnTo>
                  <a:pt x="264" y="704"/>
                </a:lnTo>
                <a:lnTo>
                  <a:pt x="264" y="702"/>
                </a:lnTo>
                <a:lnTo>
                  <a:pt x="266" y="700"/>
                </a:lnTo>
                <a:lnTo>
                  <a:pt x="264" y="696"/>
                </a:lnTo>
                <a:lnTo>
                  <a:pt x="262" y="690"/>
                </a:lnTo>
                <a:lnTo>
                  <a:pt x="260" y="684"/>
                </a:lnTo>
                <a:lnTo>
                  <a:pt x="258" y="680"/>
                </a:lnTo>
                <a:lnTo>
                  <a:pt x="254" y="678"/>
                </a:lnTo>
                <a:lnTo>
                  <a:pt x="252" y="678"/>
                </a:lnTo>
                <a:lnTo>
                  <a:pt x="238" y="674"/>
                </a:lnTo>
                <a:lnTo>
                  <a:pt x="228" y="674"/>
                </a:lnTo>
                <a:lnTo>
                  <a:pt x="206" y="674"/>
                </a:lnTo>
                <a:lnTo>
                  <a:pt x="204" y="674"/>
                </a:lnTo>
                <a:lnTo>
                  <a:pt x="200" y="674"/>
                </a:lnTo>
                <a:lnTo>
                  <a:pt x="196" y="672"/>
                </a:lnTo>
                <a:lnTo>
                  <a:pt x="194" y="668"/>
                </a:lnTo>
                <a:lnTo>
                  <a:pt x="190" y="664"/>
                </a:lnTo>
                <a:lnTo>
                  <a:pt x="182" y="658"/>
                </a:lnTo>
                <a:lnTo>
                  <a:pt x="176" y="656"/>
                </a:lnTo>
                <a:lnTo>
                  <a:pt x="174" y="656"/>
                </a:lnTo>
                <a:lnTo>
                  <a:pt x="172" y="662"/>
                </a:lnTo>
                <a:lnTo>
                  <a:pt x="172" y="666"/>
                </a:lnTo>
                <a:lnTo>
                  <a:pt x="172" y="668"/>
                </a:lnTo>
                <a:lnTo>
                  <a:pt x="170" y="672"/>
                </a:lnTo>
                <a:lnTo>
                  <a:pt x="168" y="674"/>
                </a:lnTo>
                <a:lnTo>
                  <a:pt x="166" y="674"/>
                </a:lnTo>
                <a:lnTo>
                  <a:pt x="160" y="676"/>
                </a:lnTo>
                <a:lnTo>
                  <a:pt x="158" y="676"/>
                </a:lnTo>
                <a:lnTo>
                  <a:pt x="154" y="678"/>
                </a:lnTo>
                <a:lnTo>
                  <a:pt x="150" y="678"/>
                </a:lnTo>
                <a:lnTo>
                  <a:pt x="148" y="680"/>
                </a:lnTo>
                <a:lnTo>
                  <a:pt x="146" y="686"/>
                </a:lnTo>
                <a:lnTo>
                  <a:pt x="146" y="690"/>
                </a:lnTo>
                <a:lnTo>
                  <a:pt x="142" y="692"/>
                </a:lnTo>
                <a:lnTo>
                  <a:pt x="138" y="692"/>
                </a:lnTo>
                <a:lnTo>
                  <a:pt x="132" y="696"/>
                </a:lnTo>
                <a:lnTo>
                  <a:pt x="132" y="698"/>
                </a:lnTo>
                <a:lnTo>
                  <a:pt x="134" y="702"/>
                </a:lnTo>
                <a:lnTo>
                  <a:pt x="128" y="706"/>
                </a:lnTo>
                <a:lnTo>
                  <a:pt x="124" y="712"/>
                </a:lnTo>
                <a:lnTo>
                  <a:pt x="116" y="712"/>
                </a:lnTo>
                <a:lnTo>
                  <a:pt x="108" y="714"/>
                </a:lnTo>
                <a:lnTo>
                  <a:pt x="104" y="716"/>
                </a:lnTo>
                <a:lnTo>
                  <a:pt x="92" y="714"/>
                </a:lnTo>
                <a:lnTo>
                  <a:pt x="90" y="712"/>
                </a:lnTo>
                <a:lnTo>
                  <a:pt x="88" y="704"/>
                </a:lnTo>
                <a:lnTo>
                  <a:pt x="90" y="696"/>
                </a:lnTo>
                <a:lnTo>
                  <a:pt x="88" y="690"/>
                </a:lnTo>
                <a:lnTo>
                  <a:pt x="86" y="682"/>
                </a:lnTo>
                <a:lnTo>
                  <a:pt x="88" y="682"/>
                </a:lnTo>
                <a:lnTo>
                  <a:pt x="88" y="680"/>
                </a:lnTo>
                <a:lnTo>
                  <a:pt x="86" y="672"/>
                </a:lnTo>
                <a:lnTo>
                  <a:pt x="84" y="670"/>
                </a:lnTo>
                <a:lnTo>
                  <a:pt x="84" y="668"/>
                </a:lnTo>
                <a:lnTo>
                  <a:pt x="78" y="664"/>
                </a:lnTo>
                <a:lnTo>
                  <a:pt x="78" y="662"/>
                </a:lnTo>
                <a:lnTo>
                  <a:pt x="80" y="660"/>
                </a:lnTo>
                <a:lnTo>
                  <a:pt x="80" y="658"/>
                </a:lnTo>
                <a:lnTo>
                  <a:pt x="78" y="656"/>
                </a:lnTo>
                <a:lnTo>
                  <a:pt x="78" y="652"/>
                </a:lnTo>
                <a:lnTo>
                  <a:pt x="78" y="650"/>
                </a:lnTo>
                <a:lnTo>
                  <a:pt x="76" y="648"/>
                </a:lnTo>
                <a:lnTo>
                  <a:pt x="74" y="646"/>
                </a:lnTo>
                <a:lnTo>
                  <a:pt x="74" y="628"/>
                </a:lnTo>
                <a:lnTo>
                  <a:pt x="72" y="624"/>
                </a:lnTo>
                <a:lnTo>
                  <a:pt x="62" y="608"/>
                </a:lnTo>
                <a:lnTo>
                  <a:pt x="60" y="608"/>
                </a:lnTo>
                <a:lnTo>
                  <a:pt x="58" y="608"/>
                </a:lnTo>
                <a:lnTo>
                  <a:pt x="56" y="608"/>
                </a:lnTo>
                <a:lnTo>
                  <a:pt x="56" y="606"/>
                </a:lnTo>
                <a:lnTo>
                  <a:pt x="56" y="604"/>
                </a:lnTo>
                <a:lnTo>
                  <a:pt x="56" y="598"/>
                </a:lnTo>
                <a:lnTo>
                  <a:pt x="58" y="594"/>
                </a:lnTo>
                <a:lnTo>
                  <a:pt x="60" y="594"/>
                </a:lnTo>
                <a:lnTo>
                  <a:pt x="60" y="592"/>
                </a:lnTo>
                <a:lnTo>
                  <a:pt x="60" y="590"/>
                </a:lnTo>
                <a:lnTo>
                  <a:pt x="56" y="588"/>
                </a:lnTo>
                <a:lnTo>
                  <a:pt x="54" y="588"/>
                </a:lnTo>
                <a:lnTo>
                  <a:pt x="52" y="586"/>
                </a:lnTo>
                <a:lnTo>
                  <a:pt x="50" y="584"/>
                </a:lnTo>
                <a:lnTo>
                  <a:pt x="48" y="582"/>
                </a:lnTo>
                <a:lnTo>
                  <a:pt x="46" y="582"/>
                </a:lnTo>
                <a:lnTo>
                  <a:pt x="46" y="580"/>
                </a:lnTo>
                <a:lnTo>
                  <a:pt x="46" y="578"/>
                </a:lnTo>
                <a:lnTo>
                  <a:pt x="48" y="576"/>
                </a:lnTo>
                <a:lnTo>
                  <a:pt x="48" y="570"/>
                </a:lnTo>
                <a:lnTo>
                  <a:pt x="46" y="564"/>
                </a:lnTo>
                <a:lnTo>
                  <a:pt x="44" y="564"/>
                </a:lnTo>
                <a:lnTo>
                  <a:pt x="46" y="562"/>
                </a:lnTo>
                <a:lnTo>
                  <a:pt x="52" y="560"/>
                </a:lnTo>
                <a:lnTo>
                  <a:pt x="54" y="560"/>
                </a:lnTo>
                <a:lnTo>
                  <a:pt x="56" y="560"/>
                </a:lnTo>
                <a:lnTo>
                  <a:pt x="58" y="554"/>
                </a:lnTo>
                <a:lnTo>
                  <a:pt x="56" y="548"/>
                </a:lnTo>
                <a:lnTo>
                  <a:pt x="54" y="546"/>
                </a:lnTo>
                <a:lnTo>
                  <a:pt x="50" y="544"/>
                </a:lnTo>
                <a:lnTo>
                  <a:pt x="50" y="542"/>
                </a:lnTo>
                <a:lnTo>
                  <a:pt x="54" y="536"/>
                </a:lnTo>
                <a:lnTo>
                  <a:pt x="56" y="534"/>
                </a:lnTo>
                <a:lnTo>
                  <a:pt x="58" y="532"/>
                </a:lnTo>
                <a:lnTo>
                  <a:pt x="64" y="526"/>
                </a:lnTo>
                <a:lnTo>
                  <a:pt x="60" y="524"/>
                </a:lnTo>
                <a:lnTo>
                  <a:pt x="58" y="520"/>
                </a:lnTo>
                <a:lnTo>
                  <a:pt x="56" y="520"/>
                </a:lnTo>
                <a:lnTo>
                  <a:pt x="54" y="520"/>
                </a:lnTo>
                <a:lnTo>
                  <a:pt x="52" y="518"/>
                </a:lnTo>
                <a:lnTo>
                  <a:pt x="48" y="514"/>
                </a:lnTo>
                <a:lnTo>
                  <a:pt x="46" y="512"/>
                </a:lnTo>
                <a:lnTo>
                  <a:pt x="40" y="506"/>
                </a:lnTo>
                <a:lnTo>
                  <a:pt x="36" y="502"/>
                </a:lnTo>
                <a:lnTo>
                  <a:pt x="38" y="498"/>
                </a:lnTo>
                <a:lnTo>
                  <a:pt x="36" y="496"/>
                </a:lnTo>
                <a:lnTo>
                  <a:pt x="36" y="490"/>
                </a:lnTo>
                <a:lnTo>
                  <a:pt x="34" y="484"/>
                </a:lnTo>
                <a:lnTo>
                  <a:pt x="34" y="482"/>
                </a:lnTo>
                <a:lnTo>
                  <a:pt x="34" y="480"/>
                </a:lnTo>
                <a:lnTo>
                  <a:pt x="34" y="476"/>
                </a:lnTo>
                <a:lnTo>
                  <a:pt x="34" y="474"/>
                </a:lnTo>
                <a:lnTo>
                  <a:pt x="34" y="472"/>
                </a:lnTo>
                <a:lnTo>
                  <a:pt x="32" y="472"/>
                </a:lnTo>
                <a:lnTo>
                  <a:pt x="32" y="470"/>
                </a:lnTo>
                <a:lnTo>
                  <a:pt x="30" y="464"/>
                </a:lnTo>
                <a:lnTo>
                  <a:pt x="30" y="462"/>
                </a:lnTo>
                <a:lnTo>
                  <a:pt x="30" y="460"/>
                </a:lnTo>
                <a:lnTo>
                  <a:pt x="28" y="458"/>
                </a:lnTo>
                <a:lnTo>
                  <a:pt x="28" y="456"/>
                </a:lnTo>
                <a:lnTo>
                  <a:pt x="30" y="454"/>
                </a:lnTo>
                <a:lnTo>
                  <a:pt x="32" y="454"/>
                </a:lnTo>
                <a:lnTo>
                  <a:pt x="32" y="452"/>
                </a:lnTo>
                <a:lnTo>
                  <a:pt x="32" y="450"/>
                </a:lnTo>
                <a:lnTo>
                  <a:pt x="28" y="450"/>
                </a:lnTo>
                <a:lnTo>
                  <a:pt x="20" y="448"/>
                </a:lnTo>
                <a:lnTo>
                  <a:pt x="18" y="448"/>
                </a:lnTo>
                <a:lnTo>
                  <a:pt x="18" y="446"/>
                </a:lnTo>
                <a:lnTo>
                  <a:pt x="18" y="444"/>
                </a:lnTo>
                <a:lnTo>
                  <a:pt x="18" y="440"/>
                </a:lnTo>
                <a:lnTo>
                  <a:pt x="18" y="438"/>
                </a:lnTo>
                <a:lnTo>
                  <a:pt x="18" y="436"/>
                </a:lnTo>
                <a:lnTo>
                  <a:pt x="16" y="434"/>
                </a:lnTo>
                <a:lnTo>
                  <a:pt x="10" y="428"/>
                </a:lnTo>
                <a:lnTo>
                  <a:pt x="10" y="422"/>
                </a:lnTo>
                <a:lnTo>
                  <a:pt x="10" y="418"/>
                </a:lnTo>
                <a:lnTo>
                  <a:pt x="10" y="416"/>
                </a:lnTo>
                <a:lnTo>
                  <a:pt x="8" y="414"/>
                </a:lnTo>
                <a:lnTo>
                  <a:pt x="4" y="410"/>
                </a:lnTo>
                <a:lnTo>
                  <a:pt x="0" y="410"/>
                </a:lnTo>
                <a:lnTo>
                  <a:pt x="2" y="406"/>
                </a:lnTo>
                <a:lnTo>
                  <a:pt x="4" y="404"/>
                </a:lnTo>
                <a:lnTo>
                  <a:pt x="8" y="402"/>
                </a:lnTo>
                <a:lnTo>
                  <a:pt x="12" y="400"/>
                </a:lnTo>
                <a:lnTo>
                  <a:pt x="14" y="398"/>
                </a:lnTo>
                <a:lnTo>
                  <a:pt x="16" y="398"/>
                </a:lnTo>
                <a:lnTo>
                  <a:pt x="18" y="392"/>
                </a:lnTo>
                <a:lnTo>
                  <a:pt x="26" y="382"/>
                </a:lnTo>
                <a:lnTo>
                  <a:pt x="30" y="380"/>
                </a:lnTo>
                <a:lnTo>
                  <a:pt x="34" y="378"/>
                </a:lnTo>
                <a:lnTo>
                  <a:pt x="36" y="376"/>
                </a:lnTo>
                <a:lnTo>
                  <a:pt x="36" y="374"/>
                </a:lnTo>
                <a:lnTo>
                  <a:pt x="34" y="374"/>
                </a:lnTo>
                <a:lnTo>
                  <a:pt x="34" y="370"/>
                </a:lnTo>
                <a:lnTo>
                  <a:pt x="34" y="366"/>
                </a:lnTo>
                <a:lnTo>
                  <a:pt x="36" y="364"/>
                </a:lnTo>
                <a:lnTo>
                  <a:pt x="46" y="360"/>
                </a:lnTo>
                <a:lnTo>
                  <a:pt x="46" y="358"/>
                </a:lnTo>
                <a:lnTo>
                  <a:pt x="44" y="356"/>
                </a:lnTo>
                <a:lnTo>
                  <a:pt x="42" y="356"/>
                </a:lnTo>
                <a:lnTo>
                  <a:pt x="40" y="354"/>
                </a:lnTo>
                <a:lnTo>
                  <a:pt x="38" y="352"/>
                </a:lnTo>
                <a:lnTo>
                  <a:pt x="34" y="352"/>
                </a:lnTo>
                <a:lnTo>
                  <a:pt x="32" y="354"/>
                </a:lnTo>
                <a:lnTo>
                  <a:pt x="30" y="354"/>
                </a:lnTo>
                <a:lnTo>
                  <a:pt x="28" y="352"/>
                </a:lnTo>
                <a:lnTo>
                  <a:pt x="26" y="350"/>
                </a:lnTo>
                <a:lnTo>
                  <a:pt x="14" y="320"/>
                </a:lnTo>
                <a:lnTo>
                  <a:pt x="18" y="310"/>
                </a:lnTo>
                <a:lnTo>
                  <a:pt x="22" y="304"/>
                </a:lnTo>
                <a:lnTo>
                  <a:pt x="26" y="300"/>
                </a:lnTo>
                <a:lnTo>
                  <a:pt x="28" y="300"/>
                </a:lnTo>
                <a:lnTo>
                  <a:pt x="30" y="300"/>
                </a:lnTo>
                <a:lnTo>
                  <a:pt x="28" y="298"/>
                </a:lnTo>
                <a:lnTo>
                  <a:pt x="26" y="296"/>
                </a:lnTo>
                <a:lnTo>
                  <a:pt x="22" y="290"/>
                </a:lnTo>
                <a:lnTo>
                  <a:pt x="18" y="284"/>
                </a:lnTo>
                <a:lnTo>
                  <a:pt x="18" y="276"/>
                </a:lnTo>
                <a:lnTo>
                  <a:pt x="18" y="274"/>
                </a:lnTo>
                <a:lnTo>
                  <a:pt x="20" y="274"/>
                </a:lnTo>
                <a:lnTo>
                  <a:pt x="24" y="270"/>
                </a:lnTo>
                <a:lnTo>
                  <a:pt x="24" y="268"/>
                </a:lnTo>
                <a:lnTo>
                  <a:pt x="24" y="266"/>
                </a:lnTo>
                <a:lnTo>
                  <a:pt x="24" y="264"/>
                </a:lnTo>
                <a:lnTo>
                  <a:pt x="32" y="258"/>
                </a:lnTo>
                <a:lnTo>
                  <a:pt x="38" y="252"/>
                </a:lnTo>
                <a:lnTo>
                  <a:pt x="38" y="250"/>
                </a:lnTo>
                <a:lnTo>
                  <a:pt x="38" y="246"/>
                </a:lnTo>
                <a:lnTo>
                  <a:pt x="38" y="244"/>
                </a:lnTo>
                <a:lnTo>
                  <a:pt x="40" y="244"/>
                </a:lnTo>
                <a:lnTo>
                  <a:pt x="42" y="244"/>
                </a:lnTo>
                <a:lnTo>
                  <a:pt x="46" y="244"/>
                </a:lnTo>
                <a:lnTo>
                  <a:pt x="42" y="234"/>
                </a:lnTo>
                <a:lnTo>
                  <a:pt x="40" y="232"/>
                </a:lnTo>
                <a:lnTo>
                  <a:pt x="38" y="230"/>
                </a:lnTo>
                <a:lnTo>
                  <a:pt x="38" y="224"/>
                </a:lnTo>
                <a:lnTo>
                  <a:pt x="36" y="222"/>
                </a:lnTo>
                <a:lnTo>
                  <a:pt x="34" y="216"/>
                </a:lnTo>
                <a:lnTo>
                  <a:pt x="36" y="212"/>
                </a:lnTo>
                <a:lnTo>
                  <a:pt x="38" y="208"/>
                </a:lnTo>
                <a:lnTo>
                  <a:pt x="40" y="206"/>
                </a:lnTo>
                <a:lnTo>
                  <a:pt x="40" y="204"/>
                </a:lnTo>
                <a:lnTo>
                  <a:pt x="40" y="192"/>
                </a:lnTo>
                <a:lnTo>
                  <a:pt x="40" y="188"/>
                </a:lnTo>
                <a:lnTo>
                  <a:pt x="40" y="184"/>
                </a:lnTo>
                <a:lnTo>
                  <a:pt x="40" y="180"/>
                </a:lnTo>
                <a:lnTo>
                  <a:pt x="40" y="178"/>
                </a:lnTo>
                <a:lnTo>
                  <a:pt x="40" y="170"/>
                </a:lnTo>
                <a:lnTo>
                  <a:pt x="42" y="168"/>
                </a:lnTo>
                <a:lnTo>
                  <a:pt x="44" y="166"/>
                </a:lnTo>
                <a:lnTo>
                  <a:pt x="48" y="164"/>
                </a:lnTo>
                <a:lnTo>
                  <a:pt x="52" y="158"/>
                </a:lnTo>
                <a:lnTo>
                  <a:pt x="52" y="156"/>
                </a:lnTo>
                <a:lnTo>
                  <a:pt x="56" y="152"/>
                </a:lnTo>
                <a:lnTo>
                  <a:pt x="54" y="150"/>
                </a:lnTo>
                <a:lnTo>
                  <a:pt x="54" y="144"/>
                </a:lnTo>
                <a:lnTo>
                  <a:pt x="52" y="144"/>
                </a:lnTo>
                <a:lnTo>
                  <a:pt x="48" y="134"/>
                </a:lnTo>
                <a:lnTo>
                  <a:pt x="46" y="130"/>
                </a:lnTo>
                <a:lnTo>
                  <a:pt x="42" y="124"/>
                </a:lnTo>
                <a:lnTo>
                  <a:pt x="40" y="120"/>
                </a:lnTo>
                <a:lnTo>
                  <a:pt x="40" y="118"/>
                </a:lnTo>
                <a:lnTo>
                  <a:pt x="38" y="116"/>
                </a:lnTo>
                <a:lnTo>
                  <a:pt x="36" y="114"/>
                </a:lnTo>
                <a:lnTo>
                  <a:pt x="36" y="112"/>
                </a:lnTo>
                <a:lnTo>
                  <a:pt x="30" y="102"/>
                </a:lnTo>
                <a:lnTo>
                  <a:pt x="28" y="98"/>
                </a:lnTo>
                <a:lnTo>
                  <a:pt x="26" y="96"/>
                </a:lnTo>
                <a:lnTo>
                  <a:pt x="16" y="78"/>
                </a:lnTo>
                <a:lnTo>
                  <a:pt x="12" y="74"/>
                </a:lnTo>
                <a:lnTo>
                  <a:pt x="8" y="66"/>
                </a:lnTo>
                <a:lnTo>
                  <a:pt x="10" y="68"/>
                </a:lnTo>
                <a:lnTo>
                  <a:pt x="14" y="68"/>
                </a:lnTo>
                <a:lnTo>
                  <a:pt x="16" y="66"/>
                </a:lnTo>
                <a:lnTo>
                  <a:pt x="18" y="66"/>
                </a:lnTo>
                <a:lnTo>
                  <a:pt x="28" y="68"/>
                </a:lnTo>
                <a:lnTo>
                  <a:pt x="36" y="68"/>
                </a:lnTo>
                <a:lnTo>
                  <a:pt x="48" y="70"/>
                </a:lnTo>
                <a:lnTo>
                  <a:pt x="52" y="70"/>
                </a:lnTo>
                <a:lnTo>
                  <a:pt x="52" y="78"/>
                </a:lnTo>
                <a:lnTo>
                  <a:pt x="54" y="78"/>
                </a:lnTo>
                <a:lnTo>
                  <a:pt x="58" y="78"/>
                </a:lnTo>
                <a:lnTo>
                  <a:pt x="60" y="76"/>
                </a:lnTo>
                <a:lnTo>
                  <a:pt x="62" y="76"/>
                </a:lnTo>
                <a:lnTo>
                  <a:pt x="64" y="76"/>
                </a:lnTo>
                <a:lnTo>
                  <a:pt x="64" y="74"/>
                </a:lnTo>
                <a:lnTo>
                  <a:pt x="72" y="72"/>
                </a:lnTo>
                <a:lnTo>
                  <a:pt x="74" y="70"/>
                </a:lnTo>
                <a:lnTo>
                  <a:pt x="76" y="70"/>
                </a:lnTo>
                <a:lnTo>
                  <a:pt x="78" y="68"/>
                </a:lnTo>
                <a:lnTo>
                  <a:pt x="80" y="66"/>
                </a:lnTo>
                <a:lnTo>
                  <a:pt x="86" y="58"/>
                </a:lnTo>
                <a:lnTo>
                  <a:pt x="86" y="56"/>
                </a:lnTo>
                <a:lnTo>
                  <a:pt x="88" y="54"/>
                </a:lnTo>
                <a:lnTo>
                  <a:pt x="90" y="52"/>
                </a:lnTo>
                <a:lnTo>
                  <a:pt x="92" y="52"/>
                </a:lnTo>
                <a:lnTo>
                  <a:pt x="100" y="52"/>
                </a:lnTo>
                <a:lnTo>
                  <a:pt x="102" y="52"/>
                </a:lnTo>
                <a:lnTo>
                  <a:pt x="104" y="54"/>
                </a:lnTo>
                <a:lnTo>
                  <a:pt x="106" y="54"/>
                </a:lnTo>
                <a:lnTo>
                  <a:pt x="110" y="54"/>
                </a:lnTo>
                <a:lnTo>
                  <a:pt x="110" y="50"/>
                </a:lnTo>
                <a:lnTo>
                  <a:pt x="114" y="44"/>
                </a:lnTo>
                <a:lnTo>
                  <a:pt x="116" y="42"/>
                </a:lnTo>
                <a:lnTo>
                  <a:pt x="118" y="42"/>
                </a:lnTo>
                <a:lnTo>
                  <a:pt x="120" y="42"/>
                </a:lnTo>
                <a:lnTo>
                  <a:pt x="122" y="40"/>
                </a:lnTo>
                <a:lnTo>
                  <a:pt x="128" y="36"/>
                </a:lnTo>
                <a:lnTo>
                  <a:pt x="128" y="34"/>
                </a:lnTo>
                <a:lnTo>
                  <a:pt x="130" y="34"/>
                </a:lnTo>
                <a:lnTo>
                  <a:pt x="134" y="34"/>
                </a:lnTo>
                <a:lnTo>
                  <a:pt x="136" y="34"/>
                </a:lnTo>
                <a:lnTo>
                  <a:pt x="142" y="30"/>
                </a:lnTo>
                <a:lnTo>
                  <a:pt x="144" y="30"/>
                </a:lnTo>
                <a:lnTo>
                  <a:pt x="148" y="26"/>
                </a:lnTo>
                <a:lnTo>
                  <a:pt x="150" y="24"/>
                </a:lnTo>
                <a:lnTo>
                  <a:pt x="152" y="22"/>
                </a:lnTo>
                <a:lnTo>
                  <a:pt x="160" y="16"/>
                </a:lnTo>
                <a:lnTo>
                  <a:pt x="162" y="16"/>
                </a:lnTo>
                <a:lnTo>
                  <a:pt x="164" y="14"/>
                </a:lnTo>
                <a:lnTo>
                  <a:pt x="166" y="12"/>
                </a:lnTo>
                <a:lnTo>
                  <a:pt x="172" y="10"/>
                </a:lnTo>
                <a:lnTo>
                  <a:pt x="174" y="10"/>
                </a:lnTo>
                <a:lnTo>
                  <a:pt x="178" y="10"/>
                </a:lnTo>
                <a:lnTo>
                  <a:pt x="180" y="8"/>
                </a:lnTo>
                <a:lnTo>
                  <a:pt x="192" y="6"/>
                </a:lnTo>
                <a:lnTo>
                  <a:pt x="196" y="4"/>
                </a:lnTo>
                <a:lnTo>
                  <a:pt x="202" y="6"/>
                </a:lnTo>
                <a:lnTo>
                  <a:pt x="208" y="6"/>
                </a:lnTo>
                <a:lnTo>
                  <a:pt x="212" y="4"/>
                </a:lnTo>
                <a:lnTo>
                  <a:pt x="214" y="4"/>
                </a:lnTo>
                <a:lnTo>
                  <a:pt x="222" y="8"/>
                </a:lnTo>
                <a:lnTo>
                  <a:pt x="224" y="8"/>
                </a:lnTo>
                <a:lnTo>
                  <a:pt x="226" y="4"/>
                </a:lnTo>
                <a:lnTo>
                  <a:pt x="228" y="2"/>
                </a:lnTo>
                <a:lnTo>
                  <a:pt x="230" y="0"/>
                </a:lnTo>
                <a:lnTo>
                  <a:pt x="232" y="0"/>
                </a:lnTo>
                <a:lnTo>
                  <a:pt x="234" y="0"/>
                </a:lnTo>
                <a:lnTo>
                  <a:pt x="236" y="4"/>
                </a:lnTo>
                <a:lnTo>
                  <a:pt x="238" y="8"/>
                </a:lnTo>
                <a:lnTo>
                  <a:pt x="238" y="12"/>
                </a:lnTo>
                <a:lnTo>
                  <a:pt x="236" y="14"/>
                </a:lnTo>
                <a:lnTo>
                  <a:pt x="236" y="20"/>
                </a:lnTo>
                <a:lnTo>
                  <a:pt x="238" y="22"/>
                </a:lnTo>
                <a:lnTo>
                  <a:pt x="238" y="28"/>
                </a:lnTo>
                <a:lnTo>
                  <a:pt x="238" y="32"/>
                </a:lnTo>
                <a:lnTo>
                  <a:pt x="236" y="34"/>
                </a:lnTo>
                <a:lnTo>
                  <a:pt x="234" y="36"/>
                </a:lnTo>
                <a:lnTo>
                  <a:pt x="232" y="38"/>
                </a:lnTo>
                <a:lnTo>
                  <a:pt x="232" y="40"/>
                </a:lnTo>
                <a:lnTo>
                  <a:pt x="232" y="42"/>
                </a:lnTo>
                <a:lnTo>
                  <a:pt x="230" y="42"/>
                </a:lnTo>
                <a:lnTo>
                  <a:pt x="230" y="50"/>
                </a:lnTo>
                <a:lnTo>
                  <a:pt x="232" y="58"/>
                </a:lnTo>
                <a:lnTo>
                  <a:pt x="236" y="62"/>
                </a:lnTo>
                <a:lnTo>
                  <a:pt x="236" y="64"/>
                </a:lnTo>
                <a:lnTo>
                  <a:pt x="238" y="70"/>
                </a:lnTo>
                <a:lnTo>
                  <a:pt x="234" y="74"/>
                </a:lnTo>
                <a:lnTo>
                  <a:pt x="232" y="78"/>
                </a:lnTo>
                <a:lnTo>
                  <a:pt x="232" y="80"/>
                </a:lnTo>
                <a:lnTo>
                  <a:pt x="232" y="86"/>
                </a:lnTo>
                <a:lnTo>
                  <a:pt x="234" y="94"/>
                </a:lnTo>
                <a:lnTo>
                  <a:pt x="236" y="98"/>
                </a:lnTo>
                <a:lnTo>
                  <a:pt x="238" y="98"/>
                </a:lnTo>
                <a:lnTo>
                  <a:pt x="240" y="98"/>
                </a:lnTo>
                <a:lnTo>
                  <a:pt x="244" y="104"/>
                </a:lnTo>
                <a:lnTo>
                  <a:pt x="242" y="106"/>
                </a:lnTo>
                <a:lnTo>
                  <a:pt x="242" y="108"/>
                </a:lnTo>
                <a:lnTo>
                  <a:pt x="240" y="110"/>
                </a:lnTo>
                <a:lnTo>
                  <a:pt x="242" y="112"/>
                </a:lnTo>
                <a:lnTo>
                  <a:pt x="244" y="114"/>
                </a:lnTo>
                <a:lnTo>
                  <a:pt x="246" y="110"/>
                </a:lnTo>
                <a:lnTo>
                  <a:pt x="250" y="112"/>
                </a:lnTo>
                <a:lnTo>
                  <a:pt x="250" y="116"/>
                </a:lnTo>
                <a:lnTo>
                  <a:pt x="250" y="118"/>
                </a:lnTo>
                <a:lnTo>
                  <a:pt x="252" y="124"/>
                </a:lnTo>
                <a:lnTo>
                  <a:pt x="254" y="126"/>
                </a:lnTo>
                <a:lnTo>
                  <a:pt x="258" y="126"/>
                </a:lnTo>
                <a:lnTo>
                  <a:pt x="260" y="126"/>
                </a:lnTo>
                <a:lnTo>
                  <a:pt x="262" y="128"/>
                </a:lnTo>
                <a:lnTo>
                  <a:pt x="264" y="128"/>
                </a:lnTo>
                <a:lnTo>
                  <a:pt x="264" y="132"/>
                </a:lnTo>
                <a:lnTo>
                  <a:pt x="266" y="134"/>
                </a:lnTo>
                <a:lnTo>
                  <a:pt x="272" y="136"/>
                </a:lnTo>
                <a:lnTo>
                  <a:pt x="278" y="138"/>
                </a:lnTo>
                <a:lnTo>
                  <a:pt x="278" y="146"/>
                </a:lnTo>
                <a:lnTo>
                  <a:pt x="282" y="150"/>
                </a:lnTo>
                <a:lnTo>
                  <a:pt x="284" y="152"/>
                </a:lnTo>
                <a:lnTo>
                  <a:pt x="286" y="152"/>
                </a:lnTo>
                <a:lnTo>
                  <a:pt x="290" y="152"/>
                </a:lnTo>
                <a:lnTo>
                  <a:pt x="292" y="152"/>
                </a:lnTo>
                <a:lnTo>
                  <a:pt x="296" y="152"/>
                </a:lnTo>
                <a:lnTo>
                  <a:pt x="302" y="154"/>
                </a:lnTo>
                <a:lnTo>
                  <a:pt x="304" y="154"/>
                </a:lnTo>
                <a:lnTo>
                  <a:pt x="308" y="156"/>
                </a:lnTo>
                <a:lnTo>
                  <a:pt x="310" y="154"/>
                </a:lnTo>
                <a:lnTo>
                  <a:pt x="312" y="152"/>
                </a:lnTo>
                <a:lnTo>
                  <a:pt x="314" y="152"/>
                </a:lnTo>
                <a:lnTo>
                  <a:pt x="316" y="152"/>
                </a:lnTo>
                <a:lnTo>
                  <a:pt x="322" y="152"/>
                </a:lnTo>
                <a:lnTo>
                  <a:pt x="332" y="158"/>
                </a:lnTo>
                <a:lnTo>
                  <a:pt x="336" y="162"/>
                </a:lnTo>
                <a:lnTo>
                  <a:pt x="340" y="164"/>
                </a:lnTo>
                <a:lnTo>
                  <a:pt x="344" y="166"/>
                </a:lnTo>
                <a:lnTo>
                  <a:pt x="346" y="164"/>
                </a:lnTo>
                <a:lnTo>
                  <a:pt x="348" y="162"/>
                </a:lnTo>
                <a:lnTo>
                  <a:pt x="350" y="162"/>
                </a:lnTo>
                <a:lnTo>
                  <a:pt x="354" y="162"/>
                </a:lnTo>
                <a:lnTo>
                  <a:pt x="354" y="164"/>
                </a:lnTo>
                <a:lnTo>
                  <a:pt x="356" y="168"/>
                </a:lnTo>
                <a:lnTo>
                  <a:pt x="358" y="172"/>
                </a:lnTo>
                <a:lnTo>
                  <a:pt x="360" y="172"/>
                </a:lnTo>
                <a:lnTo>
                  <a:pt x="364" y="176"/>
                </a:lnTo>
                <a:lnTo>
                  <a:pt x="366" y="178"/>
                </a:lnTo>
                <a:lnTo>
                  <a:pt x="370" y="182"/>
                </a:lnTo>
                <a:lnTo>
                  <a:pt x="374" y="180"/>
                </a:lnTo>
                <a:lnTo>
                  <a:pt x="376" y="182"/>
                </a:lnTo>
                <a:lnTo>
                  <a:pt x="376" y="184"/>
                </a:lnTo>
                <a:lnTo>
                  <a:pt x="388" y="190"/>
                </a:lnTo>
                <a:lnTo>
                  <a:pt x="390" y="190"/>
                </a:lnTo>
                <a:lnTo>
                  <a:pt x="392" y="190"/>
                </a:lnTo>
                <a:lnTo>
                  <a:pt x="396" y="190"/>
                </a:lnTo>
                <a:lnTo>
                  <a:pt x="398" y="188"/>
                </a:lnTo>
                <a:lnTo>
                  <a:pt x="400" y="188"/>
                </a:lnTo>
                <a:lnTo>
                  <a:pt x="404" y="190"/>
                </a:lnTo>
                <a:lnTo>
                  <a:pt x="404" y="192"/>
                </a:lnTo>
                <a:lnTo>
                  <a:pt x="406" y="196"/>
                </a:lnTo>
                <a:lnTo>
                  <a:pt x="410" y="202"/>
                </a:lnTo>
                <a:lnTo>
                  <a:pt x="412" y="202"/>
                </a:lnTo>
                <a:lnTo>
                  <a:pt x="412" y="204"/>
                </a:lnTo>
                <a:lnTo>
                  <a:pt x="416" y="206"/>
                </a:lnTo>
                <a:lnTo>
                  <a:pt x="418" y="208"/>
                </a:lnTo>
                <a:lnTo>
                  <a:pt x="418" y="210"/>
                </a:lnTo>
                <a:lnTo>
                  <a:pt x="420" y="212"/>
                </a:lnTo>
                <a:lnTo>
                  <a:pt x="424" y="210"/>
                </a:lnTo>
                <a:lnTo>
                  <a:pt x="430" y="210"/>
                </a:lnTo>
                <a:lnTo>
                  <a:pt x="432" y="210"/>
                </a:lnTo>
                <a:lnTo>
                  <a:pt x="436" y="212"/>
                </a:lnTo>
                <a:lnTo>
                  <a:pt x="448" y="210"/>
                </a:lnTo>
                <a:lnTo>
                  <a:pt x="460" y="208"/>
                </a:lnTo>
                <a:lnTo>
                  <a:pt x="462" y="212"/>
                </a:lnTo>
                <a:lnTo>
                  <a:pt x="464" y="214"/>
                </a:lnTo>
                <a:lnTo>
                  <a:pt x="474" y="220"/>
                </a:lnTo>
                <a:lnTo>
                  <a:pt x="476" y="220"/>
                </a:lnTo>
                <a:lnTo>
                  <a:pt x="480" y="224"/>
                </a:lnTo>
                <a:lnTo>
                  <a:pt x="484" y="226"/>
                </a:lnTo>
                <a:lnTo>
                  <a:pt x="490" y="226"/>
                </a:lnTo>
                <a:lnTo>
                  <a:pt x="496" y="236"/>
                </a:lnTo>
                <a:lnTo>
                  <a:pt x="494" y="240"/>
                </a:lnTo>
                <a:lnTo>
                  <a:pt x="492" y="242"/>
                </a:lnTo>
                <a:lnTo>
                  <a:pt x="490" y="244"/>
                </a:lnTo>
                <a:lnTo>
                  <a:pt x="490" y="246"/>
                </a:lnTo>
                <a:lnTo>
                  <a:pt x="490" y="254"/>
                </a:lnTo>
                <a:lnTo>
                  <a:pt x="492" y="256"/>
                </a:lnTo>
                <a:lnTo>
                  <a:pt x="496" y="264"/>
                </a:lnTo>
                <a:lnTo>
                  <a:pt x="498" y="272"/>
                </a:lnTo>
                <a:lnTo>
                  <a:pt x="498" y="276"/>
                </a:lnTo>
                <a:lnTo>
                  <a:pt x="498" y="288"/>
                </a:lnTo>
                <a:lnTo>
                  <a:pt x="498" y="294"/>
                </a:lnTo>
                <a:lnTo>
                  <a:pt x="498" y="298"/>
                </a:lnTo>
                <a:lnTo>
                  <a:pt x="492" y="298"/>
                </a:lnTo>
                <a:lnTo>
                  <a:pt x="482" y="298"/>
                </a:lnTo>
                <a:lnTo>
                  <a:pt x="490" y="304"/>
                </a:lnTo>
                <a:lnTo>
                  <a:pt x="500" y="318"/>
                </a:lnTo>
                <a:lnTo>
                  <a:pt x="502" y="346"/>
                </a:lnTo>
                <a:lnTo>
                  <a:pt x="502" y="362"/>
                </a:lnTo>
                <a:lnTo>
                  <a:pt x="504" y="362"/>
                </a:lnTo>
                <a:lnTo>
                  <a:pt x="510" y="362"/>
                </a:lnTo>
                <a:lnTo>
                  <a:pt x="534" y="364"/>
                </a:lnTo>
                <a:lnTo>
                  <a:pt x="536" y="364"/>
                </a:lnTo>
                <a:lnTo>
                  <a:pt x="564" y="366"/>
                </a:lnTo>
                <a:lnTo>
                  <a:pt x="588" y="366"/>
                </a:lnTo>
                <a:lnTo>
                  <a:pt x="592" y="366"/>
                </a:lnTo>
                <a:lnTo>
                  <a:pt x="594" y="366"/>
                </a:lnTo>
                <a:lnTo>
                  <a:pt x="594" y="364"/>
                </a:lnTo>
                <a:lnTo>
                  <a:pt x="598" y="364"/>
                </a:lnTo>
                <a:lnTo>
                  <a:pt x="598" y="366"/>
                </a:lnTo>
                <a:lnTo>
                  <a:pt x="598" y="370"/>
                </a:lnTo>
                <a:lnTo>
                  <a:pt x="596" y="376"/>
                </a:lnTo>
                <a:lnTo>
                  <a:pt x="596" y="378"/>
                </a:lnTo>
                <a:lnTo>
                  <a:pt x="594" y="378"/>
                </a:lnTo>
                <a:lnTo>
                  <a:pt x="592" y="380"/>
                </a:lnTo>
                <a:lnTo>
                  <a:pt x="590" y="384"/>
                </a:lnTo>
                <a:lnTo>
                  <a:pt x="590" y="386"/>
                </a:lnTo>
                <a:lnTo>
                  <a:pt x="588" y="388"/>
                </a:lnTo>
                <a:lnTo>
                  <a:pt x="590" y="398"/>
                </a:lnTo>
                <a:lnTo>
                  <a:pt x="590" y="400"/>
                </a:lnTo>
                <a:lnTo>
                  <a:pt x="590" y="402"/>
                </a:lnTo>
                <a:lnTo>
                  <a:pt x="592" y="404"/>
                </a:lnTo>
                <a:lnTo>
                  <a:pt x="592" y="410"/>
                </a:lnTo>
                <a:lnTo>
                  <a:pt x="592" y="414"/>
                </a:lnTo>
                <a:lnTo>
                  <a:pt x="592" y="416"/>
                </a:lnTo>
                <a:lnTo>
                  <a:pt x="592" y="418"/>
                </a:lnTo>
                <a:lnTo>
                  <a:pt x="594" y="418"/>
                </a:lnTo>
                <a:lnTo>
                  <a:pt x="594" y="420"/>
                </a:lnTo>
                <a:lnTo>
                  <a:pt x="596" y="420"/>
                </a:lnTo>
                <a:lnTo>
                  <a:pt x="598" y="420"/>
                </a:lnTo>
                <a:lnTo>
                  <a:pt x="600" y="422"/>
                </a:lnTo>
                <a:lnTo>
                  <a:pt x="606" y="426"/>
                </a:lnTo>
                <a:lnTo>
                  <a:pt x="606" y="428"/>
                </a:lnTo>
                <a:lnTo>
                  <a:pt x="608" y="428"/>
                </a:lnTo>
                <a:lnTo>
                  <a:pt x="612" y="430"/>
                </a:lnTo>
                <a:lnTo>
                  <a:pt x="612" y="432"/>
                </a:lnTo>
                <a:lnTo>
                  <a:pt x="618" y="428"/>
                </a:lnTo>
                <a:lnTo>
                  <a:pt x="618" y="430"/>
                </a:lnTo>
                <a:lnTo>
                  <a:pt x="624" y="434"/>
                </a:lnTo>
                <a:lnTo>
                  <a:pt x="624" y="436"/>
                </a:lnTo>
                <a:lnTo>
                  <a:pt x="624" y="438"/>
                </a:lnTo>
                <a:lnTo>
                  <a:pt x="624" y="440"/>
                </a:lnTo>
                <a:lnTo>
                  <a:pt x="624" y="442"/>
                </a:lnTo>
                <a:lnTo>
                  <a:pt x="626" y="444"/>
                </a:lnTo>
                <a:lnTo>
                  <a:pt x="626" y="446"/>
                </a:lnTo>
                <a:lnTo>
                  <a:pt x="626" y="448"/>
                </a:lnTo>
                <a:lnTo>
                  <a:pt x="626" y="450"/>
                </a:lnTo>
                <a:lnTo>
                  <a:pt x="632" y="466"/>
                </a:lnTo>
                <a:lnTo>
                  <a:pt x="636" y="470"/>
                </a:lnTo>
                <a:lnTo>
                  <a:pt x="634" y="472"/>
                </a:lnTo>
                <a:lnTo>
                  <a:pt x="632" y="474"/>
                </a:lnTo>
                <a:lnTo>
                  <a:pt x="628" y="484"/>
                </a:lnTo>
                <a:lnTo>
                  <a:pt x="620" y="508"/>
                </a:lnTo>
                <a:lnTo>
                  <a:pt x="622" y="508"/>
                </a:lnTo>
                <a:lnTo>
                  <a:pt x="624" y="510"/>
                </a:lnTo>
                <a:lnTo>
                  <a:pt x="624" y="516"/>
                </a:lnTo>
                <a:lnTo>
                  <a:pt x="620" y="516"/>
                </a:lnTo>
                <a:lnTo>
                  <a:pt x="618" y="518"/>
                </a:lnTo>
                <a:lnTo>
                  <a:pt x="616" y="520"/>
                </a:lnTo>
                <a:lnTo>
                  <a:pt x="614" y="524"/>
                </a:lnTo>
                <a:lnTo>
                  <a:pt x="608" y="536"/>
                </a:lnTo>
                <a:lnTo>
                  <a:pt x="602" y="550"/>
                </a:lnTo>
                <a:lnTo>
                  <a:pt x="600" y="554"/>
                </a:lnTo>
                <a:lnTo>
                  <a:pt x="600" y="556"/>
                </a:lnTo>
                <a:lnTo>
                  <a:pt x="612" y="566"/>
                </a:lnTo>
                <a:lnTo>
                  <a:pt x="610" y="570"/>
                </a:lnTo>
                <a:lnTo>
                  <a:pt x="598" y="576"/>
                </a:lnTo>
                <a:lnTo>
                  <a:pt x="596" y="576"/>
                </a:lnTo>
                <a:lnTo>
                  <a:pt x="598" y="574"/>
                </a:lnTo>
                <a:lnTo>
                  <a:pt x="598" y="572"/>
                </a:lnTo>
                <a:lnTo>
                  <a:pt x="598" y="568"/>
                </a:lnTo>
                <a:lnTo>
                  <a:pt x="598" y="558"/>
                </a:lnTo>
                <a:lnTo>
                  <a:pt x="594" y="556"/>
                </a:lnTo>
                <a:lnTo>
                  <a:pt x="592" y="556"/>
                </a:lnTo>
                <a:lnTo>
                  <a:pt x="578" y="548"/>
                </a:lnTo>
                <a:lnTo>
                  <a:pt x="566" y="540"/>
                </a:lnTo>
                <a:lnTo>
                  <a:pt x="550" y="530"/>
                </a:lnTo>
                <a:lnTo>
                  <a:pt x="546" y="530"/>
                </a:lnTo>
                <a:lnTo>
                  <a:pt x="532" y="530"/>
                </a:lnTo>
                <a:lnTo>
                  <a:pt x="524" y="528"/>
                </a:lnTo>
                <a:lnTo>
                  <a:pt x="504" y="526"/>
                </a:lnTo>
                <a:lnTo>
                  <a:pt x="502" y="526"/>
                </a:lnTo>
                <a:lnTo>
                  <a:pt x="500" y="528"/>
                </a:lnTo>
                <a:lnTo>
                  <a:pt x="480" y="532"/>
                </a:lnTo>
                <a:lnTo>
                  <a:pt x="476" y="534"/>
                </a:lnTo>
                <a:lnTo>
                  <a:pt x="470" y="536"/>
                </a:lnTo>
                <a:lnTo>
                  <a:pt x="460" y="536"/>
                </a:lnTo>
                <a:lnTo>
                  <a:pt x="432" y="540"/>
                </a:lnTo>
                <a:lnTo>
                  <a:pt x="416" y="542"/>
                </a:lnTo>
                <a:lnTo>
                  <a:pt x="412" y="544"/>
                </a:lnTo>
                <a:lnTo>
                  <a:pt x="410" y="548"/>
                </a:lnTo>
                <a:lnTo>
                  <a:pt x="404" y="558"/>
                </a:lnTo>
                <a:lnTo>
                  <a:pt x="402" y="568"/>
                </a:lnTo>
                <a:lnTo>
                  <a:pt x="390" y="580"/>
                </a:lnTo>
                <a:lnTo>
                  <a:pt x="386" y="588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6" name="Group 280"/>
          <p:cNvGrpSpPr>
            <a:grpSpLocks/>
          </p:cNvGrpSpPr>
          <p:nvPr/>
        </p:nvGrpSpPr>
        <p:grpSpPr bwMode="auto">
          <a:xfrm>
            <a:off x="5008993" y="1961709"/>
            <a:ext cx="267745" cy="296213"/>
            <a:chOff x="3470" y="864"/>
            <a:chExt cx="222" cy="232"/>
          </a:xfrm>
        </p:grpSpPr>
        <p:sp>
          <p:nvSpPr>
            <p:cNvPr id="170" name="Freeform 282"/>
            <p:cNvSpPr>
              <a:spLocks/>
            </p:cNvSpPr>
            <p:nvPr/>
          </p:nvSpPr>
          <p:spPr bwMode="auto">
            <a:xfrm>
              <a:off x="3572" y="864"/>
              <a:ext cx="8" cy="4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4" y="4"/>
                </a:cxn>
              </a:cxnLst>
              <a:rect l="0" t="0" r="r" b="b"/>
              <a:pathLst>
                <a:path w="8" h="4">
                  <a:moveTo>
                    <a:pt x="4" y="4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1" name="Freeform 283"/>
            <p:cNvSpPr>
              <a:spLocks/>
            </p:cNvSpPr>
            <p:nvPr/>
          </p:nvSpPr>
          <p:spPr bwMode="auto">
            <a:xfrm>
              <a:off x="3574" y="868"/>
              <a:ext cx="12" cy="14"/>
            </a:xfrm>
            <a:custGeom>
              <a:avLst/>
              <a:gdLst/>
              <a:ahLst/>
              <a:cxnLst>
                <a:cxn ang="0">
                  <a:pos x="6" y="14"/>
                </a:cxn>
                <a:cxn ang="0">
                  <a:pos x="4" y="12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10" y="6"/>
                </a:cxn>
                <a:cxn ang="0">
                  <a:pos x="12" y="8"/>
                </a:cxn>
                <a:cxn ang="0">
                  <a:pos x="12" y="10"/>
                </a:cxn>
                <a:cxn ang="0">
                  <a:pos x="10" y="10"/>
                </a:cxn>
                <a:cxn ang="0">
                  <a:pos x="8" y="12"/>
                </a:cxn>
                <a:cxn ang="0">
                  <a:pos x="6" y="14"/>
                </a:cxn>
              </a:cxnLst>
              <a:rect l="0" t="0" r="r" b="b"/>
              <a:pathLst>
                <a:path w="12" h="14">
                  <a:moveTo>
                    <a:pt x="6" y="14"/>
                  </a:moveTo>
                  <a:lnTo>
                    <a:pt x="4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2" name="Freeform 284"/>
            <p:cNvSpPr>
              <a:spLocks/>
            </p:cNvSpPr>
            <p:nvPr/>
          </p:nvSpPr>
          <p:spPr bwMode="auto">
            <a:xfrm>
              <a:off x="3598" y="928"/>
              <a:ext cx="8" cy="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4" y="6"/>
                </a:cxn>
                <a:cxn ang="0">
                  <a:pos x="2" y="6"/>
                </a:cxn>
              </a:cxnLst>
              <a:rect l="0" t="0" r="r" b="b"/>
              <a:pathLst>
                <a:path w="8" h="6">
                  <a:moveTo>
                    <a:pt x="2" y="6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3" name="Freeform 285"/>
            <p:cNvSpPr>
              <a:spLocks/>
            </p:cNvSpPr>
            <p:nvPr/>
          </p:nvSpPr>
          <p:spPr bwMode="auto">
            <a:xfrm>
              <a:off x="3588" y="934"/>
              <a:ext cx="14" cy="12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0" y="4"/>
                </a:cxn>
                <a:cxn ang="0">
                  <a:pos x="12" y="4"/>
                </a:cxn>
                <a:cxn ang="0">
                  <a:pos x="14" y="0"/>
                </a:cxn>
                <a:cxn ang="0">
                  <a:pos x="14" y="2"/>
                </a:cxn>
                <a:cxn ang="0">
                  <a:pos x="12" y="8"/>
                </a:cxn>
                <a:cxn ang="0">
                  <a:pos x="10" y="8"/>
                </a:cxn>
                <a:cxn ang="0">
                  <a:pos x="10" y="10"/>
                </a:cxn>
                <a:cxn ang="0">
                  <a:pos x="8" y="10"/>
                </a:cxn>
                <a:cxn ang="0">
                  <a:pos x="6" y="10"/>
                </a:cxn>
                <a:cxn ang="0">
                  <a:pos x="0" y="12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4" name="Freeform 286"/>
            <p:cNvSpPr>
              <a:spLocks/>
            </p:cNvSpPr>
            <p:nvPr/>
          </p:nvSpPr>
          <p:spPr bwMode="auto">
            <a:xfrm>
              <a:off x="3584" y="950"/>
              <a:ext cx="16" cy="16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2" y="16"/>
                </a:cxn>
                <a:cxn ang="0">
                  <a:pos x="2" y="14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2" y="8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6" y="4"/>
                </a:cxn>
                <a:cxn ang="0">
                  <a:pos x="16" y="6"/>
                </a:cxn>
                <a:cxn ang="0">
                  <a:pos x="10" y="14"/>
                </a:cxn>
                <a:cxn ang="0">
                  <a:pos x="6" y="16"/>
                </a:cxn>
                <a:cxn ang="0">
                  <a:pos x="4" y="16"/>
                </a:cxn>
              </a:cxnLst>
              <a:rect l="0" t="0" r="r" b="b"/>
              <a:pathLst>
                <a:path w="16" h="16">
                  <a:moveTo>
                    <a:pt x="4" y="16"/>
                  </a:moveTo>
                  <a:lnTo>
                    <a:pt x="2" y="16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8"/>
                  </a:lnTo>
                  <a:lnTo>
                    <a:pt x="4" y="4"/>
                  </a:lnTo>
                  <a:lnTo>
                    <a:pt x="6" y="4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0" y="14"/>
                  </a:lnTo>
                  <a:lnTo>
                    <a:pt x="6" y="16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5" name="Freeform 287"/>
            <p:cNvSpPr>
              <a:spLocks/>
            </p:cNvSpPr>
            <p:nvPr/>
          </p:nvSpPr>
          <p:spPr bwMode="auto">
            <a:xfrm>
              <a:off x="3574" y="952"/>
              <a:ext cx="10" cy="24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0" y="24"/>
                </a:cxn>
                <a:cxn ang="0">
                  <a:pos x="0" y="22"/>
                </a:cxn>
                <a:cxn ang="0">
                  <a:pos x="0" y="20"/>
                </a:cxn>
                <a:cxn ang="0">
                  <a:pos x="2" y="20"/>
                </a:cxn>
                <a:cxn ang="0">
                  <a:pos x="2" y="18"/>
                </a:cxn>
                <a:cxn ang="0">
                  <a:pos x="2" y="16"/>
                </a:cxn>
                <a:cxn ang="0">
                  <a:pos x="4" y="16"/>
                </a:cxn>
                <a:cxn ang="0">
                  <a:pos x="4" y="14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8" y="10"/>
                </a:cxn>
                <a:cxn ang="0">
                  <a:pos x="8" y="12"/>
                </a:cxn>
                <a:cxn ang="0">
                  <a:pos x="10" y="12"/>
                </a:cxn>
                <a:cxn ang="0">
                  <a:pos x="10" y="14"/>
                </a:cxn>
                <a:cxn ang="0">
                  <a:pos x="10" y="16"/>
                </a:cxn>
                <a:cxn ang="0">
                  <a:pos x="10" y="18"/>
                </a:cxn>
                <a:cxn ang="0">
                  <a:pos x="10" y="20"/>
                </a:cxn>
                <a:cxn ang="0">
                  <a:pos x="8" y="20"/>
                </a:cxn>
                <a:cxn ang="0">
                  <a:pos x="6" y="20"/>
                </a:cxn>
                <a:cxn ang="0">
                  <a:pos x="6" y="22"/>
                </a:cxn>
                <a:cxn ang="0">
                  <a:pos x="4" y="24"/>
                </a:cxn>
              </a:cxnLst>
              <a:rect l="0" t="0" r="r" b="b"/>
              <a:pathLst>
                <a:path w="10" h="24">
                  <a:moveTo>
                    <a:pt x="4" y="24"/>
                  </a:move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4" y="8"/>
                  </a:lnTo>
                  <a:lnTo>
                    <a:pt x="6" y="4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20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4" y="2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6" name="Freeform 288"/>
            <p:cNvSpPr>
              <a:spLocks/>
            </p:cNvSpPr>
            <p:nvPr/>
          </p:nvSpPr>
          <p:spPr bwMode="auto">
            <a:xfrm>
              <a:off x="3580" y="966"/>
              <a:ext cx="42" cy="24"/>
            </a:xfrm>
            <a:custGeom>
              <a:avLst/>
              <a:gdLst/>
              <a:ahLst/>
              <a:cxnLst>
                <a:cxn ang="0">
                  <a:pos x="22" y="24"/>
                </a:cxn>
                <a:cxn ang="0">
                  <a:pos x="20" y="20"/>
                </a:cxn>
                <a:cxn ang="0">
                  <a:pos x="18" y="20"/>
                </a:cxn>
                <a:cxn ang="0">
                  <a:pos x="16" y="18"/>
                </a:cxn>
                <a:cxn ang="0">
                  <a:pos x="14" y="18"/>
                </a:cxn>
                <a:cxn ang="0">
                  <a:pos x="12" y="18"/>
                </a:cxn>
                <a:cxn ang="0">
                  <a:pos x="10" y="18"/>
                </a:cxn>
                <a:cxn ang="0">
                  <a:pos x="8" y="18"/>
                </a:cxn>
                <a:cxn ang="0">
                  <a:pos x="6" y="18"/>
                </a:cxn>
                <a:cxn ang="0">
                  <a:pos x="4" y="18"/>
                </a:cxn>
                <a:cxn ang="0">
                  <a:pos x="2" y="18"/>
                </a:cxn>
                <a:cxn ang="0">
                  <a:pos x="0" y="14"/>
                </a:cxn>
                <a:cxn ang="0">
                  <a:pos x="0" y="10"/>
                </a:cxn>
                <a:cxn ang="0">
                  <a:pos x="2" y="8"/>
                </a:cxn>
                <a:cxn ang="0">
                  <a:pos x="6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4" y="8"/>
                </a:cxn>
                <a:cxn ang="0">
                  <a:pos x="16" y="6"/>
                </a:cxn>
                <a:cxn ang="0">
                  <a:pos x="18" y="4"/>
                </a:cxn>
                <a:cxn ang="0">
                  <a:pos x="20" y="4"/>
                </a:cxn>
                <a:cxn ang="0">
                  <a:pos x="22" y="4"/>
                </a:cxn>
                <a:cxn ang="0">
                  <a:pos x="24" y="4"/>
                </a:cxn>
                <a:cxn ang="0">
                  <a:pos x="28" y="2"/>
                </a:cxn>
                <a:cxn ang="0">
                  <a:pos x="32" y="2"/>
                </a:cxn>
                <a:cxn ang="0">
                  <a:pos x="36" y="2"/>
                </a:cxn>
                <a:cxn ang="0">
                  <a:pos x="36" y="0"/>
                </a:cxn>
                <a:cxn ang="0">
                  <a:pos x="38" y="0"/>
                </a:cxn>
                <a:cxn ang="0">
                  <a:pos x="38" y="2"/>
                </a:cxn>
                <a:cxn ang="0">
                  <a:pos x="40" y="2"/>
                </a:cxn>
                <a:cxn ang="0">
                  <a:pos x="40" y="4"/>
                </a:cxn>
                <a:cxn ang="0">
                  <a:pos x="42" y="4"/>
                </a:cxn>
                <a:cxn ang="0">
                  <a:pos x="42" y="6"/>
                </a:cxn>
                <a:cxn ang="0">
                  <a:pos x="42" y="8"/>
                </a:cxn>
                <a:cxn ang="0">
                  <a:pos x="40" y="8"/>
                </a:cxn>
                <a:cxn ang="0">
                  <a:pos x="40" y="10"/>
                </a:cxn>
                <a:cxn ang="0">
                  <a:pos x="38" y="10"/>
                </a:cxn>
                <a:cxn ang="0">
                  <a:pos x="34" y="12"/>
                </a:cxn>
                <a:cxn ang="0">
                  <a:pos x="32" y="14"/>
                </a:cxn>
                <a:cxn ang="0">
                  <a:pos x="30" y="16"/>
                </a:cxn>
                <a:cxn ang="0">
                  <a:pos x="30" y="18"/>
                </a:cxn>
                <a:cxn ang="0">
                  <a:pos x="28" y="18"/>
                </a:cxn>
                <a:cxn ang="0">
                  <a:pos x="28" y="20"/>
                </a:cxn>
                <a:cxn ang="0">
                  <a:pos x="28" y="22"/>
                </a:cxn>
                <a:cxn ang="0">
                  <a:pos x="26" y="22"/>
                </a:cxn>
                <a:cxn ang="0">
                  <a:pos x="22" y="24"/>
                </a:cxn>
              </a:cxnLst>
              <a:rect l="0" t="0" r="r" b="b"/>
              <a:pathLst>
                <a:path w="42" h="24">
                  <a:moveTo>
                    <a:pt x="22" y="24"/>
                  </a:moveTo>
                  <a:lnTo>
                    <a:pt x="20" y="20"/>
                  </a:lnTo>
                  <a:lnTo>
                    <a:pt x="18" y="20"/>
                  </a:lnTo>
                  <a:lnTo>
                    <a:pt x="16" y="18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6" y="6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24" y="4"/>
                  </a:lnTo>
                  <a:lnTo>
                    <a:pt x="28" y="2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4" y="12"/>
                  </a:lnTo>
                  <a:lnTo>
                    <a:pt x="32" y="14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8" y="20"/>
                  </a:lnTo>
                  <a:lnTo>
                    <a:pt x="28" y="22"/>
                  </a:lnTo>
                  <a:lnTo>
                    <a:pt x="26" y="22"/>
                  </a:lnTo>
                  <a:lnTo>
                    <a:pt x="22" y="2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7" name="Freeform 289"/>
            <p:cNvSpPr>
              <a:spLocks/>
            </p:cNvSpPr>
            <p:nvPr/>
          </p:nvSpPr>
          <p:spPr bwMode="auto">
            <a:xfrm>
              <a:off x="3566" y="974"/>
              <a:ext cx="12" cy="14"/>
            </a:xfrm>
            <a:custGeom>
              <a:avLst/>
              <a:gdLst/>
              <a:ahLst/>
              <a:cxnLst>
                <a:cxn ang="0">
                  <a:pos x="10" y="14"/>
                </a:cxn>
                <a:cxn ang="0">
                  <a:pos x="8" y="14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4" y="10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10" y="4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2" y="10"/>
                </a:cxn>
                <a:cxn ang="0">
                  <a:pos x="12" y="12"/>
                </a:cxn>
                <a:cxn ang="0">
                  <a:pos x="10" y="14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lnTo>
                    <a:pt x="8" y="14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2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0" y="1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8" name="Freeform 290"/>
            <p:cNvSpPr>
              <a:spLocks/>
            </p:cNvSpPr>
            <p:nvPr/>
          </p:nvSpPr>
          <p:spPr bwMode="auto">
            <a:xfrm>
              <a:off x="3610" y="982"/>
              <a:ext cx="26" cy="12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2" y="10"/>
                </a:cxn>
                <a:cxn ang="0">
                  <a:pos x="0" y="8"/>
                </a:cxn>
                <a:cxn ang="0">
                  <a:pos x="6" y="4"/>
                </a:cxn>
                <a:cxn ang="0">
                  <a:pos x="8" y="2"/>
                </a:cxn>
                <a:cxn ang="0">
                  <a:pos x="10" y="0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20" y="0"/>
                </a:cxn>
                <a:cxn ang="0">
                  <a:pos x="22" y="2"/>
                </a:cxn>
                <a:cxn ang="0">
                  <a:pos x="24" y="2"/>
                </a:cxn>
                <a:cxn ang="0">
                  <a:pos x="26" y="4"/>
                </a:cxn>
                <a:cxn ang="0">
                  <a:pos x="26" y="6"/>
                </a:cxn>
                <a:cxn ang="0">
                  <a:pos x="26" y="8"/>
                </a:cxn>
                <a:cxn ang="0">
                  <a:pos x="24" y="10"/>
                </a:cxn>
                <a:cxn ang="0">
                  <a:pos x="22" y="10"/>
                </a:cxn>
                <a:cxn ang="0">
                  <a:pos x="18" y="12"/>
                </a:cxn>
                <a:cxn ang="0">
                  <a:pos x="14" y="12"/>
                </a:cxn>
                <a:cxn ang="0">
                  <a:pos x="12" y="12"/>
                </a:cxn>
                <a:cxn ang="0">
                  <a:pos x="10" y="12"/>
                </a:cxn>
                <a:cxn ang="0">
                  <a:pos x="8" y="12"/>
                </a:cxn>
              </a:cxnLst>
              <a:rect l="0" t="0" r="r" b="b"/>
              <a:pathLst>
                <a:path w="26" h="12">
                  <a:moveTo>
                    <a:pt x="8" y="12"/>
                  </a:moveTo>
                  <a:lnTo>
                    <a:pt x="2" y="10"/>
                  </a:lnTo>
                  <a:lnTo>
                    <a:pt x="0" y="8"/>
                  </a:lnTo>
                  <a:lnTo>
                    <a:pt x="6" y="4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4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18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8" y="1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79" name="Freeform 291"/>
            <p:cNvSpPr>
              <a:spLocks/>
            </p:cNvSpPr>
            <p:nvPr/>
          </p:nvSpPr>
          <p:spPr bwMode="auto">
            <a:xfrm>
              <a:off x="3552" y="982"/>
              <a:ext cx="12" cy="6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4" y="2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2" y="4"/>
                </a:cxn>
                <a:cxn ang="0">
                  <a:pos x="10" y="4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6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4"/>
                </a:cxn>
              </a:cxnLst>
              <a:rect l="0" t="0" r="r" b="b"/>
              <a:pathLst>
                <a:path w="12" h="6">
                  <a:moveTo>
                    <a:pt x="2" y="4"/>
                  </a:moveTo>
                  <a:lnTo>
                    <a:pt x="4" y="2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0" name="Freeform 292"/>
            <p:cNvSpPr>
              <a:spLocks/>
            </p:cNvSpPr>
            <p:nvPr/>
          </p:nvSpPr>
          <p:spPr bwMode="auto">
            <a:xfrm>
              <a:off x="3546" y="986"/>
              <a:ext cx="26" cy="16"/>
            </a:xfrm>
            <a:custGeom>
              <a:avLst/>
              <a:gdLst/>
              <a:ahLst/>
              <a:cxnLst>
                <a:cxn ang="0">
                  <a:pos x="10" y="16"/>
                </a:cxn>
                <a:cxn ang="0">
                  <a:pos x="8" y="16"/>
                </a:cxn>
                <a:cxn ang="0">
                  <a:pos x="6" y="16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2" y="6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10" y="4"/>
                </a:cxn>
                <a:cxn ang="0">
                  <a:pos x="14" y="2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22" y="0"/>
                </a:cxn>
                <a:cxn ang="0">
                  <a:pos x="26" y="2"/>
                </a:cxn>
                <a:cxn ang="0">
                  <a:pos x="26" y="4"/>
                </a:cxn>
                <a:cxn ang="0">
                  <a:pos x="20" y="10"/>
                </a:cxn>
                <a:cxn ang="0">
                  <a:pos x="18" y="10"/>
                </a:cxn>
                <a:cxn ang="0">
                  <a:pos x="16" y="10"/>
                </a:cxn>
                <a:cxn ang="0">
                  <a:pos x="14" y="12"/>
                </a:cxn>
                <a:cxn ang="0">
                  <a:pos x="12" y="14"/>
                </a:cxn>
                <a:cxn ang="0">
                  <a:pos x="10" y="16"/>
                </a:cxn>
              </a:cxnLst>
              <a:rect l="0" t="0" r="r" b="b"/>
              <a:pathLst>
                <a:path w="26" h="16">
                  <a:moveTo>
                    <a:pt x="10" y="16"/>
                  </a:moveTo>
                  <a:lnTo>
                    <a:pt x="8" y="16"/>
                  </a:lnTo>
                  <a:lnTo>
                    <a:pt x="6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6" y="2"/>
                  </a:lnTo>
                  <a:lnTo>
                    <a:pt x="26" y="4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10" y="16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1" name="Freeform 293"/>
            <p:cNvSpPr>
              <a:spLocks/>
            </p:cNvSpPr>
            <p:nvPr/>
          </p:nvSpPr>
          <p:spPr bwMode="auto">
            <a:xfrm>
              <a:off x="3558" y="992"/>
              <a:ext cx="132" cy="96"/>
            </a:xfrm>
            <a:custGeom>
              <a:avLst/>
              <a:gdLst/>
              <a:ahLst/>
              <a:cxnLst>
                <a:cxn ang="0">
                  <a:pos x="100" y="80"/>
                </a:cxn>
                <a:cxn ang="0">
                  <a:pos x="78" y="86"/>
                </a:cxn>
                <a:cxn ang="0">
                  <a:pos x="68" y="88"/>
                </a:cxn>
                <a:cxn ang="0">
                  <a:pos x="58" y="90"/>
                </a:cxn>
                <a:cxn ang="0">
                  <a:pos x="56" y="86"/>
                </a:cxn>
                <a:cxn ang="0">
                  <a:pos x="58" y="88"/>
                </a:cxn>
                <a:cxn ang="0">
                  <a:pos x="58" y="92"/>
                </a:cxn>
                <a:cxn ang="0">
                  <a:pos x="54" y="94"/>
                </a:cxn>
                <a:cxn ang="0">
                  <a:pos x="48" y="92"/>
                </a:cxn>
                <a:cxn ang="0">
                  <a:pos x="40" y="88"/>
                </a:cxn>
                <a:cxn ang="0">
                  <a:pos x="38" y="92"/>
                </a:cxn>
                <a:cxn ang="0">
                  <a:pos x="24" y="96"/>
                </a:cxn>
                <a:cxn ang="0">
                  <a:pos x="12" y="94"/>
                </a:cxn>
                <a:cxn ang="0">
                  <a:pos x="8" y="90"/>
                </a:cxn>
                <a:cxn ang="0">
                  <a:pos x="6" y="82"/>
                </a:cxn>
                <a:cxn ang="0">
                  <a:pos x="2" y="76"/>
                </a:cxn>
                <a:cxn ang="0">
                  <a:pos x="0" y="68"/>
                </a:cxn>
                <a:cxn ang="0">
                  <a:pos x="4" y="56"/>
                </a:cxn>
                <a:cxn ang="0">
                  <a:pos x="8" y="58"/>
                </a:cxn>
                <a:cxn ang="0">
                  <a:pos x="14" y="56"/>
                </a:cxn>
                <a:cxn ang="0">
                  <a:pos x="8" y="54"/>
                </a:cxn>
                <a:cxn ang="0">
                  <a:pos x="2" y="52"/>
                </a:cxn>
                <a:cxn ang="0">
                  <a:pos x="2" y="46"/>
                </a:cxn>
                <a:cxn ang="0">
                  <a:pos x="4" y="28"/>
                </a:cxn>
                <a:cxn ang="0">
                  <a:pos x="12" y="32"/>
                </a:cxn>
                <a:cxn ang="0">
                  <a:pos x="12" y="30"/>
                </a:cxn>
                <a:cxn ang="0">
                  <a:pos x="8" y="28"/>
                </a:cxn>
                <a:cxn ang="0">
                  <a:pos x="6" y="24"/>
                </a:cxn>
                <a:cxn ang="0">
                  <a:pos x="6" y="16"/>
                </a:cxn>
                <a:cxn ang="0">
                  <a:pos x="8" y="10"/>
                </a:cxn>
                <a:cxn ang="0">
                  <a:pos x="12" y="6"/>
                </a:cxn>
                <a:cxn ang="0">
                  <a:pos x="16" y="2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36" y="2"/>
                </a:cxn>
                <a:cxn ang="0">
                  <a:pos x="54" y="6"/>
                </a:cxn>
                <a:cxn ang="0">
                  <a:pos x="64" y="8"/>
                </a:cxn>
                <a:cxn ang="0">
                  <a:pos x="78" y="6"/>
                </a:cxn>
                <a:cxn ang="0">
                  <a:pos x="80" y="2"/>
                </a:cxn>
                <a:cxn ang="0">
                  <a:pos x="90" y="2"/>
                </a:cxn>
                <a:cxn ang="0">
                  <a:pos x="108" y="6"/>
                </a:cxn>
                <a:cxn ang="0">
                  <a:pos x="130" y="10"/>
                </a:cxn>
                <a:cxn ang="0">
                  <a:pos x="132" y="12"/>
                </a:cxn>
                <a:cxn ang="0">
                  <a:pos x="132" y="16"/>
                </a:cxn>
                <a:cxn ang="0">
                  <a:pos x="128" y="24"/>
                </a:cxn>
                <a:cxn ang="0">
                  <a:pos x="126" y="32"/>
                </a:cxn>
                <a:cxn ang="0">
                  <a:pos x="124" y="42"/>
                </a:cxn>
                <a:cxn ang="0">
                  <a:pos x="122" y="46"/>
                </a:cxn>
                <a:cxn ang="0">
                  <a:pos x="118" y="46"/>
                </a:cxn>
                <a:cxn ang="0">
                  <a:pos x="118" y="50"/>
                </a:cxn>
                <a:cxn ang="0">
                  <a:pos x="118" y="54"/>
                </a:cxn>
                <a:cxn ang="0">
                  <a:pos x="106" y="76"/>
                </a:cxn>
              </a:cxnLst>
              <a:rect l="0" t="0" r="r" b="b"/>
              <a:pathLst>
                <a:path w="132" h="96">
                  <a:moveTo>
                    <a:pt x="104" y="78"/>
                  </a:moveTo>
                  <a:lnTo>
                    <a:pt x="100" y="80"/>
                  </a:lnTo>
                  <a:lnTo>
                    <a:pt x="90" y="84"/>
                  </a:lnTo>
                  <a:lnTo>
                    <a:pt x="78" y="86"/>
                  </a:lnTo>
                  <a:lnTo>
                    <a:pt x="70" y="84"/>
                  </a:lnTo>
                  <a:lnTo>
                    <a:pt x="68" y="88"/>
                  </a:lnTo>
                  <a:lnTo>
                    <a:pt x="62" y="92"/>
                  </a:lnTo>
                  <a:lnTo>
                    <a:pt x="58" y="90"/>
                  </a:lnTo>
                  <a:lnTo>
                    <a:pt x="58" y="84"/>
                  </a:lnTo>
                  <a:lnTo>
                    <a:pt x="56" y="86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8" y="92"/>
                  </a:lnTo>
                  <a:lnTo>
                    <a:pt x="56" y="94"/>
                  </a:lnTo>
                  <a:lnTo>
                    <a:pt x="54" y="94"/>
                  </a:lnTo>
                  <a:lnTo>
                    <a:pt x="50" y="94"/>
                  </a:lnTo>
                  <a:lnTo>
                    <a:pt x="48" y="92"/>
                  </a:lnTo>
                  <a:lnTo>
                    <a:pt x="46" y="92"/>
                  </a:lnTo>
                  <a:lnTo>
                    <a:pt x="40" y="88"/>
                  </a:lnTo>
                  <a:lnTo>
                    <a:pt x="40" y="90"/>
                  </a:lnTo>
                  <a:lnTo>
                    <a:pt x="38" y="92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2" y="94"/>
                  </a:lnTo>
                  <a:lnTo>
                    <a:pt x="10" y="92"/>
                  </a:lnTo>
                  <a:lnTo>
                    <a:pt x="8" y="90"/>
                  </a:lnTo>
                  <a:lnTo>
                    <a:pt x="8" y="84"/>
                  </a:lnTo>
                  <a:lnTo>
                    <a:pt x="6" y="82"/>
                  </a:lnTo>
                  <a:lnTo>
                    <a:pt x="4" y="80"/>
                  </a:lnTo>
                  <a:lnTo>
                    <a:pt x="2" y="76"/>
                  </a:lnTo>
                  <a:lnTo>
                    <a:pt x="0" y="74"/>
                  </a:lnTo>
                  <a:lnTo>
                    <a:pt x="0" y="68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10" y="58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8" y="54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30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12" y="32"/>
                  </a:lnTo>
                  <a:lnTo>
                    <a:pt x="14" y="32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8" y="28"/>
                  </a:lnTo>
                  <a:lnTo>
                    <a:pt x="6" y="28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8" y="10"/>
                  </a:lnTo>
                  <a:lnTo>
                    <a:pt x="8" y="8"/>
                  </a:lnTo>
                  <a:lnTo>
                    <a:pt x="12" y="6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4" y="8"/>
                  </a:lnTo>
                  <a:lnTo>
                    <a:pt x="76" y="6"/>
                  </a:lnTo>
                  <a:lnTo>
                    <a:pt x="78" y="6"/>
                  </a:lnTo>
                  <a:lnTo>
                    <a:pt x="78" y="4"/>
                  </a:lnTo>
                  <a:lnTo>
                    <a:pt x="80" y="2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8" y="2"/>
                  </a:lnTo>
                  <a:lnTo>
                    <a:pt x="108" y="6"/>
                  </a:lnTo>
                  <a:lnTo>
                    <a:pt x="118" y="6"/>
                  </a:lnTo>
                  <a:lnTo>
                    <a:pt x="130" y="10"/>
                  </a:lnTo>
                  <a:lnTo>
                    <a:pt x="132" y="10"/>
                  </a:lnTo>
                  <a:lnTo>
                    <a:pt x="132" y="12"/>
                  </a:lnTo>
                  <a:lnTo>
                    <a:pt x="132" y="14"/>
                  </a:lnTo>
                  <a:lnTo>
                    <a:pt x="132" y="16"/>
                  </a:lnTo>
                  <a:lnTo>
                    <a:pt x="130" y="1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26" y="32"/>
                  </a:lnTo>
                  <a:lnTo>
                    <a:pt x="126" y="34"/>
                  </a:lnTo>
                  <a:lnTo>
                    <a:pt x="124" y="42"/>
                  </a:lnTo>
                  <a:lnTo>
                    <a:pt x="124" y="44"/>
                  </a:lnTo>
                  <a:lnTo>
                    <a:pt x="122" y="46"/>
                  </a:lnTo>
                  <a:lnTo>
                    <a:pt x="120" y="46"/>
                  </a:lnTo>
                  <a:lnTo>
                    <a:pt x="118" y="46"/>
                  </a:lnTo>
                  <a:lnTo>
                    <a:pt x="118" y="48"/>
                  </a:lnTo>
                  <a:lnTo>
                    <a:pt x="118" y="50"/>
                  </a:lnTo>
                  <a:lnTo>
                    <a:pt x="118" y="52"/>
                  </a:lnTo>
                  <a:lnTo>
                    <a:pt x="118" y="54"/>
                  </a:lnTo>
                  <a:lnTo>
                    <a:pt x="112" y="64"/>
                  </a:lnTo>
                  <a:lnTo>
                    <a:pt x="106" y="76"/>
                  </a:lnTo>
                  <a:lnTo>
                    <a:pt x="104" y="7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2" name="Freeform 294"/>
            <p:cNvSpPr>
              <a:spLocks/>
            </p:cNvSpPr>
            <p:nvPr/>
          </p:nvSpPr>
          <p:spPr bwMode="auto">
            <a:xfrm>
              <a:off x="3526" y="992"/>
              <a:ext cx="18" cy="22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0"/>
                </a:cxn>
                <a:cxn ang="0">
                  <a:pos x="8" y="8"/>
                </a:cxn>
                <a:cxn ang="0">
                  <a:pos x="8" y="6"/>
                </a:cxn>
                <a:cxn ang="0">
                  <a:pos x="10" y="6"/>
                </a:cxn>
                <a:cxn ang="0">
                  <a:pos x="10" y="4"/>
                </a:cxn>
                <a:cxn ang="0">
                  <a:pos x="12" y="2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16" y="6"/>
                </a:cxn>
                <a:cxn ang="0">
                  <a:pos x="14" y="10"/>
                </a:cxn>
                <a:cxn ang="0">
                  <a:pos x="10" y="14"/>
                </a:cxn>
                <a:cxn ang="0">
                  <a:pos x="8" y="16"/>
                </a:cxn>
                <a:cxn ang="0">
                  <a:pos x="4" y="18"/>
                </a:cxn>
                <a:cxn ang="0">
                  <a:pos x="4" y="20"/>
                </a:cxn>
                <a:cxn ang="0">
                  <a:pos x="2" y="20"/>
                </a:cxn>
                <a:cxn ang="0">
                  <a:pos x="0" y="22"/>
                </a:cxn>
              </a:cxnLst>
              <a:rect l="0" t="0" r="r" b="b"/>
              <a:pathLst>
                <a:path w="18" h="22">
                  <a:moveTo>
                    <a:pt x="0" y="22"/>
                  </a:moveTo>
                  <a:lnTo>
                    <a:pt x="0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6" y="6"/>
                  </a:lnTo>
                  <a:lnTo>
                    <a:pt x="14" y="10"/>
                  </a:lnTo>
                  <a:lnTo>
                    <a:pt x="10" y="14"/>
                  </a:lnTo>
                  <a:lnTo>
                    <a:pt x="8" y="16"/>
                  </a:lnTo>
                  <a:lnTo>
                    <a:pt x="4" y="18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3" name="Freeform 295"/>
            <p:cNvSpPr>
              <a:spLocks/>
            </p:cNvSpPr>
            <p:nvPr/>
          </p:nvSpPr>
          <p:spPr bwMode="auto">
            <a:xfrm>
              <a:off x="3554" y="998"/>
              <a:ext cx="8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6" y="8"/>
                </a:cxn>
                <a:cxn ang="0">
                  <a:pos x="4" y="8"/>
                </a:cxn>
                <a:cxn ang="0">
                  <a:pos x="2" y="8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2" y="6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4" name="Freeform 296"/>
            <p:cNvSpPr>
              <a:spLocks/>
            </p:cNvSpPr>
            <p:nvPr/>
          </p:nvSpPr>
          <p:spPr bwMode="auto">
            <a:xfrm>
              <a:off x="3540" y="1002"/>
              <a:ext cx="10" cy="14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2" y="6"/>
                </a:cxn>
                <a:cxn ang="0">
                  <a:pos x="6" y="0"/>
                </a:cxn>
                <a:cxn ang="0">
                  <a:pos x="10" y="2"/>
                </a:cxn>
                <a:cxn ang="0">
                  <a:pos x="10" y="4"/>
                </a:cxn>
                <a:cxn ang="0">
                  <a:pos x="8" y="4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4" y="10"/>
                </a:cxn>
                <a:cxn ang="0">
                  <a:pos x="4" y="12"/>
                </a:cxn>
                <a:cxn ang="0">
                  <a:pos x="4" y="14"/>
                </a:cxn>
                <a:cxn ang="0">
                  <a:pos x="2" y="14"/>
                </a:cxn>
              </a:cxnLst>
              <a:rect l="0" t="0" r="r" b="b"/>
              <a:pathLst>
                <a:path w="10" h="14">
                  <a:moveTo>
                    <a:pt x="2" y="14"/>
                  </a:moveTo>
                  <a:lnTo>
                    <a:pt x="0" y="14"/>
                  </a:lnTo>
                  <a:lnTo>
                    <a:pt x="0" y="12"/>
                  </a:lnTo>
                  <a:lnTo>
                    <a:pt x="2" y="6"/>
                  </a:lnTo>
                  <a:lnTo>
                    <a:pt x="6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2" y="14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5" name="Freeform 297"/>
            <p:cNvSpPr>
              <a:spLocks/>
            </p:cNvSpPr>
            <p:nvPr/>
          </p:nvSpPr>
          <p:spPr bwMode="auto">
            <a:xfrm>
              <a:off x="3548" y="1006"/>
              <a:ext cx="14" cy="12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" y="10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12" y="6"/>
                </a:cxn>
                <a:cxn ang="0">
                  <a:pos x="10" y="8"/>
                </a:cxn>
                <a:cxn ang="0">
                  <a:pos x="2" y="12"/>
                </a:cxn>
                <a:cxn ang="0">
                  <a:pos x="0" y="12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2" y="10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2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6" name="Freeform 298"/>
            <p:cNvSpPr>
              <a:spLocks/>
            </p:cNvSpPr>
            <p:nvPr/>
          </p:nvSpPr>
          <p:spPr bwMode="auto">
            <a:xfrm>
              <a:off x="3544" y="1006"/>
              <a:ext cx="10" cy="12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10" y="0"/>
                </a:cxn>
                <a:cxn ang="0">
                  <a:pos x="8" y="2"/>
                </a:cxn>
                <a:cxn ang="0">
                  <a:pos x="6" y="8"/>
                </a:cxn>
                <a:cxn ang="0">
                  <a:pos x="4" y="10"/>
                </a:cxn>
                <a:cxn ang="0">
                  <a:pos x="0" y="12"/>
                </a:cxn>
              </a:cxnLst>
              <a:rect l="0" t="0" r="r" b="b"/>
              <a:pathLst>
                <a:path w="10" h="12">
                  <a:moveTo>
                    <a:pt x="0" y="12"/>
                  </a:move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8"/>
                  </a:lnTo>
                  <a:lnTo>
                    <a:pt x="4" y="1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7" name="Freeform 299"/>
            <p:cNvSpPr>
              <a:spLocks/>
            </p:cNvSpPr>
            <p:nvPr/>
          </p:nvSpPr>
          <p:spPr bwMode="auto">
            <a:xfrm>
              <a:off x="3496" y="1016"/>
              <a:ext cx="44" cy="52"/>
            </a:xfrm>
            <a:custGeom>
              <a:avLst/>
              <a:gdLst/>
              <a:ahLst/>
              <a:cxnLst>
                <a:cxn ang="0">
                  <a:pos x="4" y="52"/>
                </a:cxn>
                <a:cxn ang="0">
                  <a:pos x="2" y="52"/>
                </a:cxn>
                <a:cxn ang="0">
                  <a:pos x="0" y="50"/>
                </a:cxn>
                <a:cxn ang="0">
                  <a:pos x="0" y="48"/>
                </a:cxn>
                <a:cxn ang="0">
                  <a:pos x="2" y="46"/>
                </a:cxn>
                <a:cxn ang="0">
                  <a:pos x="4" y="44"/>
                </a:cxn>
                <a:cxn ang="0">
                  <a:pos x="4" y="42"/>
                </a:cxn>
                <a:cxn ang="0">
                  <a:pos x="4" y="40"/>
                </a:cxn>
                <a:cxn ang="0">
                  <a:pos x="4" y="38"/>
                </a:cxn>
                <a:cxn ang="0">
                  <a:pos x="4" y="36"/>
                </a:cxn>
                <a:cxn ang="0">
                  <a:pos x="6" y="34"/>
                </a:cxn>
                <a:cxn ang="0">
                  <a:pos x="8" y="34"/>
                </a:cxn>
                <a:cxn ang="0">
                  <a:pos x="12" y="34"/>
                </a:cxn>
                <a:cxn ang="0">
                  <a:pos x="14" y="32"/>
                </a:cxn>
                <a:cxn ang="0">
                  <a:pos x="16" y="30"/>
                </a:cxn>
                <a:cxn ang="0">
                  <a:pos x="16" y="28"/>
                </a:cxn>
                <a:cxn ang="0">
                  <a:pos x="16" y="26"/>
                </a:cxn>
                <a:cxn ang="0">
                  <a:pos x="16" y="24"/>
                </a:cxn>
                <a:cxn ang="0">
                  <a:pos x="16" y="22"/>
                </a:cxn>
                <a:cxn ang="0">
                  <a:pos x="16" y="20"/>
                </a:cxn>
                <a:cxn ang="0">
                  <a:pos x="16" y="18"/>
                </a:cxn>
                <a:cxn ang="0">
                  <a:pos x="18" y="10"/>
                </a:cxn>
                <a:cxn ang="0">
                  <a:pos x="22" y="6"/>
                </a:cxn>
                <a:cxn ang="0">
                  <a:pos x="24" y="4"/>
                </a:cxn>
                <a:cxn ang="0">
                  <a:pos x="26" y="4"/>
                </a:cxn>
                <a:cxn ang="0">
                  <a:pos x="30" y="0"/>
                </a:cxn>
                <a:cxn ang="0">
                  <a:pos x="36" y="0"/>
                </a:cxn>
                <a:cxn ang="0">
                  <a:pos x="42" y="0"/>
                </a:cxn>
                <a:cxn ang="0">
                  <a:pos x="42" y="2"/>
                </a:cxn>
                <a:cxn ang="0">
                  <a:pos x="44" y="6"/>
                </a:cxn>
                <a:cxn ang="0">
                  <a:pos x="44" y="8"/>
                </a:cxn>
                <a:cxn ang="0">
                  <a:pos x="42" y="12"/>
                </a:cxn>
                <a:cxn ang="0">
                  <a:pos x="40" y="14"/>
                </a:cxn>
                <a:cxn ang="0">
                  <a:pos x="40" y="16"/>
                </a:cxn>
                <a:cxn ang="0">
                  <a:pos x="38" y="20"/>
                </a:cxn>
                <a:cxn ang="0">
                  <a:pos x="38" y="24"/>
                </a:cxn>
                <a:cxn ang="0">
                  <a:pos x="36" y="26"/>
                </a:cxn>
                <a:cxn ang="0">
                  <a:pos x="32" y="28"/>
                </a:cxn>
                <a:cxn ang="0">
                  <a:pos x="32" y="30"/>
                </a:cxn>
                <a:cxn ang="0">
                  <a:pos x="30" y="32"/>
                </a:cxn>
                <a:cxn ang="0">
                  <a:pos x="30" y="34"/>
                </a:cxn>
                <a:cxn ang="0">
                  <a:pos x="28" y="36"/>
                </a:cxn>
                <a:cxn ang="0">
                  <a:pos x="28" y="38"/>
                </a:cxn>
                <a:cxn ang="0">
                  <a:pos x="26" y="38"/>
                </a:cxn>
                <a:cxn ang="0">
                  <a:pos x="26" y="40"/>
                </a:cxn>
                <a:cxn ang="0">
                  <a:pos x="22" y="42"/>
                </a:cxn>
                <a:cxn ang="0">
                  <a:pos x="16" y="46"/>
                </a:cxn>
                <a:cxn ang="0">
                  <a:pos x="12" y="48"/>
                </a:cxn>
                <a:cxn ang="0">
                  <a:pos x="8" y="50"/>
                </a:cxn>
                <a:cxn ang="0">
                  <a:pos x="4" y="52"/>
                </a:cxn>
              </a:cxnLst>
              <a:rect l="0" t="0" r="r" b="b"/>
              <a:pathLst>
                <a:path w="44" h="52">
                  <a:moveTo>
                    <a:pt x="4" y="52"/>
                  </a:moveTo>
                  <a:lnTo>
                    <a:pt x="2" y="52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2" y="46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4" y="32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6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8" y="10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2" y="2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8" y="20"/>
                  </a:lnTo>
                  <a:lnTo>
                    <a:pt x="38" y="24"/>
                  </a:lnTo>
                  <a:lnTo>
                    <a:pt x="36" y="26"/>
                  </a:lnTo>
                  <a:lnTo>
                    <a:pt x="32" y="28"/>
                  </a:lnTo>
                  <a:lnTo>
                    <a:pt x="32" y="30"/>
                  </a:lnTo>
                  <a:lnTo>
                    <a:pt x="30" y="32"/>
                  </a:lnTo>
                  <a:lnTo>
                    <a:pt x="30" y="34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2" y="42"/>
                  </a:lnTo>
                  <a:lnTo>
                    <a:pt x="16" y="46"/>
                  </a:lnTo>
                  <a:lnTo>
                    <a:pt x="12" y="48"/>
                  </a:lnTo>
                  <a:lnTo>
                    <a:pt x="8" y="50"/>
                  </a:lnTo>
                  <a:lnTo>
                    <a:pt x="4" y="5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8" name="Freeform 300"/>
            <p:cNvSpPr>
              <a:spLocks/>
            </p:cNvSpPr>
            <p:nvPr/>
          </p:nvSpPr>
          <p:spPr bwMode="auto">
            <a:xfrm>
              <a:off x="3540" y="1018"/>
              <a:ext cx="18" cy="20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0" y="16"/>
                </a:cxn>
                <a:cxn ang="0">
                  <a:pos x="2" y="10"/>
                </a:cxn>
                <a:cxn ang="0">
                  <a:pos x="4" y="8"/>
                </a:cxn>
                <a:cxn ang="0">
                  <a:pos x="4" y="6"/>
                </a:cxn>
                <a:cxn ang="0">
                  <a:pos x="10" y="2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18" y="6"/>
                </a:cxn>
                <a:cxn ang="0">
                  <a:pos x="16" y="6"/>
                </a:cxn>
                <a:cxn ang="0">
                  <a:pos x="14" y="6"/>
                </a:cxn>
                <a:cxn ang="0">
                  <a:pos x="12" y="8"/>
                </a:cxn>
                <a:cxn ang="0">
                  <a:pos x="10" y="10"/>
                </a:cxn>
                <a:cxn ang="0">
                  <a:pos x="6" y="16"/>
                </a:cxn>
                <a:cxn ang="0">
                  <a:pos x="2" y="20"/>
                </a:cxn>
                <a:cxn ang="0">
                  <a:pos x="0" y="20"/>
                </a:cxn>
              </a:cxnLst>
              <a:rect l="0" t="0" r="r" b="b"/>
              <a:pathLst>
                <a:path w="18" h="20">
                  <a:moveTo>
                    <a:pt x="0" y="20"/>
                  </a:moveTo>
                  <a:lnTo>
                    <a:pt x="0" y="16"/>
                  </a:lnTo>
                  <a:lnTo>
                    <a:pt x="2" y="10"/>
                  </a:lnTo>
                  <a:lnTo>
                    <a:pt x="4" y="8"/>
                  </a:lnTo>
                  <a:lnTo>
                    <a:pt x="4" y="6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8"/>
                  </a:lnTo>
                  <a:lnTo>
                    <a:pt x="10" y="10"/>
                  </a:lnTo>
                  <a:lnTo>
                    <a:pt x="6" y="16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89" name="Freeform 301"/>
            <p:cNvSpPr>
              <a:spLocks/>
            </p:cNvSpPr>
            <p:nvPr/>
          </p:nvSpPr>
          <p:spPr bwMode="auto">
            <a:xfrm>
              <a:off x="3550" y="1026"/>
              <a:ext cx="6" cy="8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6"/>
                </a:cxn>
                <a:cxn ang="0">
                  <a:pos x="2" y="6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0" name="Freeform 302"/>
            <p:cNvSpPr>
              <a:spLocks/>
            </p:cNvSpPr>
            <p:nvPr/>
          </p:nvSpPr>
          <p:spPr bwMode="auto">
            <a:xfrm>
              <a:off x="3526" y="1032"/>
              <a:ext cx="12" cy="22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0" y="20"/>
                </a:cxn>
                <a:cxn ang="0">
                  <a:pos x="2" y="16"/>
                </a:cxn>
                <a:cxn ang="0">
                  <a:pos x="6" y="14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0"/>
                </a:cxn>
                <a:cxn ang="0">
                  <a:pos x="10" y="8"/>
                </a:cxn>
                <a:cxn ang="0">
                  <a:pos x="10" y="6"/>
                </a:cxn>
                <a:cxn ang="0">
                  <a:pos x="10" y="4"/>
                </a:cxn>
                <a:cxn ang="0">
                  <a:pos x="10" y="2"/>
                </a:cxn>
                <a:cxn ang="0">
                  <a:pos x="12" y="0"/>
                </a:cxn>
                <a:cxn ang="0">
                  <a:pos x="12" y="2"/>
                </a:cxn>
                <a:cxn ang="0">
                  <a:pos x="12" y="4"/>
                </a:cxn>
                <a:cxn ang="0">
                  <a:pos x="12" y="6"/>
                </a:cxn>
                <a:cxn ang="0">
                  <a:pos x="12" y="8"/>
                </a:cxn>
                <a:cxn ang="0">
                  <a:pos x="12" y="10"/>
                </a:cxn>
                <a:cxn ang="0">
                  <a:pos x="8" y="18"/>
                </a:cxn>
                <a:cxn ang="0">
                  <a:pos x="8" y="20"/>
                </a:cxn>
                <a:cxn ang="0">
                  <a:pos x="6" y="20"/>
                </a:cxn>
                <a:cxn ang="0">
                  <a:pos x="2" y="22"/>
                </a:cxn>
                <a:cxn ang="0">
                  <a:pos x="0" y="22"/>
                </a:cxn>
              </a:cxnLst>
              <a:rect l="0" t="0" r="r" b="b"/>
              <a:pathLst>
                <a:path w="12" h="22">
                  <a:moveTo>
                    <a:pt x="0" y="22"/>
                  </a:moveTo>
                  <a:lnTo>
                    <a:pt x="0" y="20"/>
                  </a:lnTo>
                  <a:lnTo>
                    <a:pt x="2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8" y="18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2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1" name="Freeform 303"/>
            <p:cNvSpPr>
              <a:spLocks/>
            </p:cNvSpPr>
            <p:nvPr/>
          </p:nvSpPr>
          <p:spPr bwMode="auto">
            <a:xfrm>
              <a:off x="3538" y="1034"/>
              <a:ext cx="14" cy="12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10" y="2"/>
                </a:cxn>
                <a:cxn ang="0">
                  <a:pos x="8" y="4"/>
                </a:cxn>
                <a:cxn ang="0">
                  <a:pos x="8" y="6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2" y="6"/>
                </a:cxn>
                <a:cxn ang="0">
                  <a:pos x="6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2" y="0"/>
                </a:cxn>
              </a:cxnLst>
              <a:rect l="0" t="0" r="r" b="b"/>
              <a:pathLst>
                <a:path w="14" h="12">
                  <a:moveTo>
                    <a:pt x="12" y="0"/>
                  </a:moveTo>
                  <a:lnTo>
                    <a:pt x="14" y="0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8"/>
                  </a:lnTo>
                  <a:lnTo>
                    <a:pt x="6" y="10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2" name="Freeform 304"/>
            <p:cNvSpPr>
              <a:spLocks/>
            </p:cNvSpPr>
            <p:nvPr/>
          </p:nvSpPr>
          <p:spPr bwMode="auto">
            <a:xfrm>
              <a:off x="3686" y="1046"/>
              <a:ext cx="6" cy="8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0" y="4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6" y="8"/>
                </a:cxn>
                <a:cxn ang="0">
                  <a:pos x="4" y="8"/>
                </a:cxn>
              </a:cxnLst>
              <a:rect l="0" t="0" r="r" b="b"/>
              <a:pathLst>
                <a:path w="6" h="8">
                  <a:moveTo>
                    <a:pt x="4" y="8"/>
                  </a:moveTo>
                  <a:lnTo>
                    <a:pt x="2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3" name="Freeform 305"/>
            <p:cNvSpPr>
              <a:spLocks/>
            </p:cNvSpPr>
            <p:nvPr/>
          </p:nvSpPr>
          <p:spPr bwMode="auto">
            <a:xfrm>
              <a:off x="3470" y="1062"/>
              <a:ext cx="14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6"/>
                </a:cxn>
                <a:cxn ang="0">
                  <a:pos x="12" y="0"/>
                </a:cxn>
                <a:cxn ang="0">
                  <a:pos x="14" y="2"/>
                </a:cxn>
                <a:cxn ang="0">
                  <a:pos x="12" y="4"/>
                </a:cxn>
                <a:cxn ang="0">
                  <a:pos x="10" y="6"/>
                </a:cxn>
                <a:cxn ang="0">
                  <a:pos x="2" y="8"/>
                </a:cxn>
                <a:cxn ang="0">
                  <a:pos x="0" y="8"/>
                </a:cxn>
              </a:cxnLst>
              <a:rect l="0" t="0" r="r" b="b"/>
              <a:pathLst>
                <a:path w="14" h="8">
                  <a:moveTo>
                    <a:pt x="0" y="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2" y="4"/>
                  </a:lnTo>
                  <a:lnTo>
                    <a:pt x="10" y="6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4" name="Freeform 306"/>
            <p:cNvSpPr>
              <a:spLocks/>
            </p:cNvSpPr>
            <p:nvPr/>
          </p:nvSpPr>
          <p:spPr bwMode="auto">
            <a:xfrm>
              <a:off x="3482" y="1066"/>
              <a:ext cx="16" cy="1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2" y="8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10" y="0"/>
                </a:cxn>
                <a:cxn ang="0">
                  <a:pos x="12" y="0"/>
                </a:cxn>
                <a:cxn ang="0">
                  <a:pos x="14" y="2"/>
                </a:cxn>
                <a:cxn ang="0">
                  <a:pos x="16" y="4"/>
                </a:cxn>
                <a:cxn ang="0">
                  <a:pos x="16" y="6"/>
                </a:cxn>
                <a:cxn ang="0">
                  <a:pos x="14" y="6"/>
                </a:cxn>
                <a:cxn ang="0">
                  <a:pos x="12" y="8"/>
                </a:cxn>
                <a:cxn ang="0">
                  <a:pos x="10" y="8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4" y="8"/>
                </a:cxn>
                <a:cxn ang="0">
                  <a:pos x="2" y="10"/>
                </a:cxn>
                <a:cxn ang="0">
                  <a:pos x="0" y="10"/>
                </a:cxn>
              </a:cxnLst>
              <a:rect l="0" t="0" r="r" b="b"/>
              <a:pathLst>
                <a:path w="16" h="10">
                  <a:moveTo>
                    <a:pt x="0" y="10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5" name="Freeform 307"/>
            <p:cNvSpPr>
              <a:spLocks/>
            </p:cNvSpPr>
            <p:nvPr/>
          </p:nvSpPr>
          <p:spPr bwMode="auto">
            <a:xfrm>
              <a:off x="3654" y="1074"/>
              <a:ext cx="8" cy="12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2" y="12"/>
                </a:cxn>
                <a:cxn ang="0">
                  <a:pos x="0" y="10"/>
                </a:cxn>
                <a:cxn ang="0">
                  <a:pos x="0" y="6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4" y="10"/>
                </a:cxn>
                <a:cxn ang="0">
                  <a:pos x="4" y="12"/>
                </a:cxn>
              </a:cxnLst>
              <a:rect l="0" t="0" r="r" b="b"/>
              <a:pathLst>
                <a:path w="8" h="12">
                  <a:moveTo>
                    <a:pt x="4" y="12"/>
                  </a:moveTo>
                  <a:lnTo>
                    <a:pt x="2" y="12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4" y="10"/>
                  </a:lnTo>
                  <a:lnTo>
                    <a:pt x="4" y="12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6" name="Freeform 308"/>
            <p:cNvSpPr>
              <a:spLocks/>
            </p:cNvSpPr>
            <p:nvPr/>
          </p:nvSpPr>
          <p:spPr bwMode="auto">
            <a:xfrm>
              <a:off x="3648" y="1082"/>
              <a:ext cx="8" cy="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6" y="8"/>
                </a:cxn>
                <a:cxn ang="0">
                  <a:pos x="4" y="6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197" name="Freeform 309"/>
            <p:cNvSpPr>
              <a:spLocks/>
            </p:cNvSpPr>
            <p:nvPr/>
          </p:nvSpPr>
          <p:spPr bwMode="auto">
            <a:xfrm>
              <a:off x="3540" y="1088"/>
              <a:ext cx="16" cy="8"/>
            </a:xfrm>
            <a:custGeom>
              <a:avLst/>
              <a:gdLst/>
              <a:ahLst/>
              <a:cxnLst>
                <a:cxn ang="0">
                  <a:pos x="16" y="8"/>
                </a:cxn>
                <a:cxn ang="0">
                  <a:pos x="14" y="8"/>
                </a:cxn>
                <a:cxn ang="0">
                  <a:pos x="12" y="8"/>
                </a:cxn>
                <a:cxn ang="0">
                  <a:pos x="10" y="6"/>
                </a:cxn>
                <a:cxn ang="0">
                  <a:pos x="8" y="8"/>
                </a:cxn>
                <a:cxn ang="0">
                  <a:pos x="6" y="8"/>
                </a:cxn>
                <a:cxn ang="0">
                  <a:pos x="4" y="6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4" y="4"/>
                </a:cxn>
                <a:cxn ang="0">
                  <a:pos x="16" y="8"/>
                </a:cxn>
              </a:cxnLst>
              <a:rect l="0" t="0" r="r" b="b"/>
              <a:pathLst>
                <a:path w="16" h="8">
                  <a:moveTo>
                    <a:pt x="16" y="8"/>
                  </a:moveTo>
                  <a:lnTo>
                    <a:pt x="14" y="8"/>
                  </a:lnTo>
                  <a:lnTo>
                    <a:pt x="12" y="8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6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4" y="4"/>
                  </a:lnTo>
                  <a:lnTo>
                    <a:pt x="16" y="8"/>
                  </a:lnTo>
                  <a:close/>
                </a:path>
              </a:pathLst>
            </a:custGeom>
            <a:solidFill>
              <a:srgbClr val="3366FF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198" name="Freeform 310"/>
          <p:cNvSpPr>
            <a:spLocks/>
          </p:cNvSpPr>
          <p:nvPr/>
        </p:nvSpPr>
        <p:spPr bwMode="auto">
          <a:xfrm>
            <a:off x="2832769" y="1337028"/>
            <a:ext cx="214313" cy="223838"/>
          </a:xfrm>
          <a:custGeom>
            <a:avLst/>
            <a:gdLst/>
            <a:ahLst/>
            <a:cxnLst>
              <a:cxn ang="0">
                <a:pos x="170" y="126"/>
              </a:cxn>
              <a:cxn ang="0">
                <a:pos x="162" y="130"/>
              </a:cxn>
              <a:cxn ang="0">
                <a:pos x="160" y="138"/>
              </a:cxn>
              <a:cxn ang="0">
                <a:pos x="160" y="152"/>
              </a:cxn>
              <a:cxn ang="0">
                <a:pos x="152" y="160"/>
              </a:cxn>
              <a:cxn ang="0">
                <a:pos x="158" y="162"/>
              </a:cxn>
              <a:cxn ang="0">
                <a:pos x="158" y="176"/>
              </a:cxn>
              <a:cxn ang="0">
                <a:pos x="152" y="162"/>
              </a:cxn>
              <a:cxn ang="0">
                <a:pos x="146" y="154"/>
              </a:cxn>
              <a:cxn ang="0">
                <a:pos x="136" y="140"/>
              </a:cxn>
              <a:cxn ang="0">
                <a:pos x="132" y="136"/>
              </a:cxn>
              <a:cxn ang="0">
                <a:pos x="134" y="146"/>
              </a:cxn>
              <a:cxn ang="0">
                <a:pos x="140" y="154"/>
              </a:cxn>
              <a:cxn ang="0">
                <a:pos x="132" y="154"/>
              </a:cxn>
              <a:cxn ang="0">
                <a:pos x="122" y="150"/>
              </a:cxn>
              <a:cxn ang="0">
                <a:pos x="118" y="138"/>
              </a:cxn>
              <a:cxn ang="0">
                <a:pos x="120" y="120"/>
              </a:cxn>
              <a:cxn ang="0">
                <a:pos x="100" y="104"/>
              </a:cxn>
              <a:cxn ang="0">
                <a:pos x="90" y="96"/>
              </a:cxn>
              <a:cxn ang="0">
                <a:pos x="68" y="90"/>
              </a:cxn>
              <a:cxn ang="0">
                <a:pos x="68" y="80"/>
              </a:cxn>
              <a:cxn ang="0">
                <a:pos x="56" y="68"/>
              </a:cxn>
              <a:cxn ang="0">
                <a:pos x="44" y="58"/>
              </a:cxn>
              <a:cxn ang="0">
                <a:pos x="38" y="62"/>
              </a:cxn>
              <a:cxn ang="0">
                <a:pos x="48" y="70"/>
              </a:cxn>
              <a:cxn ang="0">
                <a:pos x="40" y="88"/>
              </a:cxn>
              <a:cxn ang="0">
                <a:pos x="28" y="74"/>
              </a:cxn>
              <a:cxn ang="0">
                <a:pos x="16" y="72"/>
              </a:cxn>
              <a:cxn ang="0">
                <a:pos x="6" y="60"/>
              </a:cxn>
              <a:cxn ang="0">
                <a:pos x="6" y="44"/>
              </a:cxn>
              <a:cxn ang="0">
                <a:pos x="12" y="22"/>
              </a:cxn>
              <a:cxn ang="0">
                <a:pos x="2" y="16"/>
              </a:cxn>
              <a:cxn ang="0">
                <a:pos x="12" y="16"/>
              </a:cxn>
              <a:cxn ang="0">
                <a:pos x="12" y="6"/>
              </a:cxn>
              <a:cxn ang="0">
                <a:pos x="28" y="4"/>
              </a:cxn>
              <a:cxn ang="0">
                <a:pos x="40" y="10"/>
              </a:cxn>
              <a:cxn ang="0">
                <a:pos x="68" y="8"/>
              </a:cxn>
              <a:cxn ang="0">
                <a:pos x="92" y="24"/>
              </a:cxn>
              <a:cxn ang="0">
                <a:pos x="100" y="24"/>
              </a:cxn>
              <a:cxn ang="0">
                <a:pos x="110" y="28"/>
              </a:cxn>
              <a:cxn ang="0">
                <a:pos x="120" y="24"/>
              </a:cxn>
              <a:cxn ang="0">
                <a:pos x="122" y="18"/>
              </a:cxn>
              <a:cxn ang="0">
                <a:pos x="126" y="24"/>
              </a:cxn>
              <a:cxn ang="0">
                <a:pos x="130" y="40"/>
              </a:cxn>
              <a:cxn ang="0">
                <a:pos x="154" y="68"/>
              </a:cxn>
              <a:cxn ang="0">
                <a:pos x="164" y="82"/>
              </a:cxn>
              <a:cxn ang="0">
                <a:pos x="176" y="90"/>
              </a:cxn>
              <a:cxn ang="0">
                <a:pos x="174" y="96"/>
              </a:cxn>
              <a:cxn ang="0">
                <a:pos x="166" y="90"/>
              </a:cxn>
              <a:cxn ang="0">
                <a:pos x="158" y="112"/>
              </a:cxn>
            </a:cxnLst>
            <a:rect l="0" t="0" r="r" b="b"/>
            <a:pathLst>
              <a:path w="178" h="176">
                <a:moveTo>
                  <a:pt x="158" y="118"/>
                </a:moveTo>
                <a:lnTo>
                  <a:pt x="160" y="118"/>
                </a:lnTo>
                <a:lnTo>
                  <a:pt x="168" y="124"/>
                </a:lnTo>
                <a:lnTo>
                  <a:pt x="170" y="126"/>
                </a:lnTo>
                <a:lnTo>
                  <a:pt x="168" y="128"/>
                </a:lnTo>
                <a:lnTo>
                  <a:pt x="166" y="128"/>
                </a:lnTo>
                <a:lnTo>
                  <a:pt x="164" y="130"/>
                </a:lnTo>
                <a:lnTo>
                  <a:pt x="162" y="130"/>
                </a:lnTo>
                <a:lnTo>
                  <a:pt x="160" y="132"/>
                </a:lnTo>
                <a:lnTo>
                  <a:pt x="158" y="134"/>
                </a:lnTo>
                <a:lnTo>
                  <a:pt x="158" y="136"/>
                </a:lnTo>
                <a:lnTo>
                  <a:pt x="160" y="138"/>
                </a:lnTo>
                <a:lnTo>
                  <a:pt x="164" y="142"/>
                </a:lnTo>
                <a:lnTo>
                  <a:pt x="164" y="146"/>
                </a:lnTo>
                <a:lnTo>
                  <a:pt x="164" y="150"/>
                </a:lnTo>
                <a:lnTo>
                  <a:pt x="160" y="152"/>
                </a:lnTo>
                <a:lnTo>
                  <a:pt x="158" y="154"/>
                </a:lnTo>
                <a:lnTo>
                  <a:pt x="156" y="154"/>
                </a:lnTo>
                <a:lnTo>
                  <a:pt x="152" y="158"/>
                </a:lnTo>
                <a:lnTo>
                  <a:pt x="152" y="160"/>
                </a:lnTo>
                <a:lnTo>
                  <a:pt x="154" y="160"/>
                </a:lnTo>
                <a:lnTo>
                  <a:pt x="154" y="162"/>
                </a:lnTo>
                <a:lnTo>
                  <a:pt x="156" y="162"/>
                </a:lnTo>
                <a:lnTo>
                  <a:pt x="158" y="162"/>
                </a:lnTo>
                <a:lnTo>
                  <a:pt x="160" y="170"/>
                </a:lnTo>
                <a:lnTo>
                  <a:pt x="160" y="172"/>
                </a:lnTo>
                <a:lnTo>
                  <a:pt x="160" y="174"/>
                </a:lnTo>
                <a:lnTo>
                  <a:pt x="158" y="176"/>
                </a:lnTo>
                <a:lnTo>
                  <a:pt x="160" y="170"/>
                </a:lnTo>
                <a:lnTo>
                  <a:pt x="156" y="166"/>
                </a:lnTo>
                <a:lnTo>
                  <a:pt x="154" y="164"/>
                </a:lnTo>
                <a:lnTo>
                  <a:pt x="152" y="162"/>
                </a:lnTo>
                <a:lnTo>
                  <a:pt x="148" y="160"/>
                </a:lnTo>
                <a:lnTo>
                  <a:pt x="146" y="158"/>
                </a:lnTo>
                <a:lnTo>
                  <a:pt x="146" y="156"/>
                </a:lnTo>
                <a:lnTo>
                  <a:pt x="146" y="154"/>
                </a:lnTo>
                <a:lnTo>
                  <a:pt x="148" y="152"/>
                </a:lnTo>
                <a:lnTo>
                  <a:pt x="144" y="144"/>
                </a:lnTo>
                <a:lnTo>
                  <a:pt x="142" y="142"/>
                </a:lnTo>
                <a:lnTo>
                  <a:pt x="136" y="140"/>
                </a:lnTo>
                <a:lnTo>
                  <a:pt x="136" y="138"/>
                </a:lnTo>
                <a:lnTo>
                  <a:pt x="136" y="136"/>
                </a:lnTo>
                <a:lnTo>
                  <a:pt x="134" y="136"/>
                </a:lnTo>
                <a:lnTo>
                  <a:pt x="132" y="136"/>
                </a:lnTo>
                <a:lnTo>
                  <a:pt x="128" y="138"/>
                </a:lnTo>
                <a:lnTo>
                  <a:pt x="130" y="144"/>
                </a:lnTo>
                <a:lnTo>
                  <a:pt x="132" y="144"/>
                </a:lnTo>
                <a:lnTo>
                  <a:pt x="134" y="146"/>
                </a:lnTo>
                <a:lnTo>
                  <a:pt x="136" y="146"/>
                </a:lnTo>
                <a:lnTo>
                  <a:pt x="138" y="148"/>
                </a:lnTo>
                <a:lnTo>
                  <a:pt x="140" y="150"/>
                </a:lnTo>
                <a:lnTo>
                  <a:pt x="140" y="154"/>
                </a:lnTo>
                <a:lnTo>
                  <a:pt x="138" y="156"/>
                </a:lnTo>
                <a:lnTo>
                  <a:pt x="136" y="156"/>
                </a:lnTo>
                <a:lnTo>
                  <a:pt x="134" y="154"/>
                </a:lnTo>
                <a:lnTo>
                  <a:pt x="132" y="154"/>
                </a:lnTo>
                <a:lnTo>
                  <a:pt x="130" y="152"/>
                </a:lnTo>
                <a:lnTo>
                  <a:pt x="128" y="152"/>
                </a:lnTo>
                <a:lnTo>
                  <a:pt x="126" y="152"/>
                </a:lnTo>
                <a:lnTo>
                  <a:pt x="122" y="150"/>
                </a:lnTo>
                <a:lnTo>
                  <a:pt x="114" y="144"/>
                </a:lnTo>
                <a:lnTo>
                  <a:pt x="114" y="142"/>
                </a:lnTo>
                <a:lnTo>
                  <a:pt x="116" y="140"/>
                </a:lnTo>
                <a:lnTo>
                  <a:pt x="118" y="138"/>
                </a:lnTo>
                <a:lnTo>
                  <a:pt x="122" y="130"/>
                </a:lnTo>
                <a:lnTo>
                  <a:pt x="122" y="128"/>
                </a:lnTo>
                <a:lnTo>
                  <a:pt x="122" y="124"/>
                </a:lnTo>
                <a:lnTo>
                  <a:pt x="120" y="120"/>
                </a:lnTo>
                <a:lnTo>
                  <a:pt x="116" y="114"/>
                </a:lnTo>
                <a:lnTo>
                  <a:pt x="112" y="112"/>
                </a:lnTo>
                <a:lnTo>
                  <a:pt x="104" y="104"/>
                </a:lnTo>
                <a:lnTo>
                  <a:pt x="100" y="104"/>
                </a:lnTo>
                <a:lnTo>
                  <a:pt x="96" y="102"/>
                </a:lnTo>
                <a:lnTo>
                  <a:pt x="94" y="102"/>
                </a:lnTo>
                <a:lnTo>
                  <a:pt x="92" y="100"/>
                </a:lnTo>
                <a:lnTo>
                  <a:pt x="90" y="96"/>
                </a:lnTo>
                <a:lnTo>
                  <a:pt x="80" y="94"/>
                </a:lnTo>
                <a:lnTo>
                  <a:pt x="74" y="94"/>
                </a:lnTo>
                <a:lnTo>
                  <a:pt x="72" y="94"/>
                </a:lnTo>
                <a:lnTo>
                  <a:pt x="68" y="90"/>
                </a:lnTo>
                <a:lnTo>
                  <a:pt x="66" y="86"/>
                </a:lnTo>
                <a:lnTo>
                  <a:pt x="66" y="84"/>
                </a:lnTo>
                <a:lnTo>
                  <a:pt x="66" y="82"/>
                </a:lnTo>
                <a:lnTo>
                  <a:pt x="68" y="80"/>
                </a:lnTo>
                <a:lnTo>
                  <a:pt x="64" y="72"/>
                </a:lnTo>
                <a:lnTo>
                  <a:pt x="62" y="68"/>
                </a:lnTo>
                <a:lnTo>
                  <a:pt x="58" y="68"/>
                </a:lnTo>
                <a:lnTo>
                  <a:pt x="56" y="68"/>
                </a:lnTo>
                <a:lnTo>
                  <a:pt x="54" y="66"/>
                </a:lnTo>
                <a:lnTo>
                  <a:pt x="54" y="64"/>
                </a:lnTo>
                <a:lnTo>
                  <a:pt x="46" y="58"/>
                </a:lnTo>
                <a:lnTo>
                  <a:pt x="44" y="58"/>
                </a:lnTo>
                <a:lnTo>
                  <a:pt x="36" y="56"/>
                </a:lnTo>
                <a:lnTo>
                  <a:pt x="36" y="60"/>
                </a:lnTo>
                <a:lnTo>
                  <a:pt x="36" y="62"/>
                </a:lnTo>
                <a:lnTo>
                  <a:pt x="38" y="62"/>
                </a:lnTo>
                <a:lnTo>
                  <a:pt x="40" y="64"/>
                </a:lnTo>
                <a:lnTo>
                  <a:pt x="38" y="66"/>
                </a:lnTo>
                <a:lnTo>
                  <a:pt x="40" y="66"/>
                </a:lnTo>
                <a:lnTo>
                  <a:pt x="48" y="70"/>
                </a:lnTo>
                <a:lnTo>
                  <a:pt x="52" y="72"/>
                </a:lnTo>
                <a:lnTo>
                  <a:pt x="54" y="76"/>
                </a:lnTo>
                <a:lnTo>
                  <a:pt x="50" y="80"/>
                </a:lnTo>
                <a:lnTo>
                  <a:pt x="40" y="88"/>
                </a:lnTo>
                <a:lnTo>
                  <a:pt x="36" y="80"/>
                </a:lnTo>
                <a:lnTo>
                  <a:pt x="34" y="78"/>
                </a:lnTo>
                <a:lnTo>
                  <a:pt x="30" y="76"/>
                </a:lnTo>
                <a:lnTo>
                  <a:pt x="28" y="74"/>
                </a:lnTo>
                <a:lnTo>
                  <a:pt x="24" y="74"/>
                </a:lnTo>
                <a:lnTo>
                  <a:pt x="20" y="74"/>
                </a:lnTo>
                <a:lnTo>
                  <a:pt x="18" y="74"/>
                </a:lnTo>
                <a:lnTo>
                  <a:pt x="16" y="72"/>
                </a:lnTo>
                <a:lnTo>
                  <a:pt x="14" y="72"/>
                </a:lnTo>
                <a:lnTo>
                  <a:pt x="10" y="66"/>
                </a:lnTo>
                <a:lnTo>
                  <a:pt x="8" y="62"/>
                </a:lnTo>
                <a:lnTo>
                  <a:pt x="6" y="60"/>
                </a:lnTo>
                <a:lnTo>
                  <a:pt x="4" y="56"/>
                </a:lnTo>
                <a:lnTo>
                  <a:pt x="2" y="52"/>
                </a:lnTo>
                <a:lnTo>
                  <a:pt x="2" y="46"/>
                </a:lnTo>
                <a:lnTo>
                  <a:pt x="6" y="44"/>
                </a:lnTo>
                <a:lnTo>
                  <a:pt x="14" y="34"/>
                </a:lnTo>
                <a:lnTo>
                  <a:pt x="16" y="32"/>
                </a:lnTo>
                <a:lnTo>
                  <a:pt x="14" y="22"/>
                </a:lnTo>
                <a:lnTo>
                  <a:pt x="12" y="22"/>
                </a:lnTo>
                <a:lnTo>
                  <a:pt x="10" y="20"/>
                </a:lnTo>
                <a:lnTo>
                  <a:pt x="6" y="20"/>
                </a:lnTo>
                <a:lnTo>
                  <a:pt x="0" y="18"/>
                </a:lnTo>
                <a:lnTo>
                  <a:pt x="2" y="16"/>
                </a:lnTo>
                <a:lnTo>
                  <a:pt x="4" y="14"/>
                </a:lnTo>
                <a:lnTo>
                  <a:pt x="6" y="14"/>
                </a:lnTo>
                <a:lnTo>
                  <a:pt x="10" y="16"/>
                </a:lnTo>
                <a:lnTo>
                  <a:pt x="12" y="16"/>
                </a:lnTo>
                <a:lnTo>
                  <a:pt x="12" y="14"/>
                </a:lnTo>
                <a:lnTo>
                  <a:pt x="14" y="8"/>
                </a:lnTo>
                <a:lnTo>
                  <a:pt x="14" y="6"/>
                </a:lnTo>
                <a:lnTo>
                  <a:pt x="12" y="6"/>
                </a:lnTo>
                <a:lnTo>
                  <a:pt x="18" y="0"/>
                </a:lnTo>
                <a:lnTo>
                  <a:pt x="20" y="0"/>
                </a:lnTo>
                <a:lnTo>
                  <a:pt x="22" y="2"/>
                </a:lnTo>
                <a:lnTo>
                  <a:pt x="28" y="4"/>
                </a:lnTo>
                <a:lnTo>
                  <a:pt x="30" y="4"/>
                </a:lnTo>
                <a:lnTo>
                  <a:pt x="36" y="6"/>
                </a:lnTo>
                <a:lnTo>
                  <a:pt x="38" y="8"/>
                </a:lnTo>
                <a:lnTo>
                  <a:pt x="40" y="10"/>
                </a:lnTo>
                <a:lnTo>
                  <a:pt x="42" y="10"/>
                </a:lnTo>
                <a:lnTo>
                  <a:pt x="44" y="12"/>
                </a:lnTo>
                <a:lnTo>
                  <a:pt x="54" y="16"/>
                </a:lnTo>
                <a:lnTo>
                  <a:pt x="68" y="8"/>
                </a:lnTo>
                <a:lnTo>
                  <a:pt x="84" y="14"/>
                </a:lnTo>
                <a:lnTo>
                  <a:pt x="88" y="18"/>
                </a:lnTo>
                <a:lnTo>
                  <a:pt x="92" y="22"/>
                </a:lnTo>
                <a:lnTo>
                  <a:pt x="92" y="24"/>
                </a:lnTo>
                <a:lnTo>
                  <a:pt x="94" y="24"/>
                </a:lnTo>
                <a:lnTo>
                  <a:pt x="96" y="26"/>
                </a:lnTo>
                <a:lnTo>
                  <a:pt x="98" y="24"/>
                </a:lnTo>
                <a:lnTo>
                  <a:pt x="100" y="24"/>
                </a:lnTo>
                <a:lnTo>
                  <a:pt x="104" y="24"/>
                </a:lnTo>
                <a:lnTo>
                  <a:pt x="106" y="26"/>
                </a:lnTo>
                <a:lnTo>
                  <a:pt x="108" y="28"/>
                </a:lnTo>
                <a:lnTo>
                  <a:pt x="110" y="28"/>
                </a:lnTo>
                <a:lnTo>
                  <a:pt x="112" y="26"/>
                </a:lnTo>
                <a:lnTo>
                  <a:pt x="114" y="24"/>
                </a:lnTo>
                <a:lnTo>
                  <a:pt x="116" y="24"/>
                </a:lnTo>
                <a:lnTo>
                  <a:pt x="120" y="24"/>
                </a:lnTo>
                <a:lnTo>
                  <a:pt x="122" y="24"/>
                </a:lnTo>
                <a:lnTo>
                  <a:pt x="122" y="22"/>
                </a:lnTo>
                <a:lnTo>
                  <a:pt x="122" y="20"/>
                </a:lnTo>
                <a:lnTo>
                  <a:pt x="122" y="18"/>
                </a:lnTo>
                <a:lnTo>
                  <a:pt x="124" y="18"/>
                </a:lnTo>
                <a:lnTo>
                  <a:pt x="124" y="20"/>
                </a:lnTo>
                <a:lnTo>
                  <a:pt x="124" y="22"/>
                </a:lnTo>
                <a:lnTo>
                  <a:pt x="126" y="24"/>
                </a:lnTo>
                <a:lnTo>
                  <a:pt x="126" y="26"/>
                </a:lnTo>
                <a:lnTo>
                  <a:pt x="126" y="30"/>
                </a:lnTo>
                <a:lnTo>
                  <a:pt x="128" y="36"/>
                </a:lnTo>
                <a:lnTo>
                  <a:pt x="130" y="40"/>
                </a:lnTo>
                <a:lnTo>
                  <a:pt x="134" y="46"/>
                </a:lnTo>
                <a:lnTo>
                  <a:pt x="138" y="52"/>
                </a:lnTo>
                <a:lnTo>
                  <a:pt x="150" y="68"/>
                </a:lnTo>
                <a:lnTo>
                  <a:pt x="154" y="68"/>
                </a:lnTo>
                <a:lnTo>
                  <a:pt x="154" y="70"/>
                </a:lnTo>
                <a:lnTo>
                  <a:pt x="156" y="72"/>
                </a:lnTo>
                <a:lnTo>
                  <a:pt x="160" y="76"/>
                </a:lnTo>
                <a:lnTo>
                  <a:pt x="164" y="82"/>
                </a:lnTo>
                <a:lnTo>
                  <a:pt x="168" y="86"/>
                </a:lnTo>
                <a:lnTo>
                  <a:pt x="170" y="88"/>
                </a:lnTo>
                <a:lnTo>
                  <a:pt x="174" y="88"/>
                </a:lnTo>
                <a:lnTo>
                  <a:pt x="176" y="90"/>
                </a:lnTo>
                <a:lnTo>
                  <a:pt x="178" y="92"/>
                </a:lnTo>
                <a:lnTo>
                  <a:pt x="178" y="94"/>
                </a:lnTo>
                <a:lnTo>
                  <a:pt x="176" y="96"/>
                </a:lnTo>
                <a:lnTo>
                  <a:pt x="174" y="96"/>
                </a:lnTo>
                <a:lnTo>
                  <a:pt x="172" y="94"/>
                </a:lnTo>
                <a:lnTo>
                  <a:pt x="170" y="92"/>
                </a:lnTo>
                <a:lnTo>
                  <a:pt x="168" y="90"/>
                </a:lnTo>
                <a:lnTo>
                  <a:pt x="166" y="90"/>
                </a:lnTo>
                <a:lnTo>
                  <a:pt x="164" y="90"/>
                </a:lnTo>
                <a:lnTo>
                  <a:pt x="162" y="90"/>
                </a:lnTo>
                <a:lnTo>
                  <a:pt x="158" y="96"/>
                </a:lnTo>
                <a:lnTo>
                  <a:pt x="158" y="112"/>
                </a:lnTo>
                <a:lnTo>
                  <a:pt x="158" y="118"/>
                </a:lnTo>
                <a:close/>
              </a:path>
            </a:pathLst>
          </a:custGeom>
          <a:solidFill>
            <a:srgbClr val="F5F1B5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23" name="Group 311"/>
          <p:cNvGrpSpPr>
            <a:grpSpLocks/>
          </p:cNvGrpSpPr>
          <p:nvPr/>
        </p:nvGrpSpPr>
        <p:grpSpPr bwMode="auto">
          <a:xfrm>
            <a:off x="3016877" y="1451328"/>
            <a:ext cx="377826" cy="166688"/>
            <a:chOff x="1818" y="464"/>
            <a:chExt cx="314" cy="130"/>
          </a:xfrm>
        </p:grpSpPr>
        <p:sp>
          <p:nvSpPr>
            <p:cNvPr id="200" name="Freeform 312"/>
            <p:cNvSpPr>
              <a:spLocks/>
            </p:cNvSpPr>
            <p:nvPr/>
          </p:nvSpPr>
          <p:spPr bwMode="auto">
            <a:xfrm>
              <a:off x="1818" y="464"/>
              <a:ext cx="314" cy="130"/>
            </a:xfrm>
            <a:custGeom>
              <a:avLst/>
              <a:gdLst/>
              <a:ahLst/>
              <a:cxnLst>
                <a:cxn ang="0">
                  <a:pos x="4" y="72"/>
                </a:cxn>
                <a:cxn ang="0">
                  <a:pos x="6" y="64"/>
                </a:cxn>
                <a:cxn ang="0">
                  <a:pos x="6" y="46"/>
                </a:cxn>
                <a:cxn ang="0">
                  <a:pos x="16" y="38"/>
                </a:cxn>
                <a:cxn ang="0">
                  <a:pos x="6" y="6"/>
                </a:cxn>
                <a:cxn ang="0">
                  <a:pos x="20" y="4"/>
                </a:cxn>
                <a:cxn ang="0">
                  <a:pos x="36" y="10"/>
                </a:cxn>
                <a:cxn ang="0">
                  <a:pos x="50" y="36"/>
                </a:cxn>
                <a:cxn ang="0">
                  <a:pos x="60" y="26"/>
                </a:cxn>
                <a:cxn ang="0">
                  <a:pos x="74" y="38"/>
                </a:cxn>
                <a:cxn ang="0">
                  <a:pos x="102" y="44"/>
                </a:cxn>
                <a:cxn ang="0">
                  <a:pos x="120" y="38"/>
                </a:cxn>
                <a:cxn ang="0">
                  <a:pos x="142" y="26"/>
                </a:cxn>
                <a:cxn ang="0">
                  <a:pos x="162" y="16"/>
                </a:cxn>
                <a:cxn ang="0">
                  <a:pos x="182" y="4"/>
                </a:cxn>
                <a:cxn ang="0">
                  <a:pos x="208" y="4"/>
                </a:cxn>
                <a:cxn ang="0">
                  <a:pos x="216" y="6"/>
                </a:cxn>
                <a:cxn ang="0">
                  <a:pos x="242" y="10"/>
                </a:cxn>
                <a:cxn ang="0">
                  <a:pos x="262" y="20"/>
                </a:cxn>
                <a:cxn ang="0">
                  <a:pos x="284" y="36"/>
                </a:cxn>
                <a:cxn ang="0">
                  <a:pos x="296" y="52"/>
                </a:cxn>
                <a:cxn ang="0">
                  <a:pos x="298" y="60"/>
                </a:cxn>
                <a:cxn ang="0">
                  <a:pos x="304" y="70"/>
                </a:cxn>
                <a:cxn ang="0">
                  <a:pos x="314" y="88"/>
                </a:cxn>
                <a:cxn ang="0">
                  <a:pos x="290" y="112"/>
                </a:cxn>
                <a:cxn ang="0">
                  <a:pos x="284" y="110"/>
                </a:cxn>
                <a:cxn ang="0">
                  <a:pos x="280" y="116"/>
                </a:cxn>
                <a:cxn ang="0">
                  <a:pos x="262" y="112"/>
                </a:cxn>
                <a:cxn ang="0">
                  <a:pos x="248" y="90"/>
                </a:cxn>
                <a:cxn ang="0">
                  <a:pos x="252" y="84"/>
                </a:cxn>
                <a:cxn ang="0">
                  <a:pos x="254" y="74"/>
                </a:cxn>
                <a:cxn ang="0">
                  <a:pos x="270" y="74"/>
                </a:cxn>
                <a:cxn ang="0">
                  <a:pos x="282" y="80"/>
                </a:cxn>
                <a:cxn ang="0">
                  <a:pos x="264" y="64"/>
                </a:cxn>
                <a:cxn ang="0">
                  <a:pos x="244" y="64"/>
                </a:cxn>
                <a:cxn ang="0">
                  <a:pos x="234" y="50"/>
                </a:cxn>
                <a:cxn ang="0">
                  <a:pos x="214" y="34"/>
                </a:cxn>
                <a:cxn ang="0">
                  <a:pos x="210" y="30"/>
                </a:cxn>
                <a:cxn ang="0">
                  <a:pos x="194" y="34"/>
                </a:cxn>
                <a:cxn ang="0">
                  <a:pos x="178" y="40"/>
                </a:cxn>
                <a:cxn ang="0">
                  <a:pos x="166" y="62"/>
                </a:cxn>
                <a:cxn ang="0">
                  <a:pos x="144" y="72"/>
                </a:cxn>
                <a:cxn ang="0">
                  <a:pos x="136" y="82"/>
                </a:cxn>
                <a:cxn ang="0">
                  <a:pos x="154" y="100"/>
                </a:cxn>
                <a:cxn ang="0">
                  <a:pos x="154" y="120"/>
                </a:cxn>
                <a:cxn ang="0">
                  <a:pos x="138" y="128"/>
                </a:cxn>
                <a:cxn ang="0">
                  <a:pos x="114" y="130"/>
                </a:cxn>
                <a:cxn ang="0">
                  <a:pos x="108" y="108"/>
                </a:cxn>
                <a:cxn ang="0">
                  <a:pos x="100" y="96"/>
                </a:cxn>
                <a:cxn ang="0">
                  <a:pos x="92" y="106"/>
                </a:cxn>
                <a:cxn ang="0">
                  <a:pos x="76" y="94"/>
                </a:cxn>
                <a:cxn ang="0">
                  <a:pos x="72" y="84"/>
                </a:cxn>
                <a:cxn ang="0">
                  <a:pos x="46" y="76"/>
                </a:cxn>
                <a:cxn ang="0">
                  <a:pos x="34" y="72"/>
                </a:cxn>
                <a:cxn ang="0">
                  <a:pos x="16" y="70"/>
                </a:cxn>
                <a:cxn ang="0">
                  <a:pos x="10" y="80"/>
                </a:cxn>
              </a:cxnLst>
              <a:rect l="0" t="0" r="r" b="b"/>
              <a:pathLst>
                <a:path w="314" h="130">
                  <a:moveTo>
                    <a:pt x="6" y="86"/>
                  </a:moveTo>
                  <a:lnTo>
                    <a:pt x="8" y="84"/>
                  </a:lnTo>
                  <a:lnTo>
                    <a:pt x="8" y="82"/>
                  </a:lnTo>
                  <a:lnTo>
                    <a:pt x="8" y="80"/>
                  </a:lnTo>
                  <a:lnTo>
                    <a:pt x="6" y="72"/>
                  </a:lnTo>
                  <a:lnTo>
                    <a:pt x="4" y="72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0" y="68"/>
                  </a:lnTo>
                  <a:lnTo>
                    <a:pt x="4" y="64"/>
                  </a:lnTo>
                  <a:lnTo>
                    <a:pt x="6" y="64"/>
                  </a:lnTo>
                  <a:lnTo>
                    <a:pt x="8" y="62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18" y="36"/>
                  </a:lnTo>
                  <a:lnTo>
                    <a:pt x="16" y="34"/>
                  </a:lnTo>
                  <a:lnTo>
                    <a:pt x="8" y="28"/>
                  </a:lnTo>
                  <a:lnTo>
                    <a:pt x="6" y="28"/>
                  </a:lnTo>
                  <a:lnTo>
                    <a:pt x="6" y="22"/>
                  </a:lnTo>
                  <a:lnTo>
                    <a:pt x="6" y="6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2" y="6"/>
                  </a:lnTo>
                  <a:lnTo>
                    <a:pt x="24" y="6"/>
                  </a:lnTo>
                  <a:lnTo>
                    <a:pt x="26" y="4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36" y="10"/>
                  </a:lnTo>
                  <a:lnTo>
                    <a:pt x="36" y="14"/>
                  </a:lnTo>
                  <a:lnTo>
                    <a:pt x="36" y="16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4" y="32"/>
                  </a:lnTo>
                  <a:lnTo>
                    <a:pt x="50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6" y="36"/>
                  </a:lnTo>
                  <a:lnTo>
                    <a:pt x="68" y="32"/>
                  </a:lnTo>
                  <a:lnTo>
                    <a:pt x="64" y="30"/>
                  </a:lnTo>
                  <a:lnTo>
                    <a:pt x="60" y="26"/>
                  </a:lnTo>
                  <a:lnTo>
                    <a:pt x="62" y="22"/>
                  </a:lnTo>
                  <a:lnTo>
                    <a:pt x="64" y="24"/>
                  </a:lnTo>
                  <a:lnTo>
                    <a:pt x="68" y="30"/>
                  </a:lnTo>
                  <a:lnTo>
                    <a:pt x="72" y="32"/>
                  </a:lnTo>
                  <a:lnTo>
                    <a:pt x="74" y="36"/>
                  </a:lnTo>
                  <a:lnTo>
                    <a:pt x="74" y="38"/>
                  </a:lnTo>
                  <a:lnTo>
                    <a:pt x="76" y="40"/>
                  </a:lnTo>
                  <a:lnTo>
                    <a:pt x="80" y="42"/>
                  </a:lnTo>
                  <a:lnTo>
                    <a:pt x="82" y="44"/>
                  </a:lnTo>
                  <a:lnTo>
                    <a:pt x="94" y="44"/>
                  </a:lnTo>
                  <a:lnTo>
                    <a:pt x="98" y="44"/>
                  </a:lnTo>
                  <a:lnTo>
                    <a:pt x="102" y="44"/>
                  </a:lnTo>
                  <a:lnTo>
                    <a:pt x="106" y="44"/>
                  </a:lnTo>
                  <a:lnTo>
                    <a:pt x="112" y="42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18" y="40"/>
                  </a:lnTo>
                  <a:lnTo>
                    <a:pt x="120" y="38"/>
                  </a:lnTo>
                  <a:lnTo>
                    <a:pt x="122" y="36"/>
                  </a:lnTo>
                  <a:lnTo>
                    <a:pt x="124" y="34"/>
                  </a:lnTo>
                  <a:lnTo>
                    <a:pt x="128" y="30"/>
                  </a:lnTo>
                  <a:lnTo>
                    <a:pt x="130" y="30"/>
                  </a:lnTo>
                  <a:lnTo>
                    <a:pt x="134" y="28"/>
                  </a:lnTo>
                  <a:lnTo>
                    <a:pt x="142" y="26"/>
                  </a:lnTo>
                  <a:lnTo>
                    <a:pt x="146" y="24"/>
                  </a:lnTo>
                  <a:lnTo>
                    <a:pt x="150" y="24"/>
                  </a:lnTo>
                  <a:lnTo>
                    <a:pt x="156" y="22"/>
                  </a:lnTo>
                  <a:lnTo>
                    <a:pt x="158" y="22"/>
                  </a:lnTo>
                  <a:lnTo>
                    <a:pt x="160" y="20"/>
                  </a:lnTo>
                  <a:lnTo>
                    <a:pt x="162" y="16"/>
                  </a:lnTo>
                  <a:lnTo>
                    <a:pt x="164" y="16"/>
                  </a:lnTo>
                  <a:lnTo>
                    <a:pt x="166" y="14"/>
                  </a:lnTo>
                  <a:lnTo>
                    <a:pt x="174" y="12"/>
                  </a:lnTo>
                  <a:lnTo>
                    <a:pt x="178" y="10"/>
                  </a:lnTo>
                  <a:lnTo>
                    <a:pt x="180" y="6"/>
                  </a:lnTo>
                  <a:lnTo>
                    <a:pt x="182" y="4"/>
                  </a:lnTo>
                  <a:lnTo>
                    <a:pt x="184" y="2"/>
                  </a:lnTo>
                  <a:lnTo>
                    <a:pt x="186" y="2"/>
                  </a:lnTo>
                  <a:lnTo>
                    <a:pt x="188" y="0"/>
                  </a:lnTo>
                  <a:lnTo>
                    <a:pt x="192" y="4"/>
                  </a:lnTo>
                  <a:lnTo>
                    <a:pt x="204" y="4"/>
                  </a:lnTo>
                  <a:lnTo>
                    <a:pt x="208" y="4"/>
                  </a:lnTo>
                  <a:lnTo>
                    <a:pt x="214" y="4"/>
                  </a:lnTo>
                  <a:lnTo>
                    <a:pt x="216" y="4"/>
                  </a:lnTo>
                  <a:lnTo>
                    <a:pt x="218" y="4"/>
                  </a:lnTo>
                  <a:lnTo>
                    <a:pt x="220" y="4"/>
                  </a:lnTo>
                  <a:lnTo>
                    <a:pt x="218" y="4"/>
                  </a:lnTo>
                  <a:lnTo>
                    <a:pt x="216" y="6"/>
                  </a:lnTo>
                  <a:lnTo>
                    <a:pt x="214" y="6"/>
                  </a:lnTo>
                  <a:lnTo>
                    <a:pt x="214" y="8"/>
                  </a:lnTo>
                  <a:lnTo>
                    <a:pt x="214" y="10"/>
                  </a:lnTo>
                  <a:lnTo>
                    <a:pt x="216" y="10"/>
                  </a:lnTo>
                  <a:lnTo>
                    <a:pt x="234" y="10"/>
                  </a:lnTo>
                  <a:lnTo>
                    <a:pt x="242" y="10"/>
                  </a:lnTo>
                  <a:lnTo>
                    <a:pt x="244" y="12"/>
                  </a:lnTo>
                  <a:lnTo>
                    <a:pt x="246" y="14"/>
                  </a:lnTo>
                  <a:lnTo>
                    <a:pt x="250" y="14"/>
                  </a:lnTo>
                  <a:lnTo>
                    <a:pt x="252" y="16"/>
                  </a:lnTo>
                  <a:lnTo>
                    <a:pt x="258" y="18"/>
                  </a:lnTo>
                  <a:lnTo>
                    <a:pt x="262" y="20"/>
                  </a:lnTo>
                  <a:lnTo>
                    <a:pt x="270" y="22"/>
                  </a:lnTo>
                  <a:lnTo>
                    <a:pt x="274" y="26"/>
                  </a:lnTo>
                  <a:lnTo>
                    <a:pt x="276" y="28"/>
                  </a:lnTo>
                  <a:lnTo>
                    <a:pt x="278" y="30"/>
                  </a:lnTo>
                  <a:lnTo>
                    <a:pt x="282" y="32"/>
                  </a:lnTo>
                  <a:lnTo>
                    <a:pt x="284" y="36"/>
                  </a:lnTo>
                  <a:lnTo>
                    <a:pt x="284" y="38"/>
                  </a:lnTo>
                  <a:lnTo>
                    <a:pt x="286" y="40"/>
                  </a:lnTo>
                  <a:lnTo>
                    <a:pt x="290" y="42"/>
                  </a:lnTo>
                  <a:lnTo>
                    <a:pt x="294" y="46"/>
                  </a:lnTo>
                  <a:lnTo>
                    <a:pt x="296" y="50"/>
                  </a:lnTo>
                  <a:lnTo>
                    <a:pt x="296" y="52"/>
                  </a:lnTo>
                  <a:lnTo>
                    <a:pt x="298" y="52"/>
                  </a:lnTo>
                  <a:lnTo>
                    <a:pt x="302" y="52"/>
                  </a:lnTo>
                  <a:lnTo>
                    <a:pt x="304" y="52"/>
                  </a:lnTo>
                  <a:lnTo>
                    <a:pt x="304" y="54"/>
                  </a:lnTo>
                  <a:lnTo>
                    <a:pt x="300" y="58"/>
                  </a:lnTo>
                  <a:lnTo>
                    <a:pt x="298" y="60"/>
                  </a:lnTo>
                  <a:lnTo>
                    <a:pt x="300" y="62"/>
                  </a:lnTo>
                  <a:lnTo>
                    <a:pt x="302" y="62"/>
                  </a:lnTo>
                  <a:lnTo>
                    <a:pt x="302" y="64"/>
                  </a:lnTo>
                  <a:lnTo>
                    <a:pt x="304" y="66"/>
                  </a:lnTo>
                  <a:lnTo>
                    <a:pt x="304" y="68"/>
                  </a:lnTo>
                  <a:lnTo>
                    <a:pt x="304" y="70"/>
                  </a:lnTo>
                  <a:lnTo>
                    <a:pt x="304" y="74"/>
                  </a:lnTo>
                  <a:lnTo>
                    <a:pt x="306" y="74"/>
                  </a:lnTo>
                  <a:lnTo>
                    <a:pt x="308" y="78"/>
                  </a:lnTo>
                  <a:lnTo>
                    <a:pt x="310" y="80"/>
                  </a:lnTo>
                  <a:lnTo>
                    <a:pt x="312" y="84"/>
                  </a:lnTo>
                  <a:lnTo>
                    <a:pt x="314" y="88"/>
                  </a:lnTo>
                  <a:lnTo>
                    <a:pt x="312" y="92"/>
                  </a:lnTo>
                  <a:lnTo>
                    <a:pt x="308" y="94"/>
                  </a:lnTo>
                  <a:lnTo>
                    <a:pt x="304" y="100"/>
                  </a:lnTo>
                  <a:lnTo>
                    <a:pt x="306" y="104"/>
                  </a:lnTo>
                  <a:lnTo>
                    <a:pt x="292" y="114"/>
                  </a:lnTo>
                  <a:lnTo>
                    <a:pt x="290" y="112"/>
                  </a:lnTo>
                  <a:lnTo>
                    <a:pt x="290" y="110"/>
                  </a:lnTo>
                  <a:lnTo>
                    <a:pt x="288" y="106"/>
                  </a:lnTo>
                  <a:lnTo>
                    <a:pt x="284" y="104"/>
                  </a:lnTo>
                  <a:lnTo>
                    <a:pt x="284" y="106"/>
                  </a:lnTo>
                  <a:lnTo>
                    <a:pt x="284" y="108"/>
                  </a:lnTo>
                  <a:lnTo>
                    <a:pt x="284" y="110"/>
                  </a:lnTo>
                  <a:lnTo>
                    <a:pt x="284" y="112"/>
                  </a:lnTo>
                  <a:lnTo>
                    <a:pt x="286" y="114"/>
                  </a:lnTo>
                  <a:lnTo>
                    <a:pt x="284" y="114"/>
                  </a:lnTo>
                  <a:lnTo>
                    <a:pt x="284" y="116"/>
                  </a:lnTo>
                  <a:lnTo>
                    <a:pt x="282" y="116"/>
                  </a:lnTo>
                  <a:lnTo>
                    <a:pt x="280" y="116"/>
                  </a:lnTo>
                  <a:lnTo>
                    <a:pt x="276" y="130"/>
                  </a:lnTo>
                  <a:lnTo>
                    <a:pt x="274" y="130"/>
                  </a:lnTo>
                  <a:lnTo>
                    <a:pt x="270" y="124"/>
                  </a:lnTo>
                  <a:lnTo>
                    <a:pt x="262" y="114"/>
                  </a:lnTo>
                  <a:lnTo>
                    <a:pt x="260" y="114"/>
                  </a:lnTo>
                  <a:lnTo>
                    <a:pt x="262" y="112"/>
                  </a:lnTo>
                  <a:lnTo>
                    <a:pt x="258" y="108"/>
                  </a:lnTo>
                  <a:lnTo>
                    <a:pt x="254" y="104"/>
                  </a:lnTo>
                  <a:lnTo>
                    <a:pt x="254" y="102"/>
                  </a:lnTo>
                  <a:lnTo>
                    <a:pt x="252" y="96"/>
                  </a:lnTo>
                  <a:lnTo>
                    <a:pt x="250" y="94"/>
                  </a:lnTo>
                  <a:lnTo>
                    <a:pt x="248" y="90"/>
                  </a:lnTo>
                  <a:lnTo>
                    <a:pt x="248" y="86"/>
                  </a:lnTo>
                  <a:lnTo>
                    <a:pt x="248" y="84"/>
                  </a:lnTo>
                  <a:lnTo>
                    <a:pt x="248" y="82"/>
                  </a:lnTo>
                  <a:lnTo>
                    <a:pt x="248" y="84"/>
                  </a:lnTo>
                  <a:lnTo>
                    <a:pt x="250" y="84"/>
                  </a:lnTo>
                  <a:lnTo>
                    <a:pt x="252" y="84"/>
                  </a:lnTo>
                  <a:lnTo>
                    <a:pt x="254" y="84"/>
                  </a:lnTo>
                  <a:lnTo>
                    <a:pt x="256" y="82"/>
                  </a:lnTo>
                  <a:lnTo>
                    <a:pt x="258" y="80"/>
                  </a:lnTo>
                  <a:lnTo>
                    <a:pt x="258" y="78"/>
                  </a:lnTo>
                  <a:lnTo>
                    <a:pt x="254" y="76"/>
                  </a:lnTo>
                  <a:lnTo>
                    <a:pt x="254" y="74"/>
                  </a:lnTo>
                  <a:lnTo>
                    <a:pt x="256" y="74"/>
                  </a:lnTo>
                  <a:lnTo>
                    <a:pt x="260" y="70"/>
                  </a:lnTo>
                  <a:lnTo>
                    <a:pt x="262" y="66"/>
                  </a:lnTo>
                  <a:lnTo>
                    <a:pt x="264" y="66"/>
                  </a:lnTo>
                  <a:lnTo>
                    <a:pt x="268" y="72"/>
                  </a:lnTo>
                  <a:lnTo>
                    <a:pt x="270" y="74"/>
                  </a:lnTo>
                  <a:lnTo>
                    <a:pt x="270" y="76"/>
                  </a:lnTo>
                  <a:lnTo>
                    <a:pt x="272" y="76"/>
                  </a:lnTo>
                  <a:lnTo>
                    <a:pt x="276" y="76"/>
                  </a:lnTo>
                  <a:lnTo>
                    <a:pt x="278" y="78"/>
                  </a:lnTo>
                  <a:lnTo>
                    <a:pt x="280" y="80"/>
                  </a:lnTo>
                  <a:lnTo>
                    <a:pt x="282" y="80"/>
                  </a:lnTo>
                  <a:lnTo>
                    <a:pt x="278" y="76"/>
                  </a:lnTo>
                  <a:lnTo>
                    <a:pt x="276" y="76"/>
                  </a:lnTo>
                  <a:lnTo>
                    <a:pt x="274" y="74"/>
                  </a:lnTo>
                  <a:lnTo>
                    <a:pt x="270" y="74"/>
                  </a:lnTo>
                  <a:lnTo>
                    <a:pt x="268" y="70"/>
                  </a:lnTo>
                  <a:lnTo>
                    <a:pt x="264" y="64"/>
                  </a:lnTo>
                  <a:lnTo>
                    <a:pt x="258" y="68"/>
                  </a:lnTo>
                  <a:lnTo>
                    <a:pt x="256" y="66"/>
                  </a:lnTo>
                  <a:lnTo>
                    <a:pt x="252" y="66"/>
                  </a:lnTo>
                  <a:lnTo>
                    <a:pt x="250" y="70"/>
                  </a:lnTo>
                  <a:lnTo>
                    <a:pt x="248" y="70"/>
                  </a:lnTo>
                  <a:lnTo>
                    <a:pt x="244" y="64"/>
                  </a:lnTo>
                  <a:lnTo>
                    <a:pt x="244" y="60"/>
                  </a:lnTo>
                  <a:lnTo>
                    <a:pt x="244" y="54"/>
                  </a:lnTo>
                  <a:lnTo>
                    <a:pt x="242" y="54"/>
                  </a:lnTo>
                  <a:lnTo>
                    <a:pt x="240" y="52"/>
                  </a:lnTo>
                  <a:lnTo>
                    <a:pt x="238" y="52"/>
                  </a:lnTo>
                  <a:lnTo>
                    <a:pt x="234" y="50"/>
                  </a:lnTo>
                  <a:lnTo>
                    <a:pt x="232" y="48"/>
                  </a:lnTo>
                  <a:lnTo>
                    <a:pt x="232" y="44"/>
                  </a:lnTo>
                  <a:lnTo>
                    <a:pt x="222" y="38"/>
                  </a:lnTo>
                  <a:lnTo>
                    <a:pt x="216" y="36"/>
                  </a:lnTo>
                  <a:lnTo>
                    <a:pt x="214" y="36"/>
                  </a:lnTo>
                  <a:lnTo>
                    <a:pt x="214" y="34"/>
                  </a:lnTo>
                  <a:lnTo>
                    <a:pt x="214" y="30"/>
                  </a:lnTo>
                  <a:lnTo>
                    <a:pt x="216" y="28"/>
                  </a:lnTo>
                  <a:lnTo>
                    <a:pt x="218" y="26"/>
                  </a:lnTo>
                  <a:lnTo>
                    <a:pt x="216" y="26"/>
                  </a:lnTo>
                  <a:lnTo>
                    <a:pt x="212" y="28"/>
                  </a:lnTo>
                  <a:lnTo>
                    <a:pt x="210" y="30"/>
                  </a:lnTo>
                  <a:lnTo>
                    <a:pt x="210" y="32"/>
                  </a:lnTo>
                  <a:lnTo>
                    <a:pt x="204" y="34"/>
                  </a:lnTo>
                  <a:lnTo>
                    <a:pt x="202" y="32"/>
                  </a:lnTo>
                  <a:lnTo>
                    <a:pt x="198" y="32"/>
                  </a:lnTo>
                  <a:lnTo>
                    <a:pt x="196" y="32"/>
                  </a:lnTo>
                  <a:lnTo>
                    <a:pt x="194" y="34"/>
                  </a:lnTo>
                  <a:lnTo>
                    <a:pt x="192" y="34"/>
                  </a:lnTo>
                  <a:lnTo>
                    <a:pt x="188" y="36"/>
                  </a:lnTo>
                  <a:lnTo>
                    <a:pt x="188" y="38"/>
                  </a:lnTo>
                  <a:lnTo>
                    <a:pt x="186" y="40"/>
                  </a:lnTo>
                  <a:lnTo>
                    <a:pt x="182" y="40"/>
                  </a:lnTo>
                  <a:lnTo>
                    <a:pt x="178" y="40"/>
                  </a:lnTo>
                  <a:lnTo>
                    <a:pt x="178" y="42"/>
                  </a:lnTo>
                  <a:lnTo>
                    <a:pt x="176" y="44"/>
                  </a:lnTo>
                  <a:lnTo>
                    <a:pt x="176" y="48"/>
                  </a:lnTo>
                  <a:lnTo>
                    <a:pt x="178" y="50"/>
                  </a:lnTo>
                  <a:lnTo>
                    <a:pt x="176" y="56"/>
                  </a:lnTo>
                  <a:lnTo>
                    <a:pt x="166" y="62"/>
                  </a:lnTo>
                  <a:lnTo>
                    <a:pt x="162" y="66"/>
                  </a:lnTo>
                  <a:lnTo>
                    <a:pt x="160" y="66"/>
                  </a:lnTo>
                  <a:lnTo>
                    <a:pt x="158" y="68"/>
                  </a:lnTo>
                  <a:lnTo>
                    <a:pt x="156" y="70"/>
                  </a:lnTo>
                  <a:lnTo>
                    <a:pt x="150" y="72"/>
                  </a:lnTo>
                  <a:lnTo>
                    <a:pt x="144" y="72"/>
                  </a:lnTo>
                  <a:lnTo>
                    <a:pt x="142" y="72"/>
                  </a:lnTo>
                  <a:lnTo>
                    <a:pt x="140" y="74"/>
                  </a:lnTo>
                  <a:lnTo>
                    <a:pt x="138" y="76"/>
                  </a:lnTo>
                  <a:lnTo>
                    <a:pt x="138" y="78"/>
                  </a:lnTo>
                  <a:lnTo>
                    <a:pt x="138" y="82"/>
                  </a:lnTo>
                  <a:lnTo>
                    <a:pt x="136" y="82"/>
                  </a:lnTo>
                  <a:lnTo>
                    <a:pt x="140" y="86"/>
                  </a:lnTo>
                  <a:lnTo>
                    <a:pt x="142" y="88"/>
                  </a:lnTo>
                  <a:lnTo>
                    <a:pt x="144" y="88"/>
                  </a:lnTo>
                  <a:lnTo>
                    <a:pt x="144" y="90"/>
                  </a:lnTo>
                  <a:lnTo>
                    <a:pt x="146" y="92"/>
                  </a:lnTo>
                  <a:lnTo>
                    <a:pt x="154" y="100"/>
                  </a:lnTo>
                  <a:lnTo>
                    <a:pt x="160" y="108"/>
                  </a:lnTo>
                  <a:lnTo>
                    <a:pt x="162" y="114"/>
                  </a:lnTo>
                  <a:lnTo>
                    <a:pt x="162" y="116"/>
                  </a:lnTo>
                  <a:lnTo>
                    <a:pt x="160" y="118"/>
                  </a:lnTo>
                  <a:lnTo>
                    <a:pt x="158" y="118"/>
                  </a:lnTo>
                  <a:lnTo>
                    <a:pt x="154" y="120"/>
                  </a:lnTo>
                  <a:lnTo>
                    <a:pt x="150" y="118"/>
                  </a:lnTo>
                  <a:lnTo>
                    <a:pt x="148" y="118"/>
                  </a:lnTo>
                  <a:lnTo>
                    <a:pt x="146" y="118"/>
                  </a:lnTo>
                  <a:lnTo>
                    <a:pt x="142" y="122"/>
                  </a:lnTo>
                  <a:lnTo>
                    <a:pt x="142" y="126"/>
                  </a:lnTo>
                  <a:lnTo>
                    <a:pt x="138" y="128"/>
                  </a:lnTo>
                  <a:lnTo>
                    <a:pt x="130" y="130"/>
                  </a:lnTo>
                  <a:lnTo>
                    <a:pt x="128" y="130"/>
                  </a:lnTo>
                  <a:lnTo>
                    <a:pt x="124" y="130"/>
                  </a:lnTo>
                  <a:lnTo>
                    <a:pt x="120" y="130"/>
                  </a:lnTo>
                  <a:lnTo>
                    <a:pt x="116" y="130"/>
                  </a:lnTo>
                  <a:lnTo>
                    <a:pt x="114" y="130"/>
                  </a:lnTo>
                  <a:lnTo>
                    <a:pt x="112" y="128"/>
                  </a:lnTo>
                  <a:lnTo>
                    <a:pt x="114" y="124"/>
                  </a:lnTo>
                  <a:lnTo>
                    <a:pt x="114" y="118"/>
                  </a:lnTo>
                  <a:lnTo>
                    <a:pt x="112" y="112"/>
                  </a:lnTo>
                  <a:lnTo>
                    <a:pt x="110" y="108"/>
                  </a:lnTo>
                  <a:lnTo>
                    <a:pt x="108" y="108"/>
                  </a:lnTo>
                  <a:lnTo>
                    <a:pt x="106" y="104"/>
                  </a:lnTo>
                  <a:lnTo>
                    <a:pt x="106" y="100"/>
                  </a:lnTo>
                  <a:lnTo>
                    <a:pt x="106" y="96"/>
                  </a:lnTo>
                  <a:lnTo>
                    <a:pt x="106" y="94"/>
                  </a:lnTo>
                  <a:lnTo>
                    <a:pt x="102" y="96"/>
                  </a:lnTo>
                  <a:lnTo>
                    <a:pt x="100" y="96"/>
                  </a:lnTo>
                  <a:lnTo>
                    <a:pt x="100" y="98"/>
                  </a:lnTo>
                  <a:lnTo>
                    <a:pt x="98" y="104"/>
                  </a:lnTo>
                  <a:lnTo>
                    <a:pt x="98" y="106"/>
                  </a:lnTo>
                  <a:lnTo>
                    <a:pt x="96" y="108"/>
                  </a:lnTo>
                  <a:lnTo>
                    <a:pt x="94" y="108"/>
                  </a:lnTo>
                  <a:lnTo>
                    <a:pt x="92" y="106"/>
                  </a:lnTo>
                  <a:lnTo>
                    <a:pt x="88" y="106"/>
                  </a:lnTo>
                  <a:lnTo>
                    <a:pt x="86" y="104"/>
                  </a:lnTo>
                  <a:lnTo>
                    <a:pt x="82" y="104"/>
                  </a:lnTo>
                  <a:lnTo>
                    <a:pt x="78" y="100"/>
                  </a:lnTo>
                  <a:lnTo>
                    <a:pt x="76" y="98"/>
                  </a:lnTo>
                  <a:lnTo>
                    <a:pt x="76" y="94"/>
                  </a:lnTo>
                  <a:lnTo>
                    <a:pt x="76" y="90"/>
                  </a:lnTo>
                  <a:lnTo>
                    <a:pt x="76" y="88"/>
                  </a:lnTo>
                  <a:lnTo>
                    <a:pt x="74" y="88"/>
                  </a:lnTo>
                  <a:lnTo>
                    <a:pt x="72" y="86"/>
                  </a:lnTo>
                  <a:lnTo>
                    <a:pt x="70" y="84"/>
                  </a:lnTo>
                  <a:lnTo>
                    <a:pt x="72" y="84"/>
                  </a:lnTo>
                  <a:lnTo>
                    <a:pt x="70" y="80"/>
                  </a:lnTo>
                  <a:lnTo>
                    <a:pt x="68" y="78"/>
                  </a:lnTo>
                  <a:lnTo>
                    <a:pt x="58" y="78"/>
                  </a:lnTo>
                  <a:lnTo>
                    <a:pt x="50" y="76"/>
                  </a:lnTo>
                  <a:lnTo>
                    <a:pt x="48" y="78"/>
                  </a:lnTo>
                  <a:lnTo>
                    <a:pt x="46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2" y="72"/>
                  </a:lnTo>
                  <a:lnTo>
                    <a:pt x="40" y="70"/>
                  </a:lnTo>
                  <a:lnTo>
                    <a:pt x="36" y="70"/>
                  </a:lnTo>
                  <a:lnTo>
                    <a:pt x="34" y="72"/>
                  </a:lnTo>
                  <a:lnTo>
                    <a:pt x="30" y="72"/>
                  </a:lnTo>
                  <a:lnTo>
                    <a:pt x="28" y="72"/>
                  </a:lnTo>
                  <a:lnTo>
                    <a:pt x="26" y="72"/>
                  </a:lnTo>
                  <a:lnTo>
                    <a:pt x="22" y="70"/>
                  </a:lnTo>
                  <a:lnTo>
                    <a:pt x="20" y="70"/>
                  </a:lnTo>
                  <a:lnTo>
                    <a:pt x="16" y="70"/>
                  </a:lnTo>
                  <a:lnTo>
                    <a:pt x="14" y="70"/>
                  </a:lnTo>
                  <a:lnTo>
                    <a:pt x="12" y="70"/>
                  </a:lnTo>
                  <a:lnTo>
                    <a:pt x="10" y="72"/>
                  </a:lnTo>
                  <a:lnTo>
                    <a:pt x="8" y="74"/>
                  </a:lnTo>
                  <a:lnTo>
                    <a:pt x="8" y="76"/>
                  </a:lnTo>
                  <a:lnTo>
                    <a:pt x="10" y="80"/>
                  </a:lnTo>
                  <a:lnTo>
                    <a:pt x="10" y="82"/>
                  </a:lnTo>
                  <a:lnTo>
                    <a:pt x="8" y="86"/>
                  </a:lnTo>
                  <a:lnTo>
                    <a:pt x="6" y="86"/>
                  </a:lnTo>
                  <a:close/>
                </a:path>
              </a:pathLst>
            </a:custGeom>
            <a:solidFill>
              <a:srgbClr val="F5F1B5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1" name="Freeform 313"/>
            <p:cNvSpPr>
              <a:spLocks/>
            </p:cNvSpPr>
            <p:nvPr/>
          </p:nvSpPr>
          <p:spPr bwMode="auto">
            <a:xfrm>
              <a:off x="1856" y="472"/>
              <a:ext cx="6" cy="6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0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0" y="2"/>
                </a:cxn>
              </a:cxnLst>
              <a:rect l="0" t="0" r="r" b="b"/>
              <a:pathLst>
                <a:path w="6" h="6">
                  <a:moveTo>
                    <a:pt x="0" y="2"/>
                  </a:moveTo>
                  <a:lnTo>
                    <a:pt x="4" y="0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6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5F1B5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2" name="Freeform 314"/>
            <p:cNvSpPr>
              <a:spLocks/>
            </p:cNvSpPr>
            <p:nvPr/>
          </p:nvSpPr>
          <p:spPr bwMode="auto">
            <a:xfrm>
              <a:off x="2036" y="526"/>
              <a:ext cx="8" cy="12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2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2" y="12"/>
                </a:cxn>
                <a:cxn ang="0">
                  <a:pos x="0" y="10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6" y="0"/>
                </a:cxn>
              </a:cxnLst>
              <a:rect l="0" t="0" r="r" b="b"/>
              <a:pathLst>
                <a:path w="8" h="12">
                  <a:moveTo>
                    <a:pt x="6" y="0"/>
                  </a:moveTo>
                  <a:lnTo>
                    <a:pt x="6" y="2"/>
                  </a:lnTo>
                  <a:lnTo>
                    <a:pt x="8" y="4"/>
                  </a:lnTo>
                  <a:lnTo>
                    <a:pt x="8" y="8"/>
                  </a:lnTo>
                  <a:lnTo>
                    <a:pt x="6" y="10"/>
                  </a:lnTo>
                  <a:lnTo>
                    <a:pt x="2" y="12"/>
                  </a:lnTo>
                  <a:lnTo>
                    <a:pt x="0" y="10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5F1B5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3" name="Freeform 315"/>
            <p:cNvSpPr>
              <a:spLocks/>
            </p:cNvSpPr>
            <p:nvPr/>
          </p:nvSpPr>
          <p:spPr bwMode="auto">
            <a:xfrm>
              <a:off x="1880" y="570"/>
              <a:ext cx="14" cy="18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2"/>
                </a:cxn>
                <a:cxn ang="0">
                  <a:pos x="8" y="6"/>
                </a:cxn>
                <a:cxn ang="0">
                  <a:pos x="8" y="8"/>
                </a:cxn>
                <a:cxn ang="0">
                  <a:pos x="8" y="10"/>
                </a:cxn>
                <a:cxn ang="0">
                  <a:pos x="8" y="12"/>
                </a:cxn>
                <a:cxn ang="0">
                  <a:pos x="10" y="14"/>
                </a:cxn>
                <a:cxn ang="0">
                  <a:pos x="12" y="14"/>
                </a:cxn>
                <a:cxn ang="0">
                  <a:pos x="14" y="14"/>
                </a:cxn>
                <a:cxn ang="0">
                  <a:pos x="14" y="16"/>
                </a:cxn>
                <a:cxn ang="0">
                  <a:pos x="14" y="18"/>
                </a:cxn>
                <a:cxn ang="0">
                  <a:pos x="12" y="18"/>
                </a:cxn>
                <a:cxn ang="0">
                  <a:pos x="6" y="16"/>
                </a:cxn>
                <a:cxn ang="0">
                  <a:pos x="2" y="12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6" y="0"/>
                </a:cxn>
              </a:cxnLst>
              <a:rect l="0" t="0" r="r" b="b"/>
              <a:pathLst>
                <a:path w="14" h="18">
                  <a:moveTo>
                    <a:pt x="6" y="0"/>
                  </a:moveTo>
                  <a:lnTo>
                    <a:pt x="8" y="2"/>
                  </a:lnTo>
                  <a:lnTo>
                    <a:pt x="8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6" y="16"/>
                  </a:lnTo>
                  <a:lnTo>
                    <a:pt x="2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5F1B5"/>
            </a:solidFill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04" name="Freeform 316"/>
          <p:cNvSpPr>
            <a:spLocks/>
          </p:cNvSpPr>
          <p:nvPr/>
        </p:nvSpPr>
        <p:spPr bwMode="auto">
          <a:xfrm>
            <a:off x="3272465" y="1257653"/>
            <a:ext cx="793750" cy="1154113"/>
          </a:xfrm>
          <a:custGeom>
            <a:avLst/>
            <a:gdLst/>
            <a:ahLst/>
            <a:cxnLst>
              <a:cxn ang="0">
                <a:pos x="88" y="494"/>
              </a:cxn>
              <a:cxn ang="0">
                <a:pos x="96" y="466"/>
              </a:cxn>
              <a:cxn ang="0">
                <a:pos x="88" y="456"/>
              </a:cxn>
              <a:cxn ang="0">
                <a:pos x="92" y="414"/>
              </a:cxn>
              <a:cxn ang="0">
                <a:pos x="90" y="370"/>
              </a:cxn>
              <a:cxn ang="0">
                <a:pos x="92" y="328"/>
              </a:cxn>
              <a:cxn ang="0">
                <a:pos x="72" y="266"/>
              </a:cxn>
              <a:cxn ang="0">
                <a:pos x="100" y="244"/>
              </a:cxn>
              <a:cxn ang="0">
                <a:pos x="88" y="210"/>
              </a:cxn>
              <a:cxn ang="0">
                <a:pos x="114" y="230"/>
              </a:cxn>
              <a:cxn ang="0">
                <a:pos x="126" y="244"/>
              </a:cxn>
              <a:cxn ang="0">
                <a:pos x="144" y="192"/>
              </a:cxn>
              <a:cxn ang="0">
                <a:pos x="188" y="158"/>
              </a:cxn>
              <a:cxn ang="0">
                <a:pos x="190" y="110"/>
              </a:cxn>
              <a:cxn ang="0">
                <a:pos x="228" y="72"/>
              </a:cxn>
              <a:cxn ang="0">
                <a:pos x="242" y="84"/>
              </a:cxn>
              <a:cxn ang="0">
                <a:pos x="262" y="66"/>
              </a:cxn>
              <a:cxn ang="0">
                <a:pos x="300" y="64"/>
              </a:cxn>
              <a:cxn ang="0">
                <a:pos x="358" y="36"/>
              </a:cxn>
              <a:cxn ang="0">
                <a:pos x="390" y="8"/>
              </a:cxn>
              <a:cxn ang="0">
                <a:pos x="428" y="22"/>
              </a:cxn>
              <a:cxn ang="0">
                <a:pos x="364" y="70"/>
              </a:cxn>
              <a:cxn ang="0">
                <a:pos x="328" y="132"/>
              </a:cxn>
              <a:cxn ang="0">
                <a:pos x="330" y="176"/>
              </a:cxn>
              <a:cxn ang="0">
                <a:pos x="356" y="260"/>
              </a:cxn>
              <a:cxn ang="0">
                <a:pos x="382" y="294"/>
              </a:cxn>
              <a:cxn ang="0">
                <a:pos x="434" y="296"/>
              </a:cxn>
              <a:cxn ang="0">
                <a:pos x="480" y="296"/>
              </a:cxn>
              <a:cxn ang="0">
                <a:pos x="542" y="338"/>
              </a:cxn>
              <a:cxn ang="0">
                <a:pos x="588" y="338"/>
              </a:cxn>
              <a:cxn ang="0">
                <a:pos x="624" y="340"/>
              </a:cxn>
              <a:cxn ang="0">
                <a:pos x="616" y="370"/>
              </a:cxn>
              <a:cxn ang="0">
                <a:pos x="608" y="414"/>
              </a:cxn>
              <a:cxn ang="0">
                <a:pos x="620" y="472"/>
              </a:cxn>
              <a:cxn ang="0">
                <a:pos x="616" y="508"/>
              </a:cxn>
              <a:cxn ang="0">
                <a:pos x="640" y="550"/>
              </a:cxn>
              <a:cxn ang="0">
                <a:pos x="648" y="604"/>
              </a:cxn>
              <a:cxn ang="0">
                <a:pos x="624" y="560"/>
              </a:cxn>
              <a:cxn ang="0">
                <a:pos x="594" y="574"/>
              </a:cxn>
              <a:cxn ang="0">
                <a:pos x="524" y="580"/>
              </a:cxn>
              <a:cxn ang="0">
                <a:pos x="530" y="618"/>
              </a:cxn>
              <a:cxn ang="0">
                <a:pos x="486" y="642"/>
              </a:cxn>
              <a:cxn ang="0">
                <a:pos x="512" y="708"/>
              </a:cxn>
              <a:cxn ang="0">
                <a:pos x="516" y="778"/>
              </a:cxn>
              <a:cxn ang="0">
                <a:pos x="482" y="892"/>
              </a:cxn>
              <a:cxn ang="0">
                <a:pos x="456" y="870"/>
              </a:cxn>
              <a:cxn ang="0">
                <a:pos x="458" y="808"/>
              </a:cxn>
              <a:cxn ang="0">
                <a:pos x="396" y="790"/>
              </a:cxn>
              <a:cxn ang="0">
                <a:pos x="332" y="806"/>
              </a:cxn>
              <a:cxn ang="0">
                <a:pos x="314" y="774"/>
              </a:cxn>
              <a:cxn ang="0">
                <a:pos x="282" y="742"/>
              </a:cxn>
              <a:cxn ang="0">
                <a:pos x="252" y="704"/>
              </a:cxn>
              <a:cxn ang="0">
                <a:pos x="212" y="676"/>
              </a:cxn>
              <a:cxn ang="0">
                <a:pos x="178" y="672"/>
              </a:cxn>
              <a:cxn ang="0">
                <a:pos x="126" y="660"/>
              </a:cxn>
              <a:cxn ang="0">
                <a:pos x="86" y="638"/>
              </a:cxn>
              <a:cxn ang="0">
                <a:pos x="62" y="630"/>
              </a:cxn>
              <a:cxn ang="0">
                <a:pos x="26" y="608"/>
              </a:cxn>
              <a:cxn ang="0">
                <a:pos x="10" y="574"/>
              </a:cxn>
              <a:cxn ang="0">
                <a:pos x="26" y="544"/>
              </a:cxn>
              <a:cxn ang="0">
                <a:pos x="60" y="532"/>
              </a:cxn>
            </a:cxnLst>
            <a:rect l="0" t="0" r="r" b="b"/>
            <a:pathLst>
              <a:path w="658" h="904">
                <a:moveTo>
                  <a:pt x="60" y="532"/>
                </a:moveTo>
                <a:lnTo>
                  <a:pt x="60" y="530"/>
                </a:lnTo>
                <a:lnTo>
                  <a:pt x="62" y="532"/>
                </a:lnTo>
                <a:lnTo>
                  <a:pt x="62" y="534"/>
                </a:lnTo>
                <a:lnTo>
                  <a:pt x="64" y="536"/>
                </a:lnTo>
                <a:lnTo>
                  <a:pt x="68" y="534"/>
                </a:lnTo>
                <a:lnTo>
                  <a:pt x="70" y="532"/>
                </a:lnTo>
                <a:lnTo>
                  <a:pt x="70" y="530"/>
                </a:lnTo>
                <a:lnTo>
                  <a:pt x="68" y="524"/>
                </a:lnTo>
                <a:lnTo>
                  <a:pt x="72" y="518"/>
                </a:lnTo>
                <a:lnTo>
                  <a:pt x="80" y="508"/>
                </a:lnTo>
                <a:lnTo>
                  <a:pt x="88" y="498"/>
                </a:lnTo>
                <a:lnTo>
                  <a:pt x="88" y="496"/>
                </a:lnTo>
                <a:lnTo>
                  <a:pt x="88" y="494"/>
                </a:lnTo>
                <a:lnTo>
                  <a:pt x="86" y="494"/>
                </a:lnTo>
                <a:lnTo>
                  <a:pt x="86" y="492"/>
                </a:lnTo>
                <a:lnTo>
                  <a:pt x="92" y="488"/>
                </a:lnTo>
                <a:lnTo>
                  <a:pt x="98" y="480"/>
                </a:lnTo>
                <a:lnTo>
                  <a:pt x="104" y="476"/>
                </a:lnTo>
                <a:lnTo>
                  <a:pt x="104" y="472"/>
                </a:lnTo>
                <a:lnTo>
                  <a:pt x="104" y="470"/>
                </a:lnTo>
                <a:lnTo>
                  <a:pt x="110" y="462"/>
                </a:lnTo>
                <a:lnTo>
                  <a:pt x="106" y="462"/>
                </a:lnTo>
                <a:lnTo>
                  <a:pt x="104" y="464"/>
                </a:lnTo>
                <a:lnTo>
                  <a:pt x="102" y="464"/>
                </a:lnTo>
                <a:lnTo>
                  <a:pt x="100" y="466"/>
                </a:lnTo>
                <a:lnTo>
                  <a:pt x="98" y="466"/>
                </a:lnTo>
                <a:lnTo>
                  <a:pt x="96" y="466"/>
                </a:lnTo>
                <a:lnTo>
                  <a:pt x="96" y="462"/>
                </a:lnTo>
                <a:lnTo>
                  <a:pt x="96" y="460"/>
                </a:lnTo>
                <a:lnTo>
                  <a:pt x="96" y="458"/>
                </a:lnTo>
                <a:lnTo>
                  <a:pt x="98" y="458"/>
                </a:lnTo>
                <a:lnTo>
                  <a:pt x="100" y="454"/>
                </a:lnTo>
                <a:lnTo>
                  <a:pt x="100" y="452"/>
                </a:lnTo>
                <a:lnTo>
                  <a:pt x="96" y="452"/>
                </a:lnTo>
                <a:lnTo>
                  <a:pt x="96" y="454"/>
                </a:lnTo>
                <a:lnTo>
                  <a:pt x="94" y="454"/>
                </a:lnTo>
                <a:lnTo>
                  <a:pt x="94" y="458"/>
                </a:lnTo>
                <a:lnTo>
                  <a:pt x="92" y="460"/>
                </a:lnTo>
                <a:lnTo>
                  <a:pt x="92" y="462"/>
                </a:lnTo>
                <a:lnTo>
                  <a:pt x="88" y="458"/>
                </a:lnTo>
                <a:lnTo>
                  <a:pt x="88" y="456"/>
                </a:lnTo>
                <a:lnTo>
                  <a:pt x="88" y="450"/>
                </a:lnTo>
                <a:lnTo>
                  <a:pt x="88" y="448"/>
                </a:lnTo>
                <a:lnTo>
                  <a:pt x="92" y="446"/>
                </a:lnTo>
                <a:lnTo>
                  <a:pt x="96" y="446"/>
                </a:lnTo>
                <a:lnTo>
                  <a:pt x="98" y="444"/>
                </a:lnTo>
                <a:lnTo>
                  <a:pt x="96" y="442"/>
                </a:lnTo>
                <a:lnTo>
                  <a:pt x="92" y="442"/>
                </a:lnTo>
                <a:lnTo>
                  <a:pt x="90" y="438"/>
                </a:lnTo>
                <a:lnTo>
                  <a:pt x="92" y="432"/>
                </a:lnTo>
                <a:lnTo>
                  <a:pt x="94" y="432"/>
                </a:lnTo>
                <a:lnTo>
                  <a:pt x="94" y="428"/>
                </a:lnTo>
                <a:lnTo>
                  <a:pt x="94" y="422"/>
                </a:lnTo>
                <a:lnTo>
                  <a:pt x="94" y="418"/>
                </a:lnTo>
                <a:lnTo>
                  <a:pt x="92" y="414"/>
                </a:lnTo>
                <a:lnTo>
                  <a:pt x="92" y="412"/>
                </a:lnTo>
                <a:lnTo>
                  <a:pt x="92" y="410"/>
                </a:lnTo>
                <a:lnTo>
                  <a:pt x="92" y="406"/>
                </a:lnTo>
                <a:lnTo>
                  <a:pt x="92" y="398"/>
                </a:lnTo>
                <a:lnTo>
                  <a:pt x="92" y="396"/>
                </a:lnTo>
                <a:lnTo>
                  <a:pt x="92" y="392"/>
                </a:lnTo>
                <a:lnTo>
                  <a:pt x="92" y="390"/>
                </a:lnTo>
                <a:lnTo>
                  <a:pt x="92" y="386"/>
                </a:lnTo>
                <a:lnTo>
                  <a:pt x="90" y="378"/>
                </a:lnTo>
                <a:lnTo>
                  <a:pt x="86" y="376"/>
                </a:lnTo>
                <a:lnTo>
                  <a:pt x="82" y="376"/>
                </a:lnTo>
                <a:lnTo>
                  <a:pt x="84" y="372"/>
                </a:lnTo>
                <a:lnTo>
                  <a:pt x="88" y="370"/>
                </a:lnTo>
                <a:lnTo>
                  <a:pt x="90" y="370"/>
                </a:lnTo>
                <a:lnTo>
                  <a:pt x="92" y="370"/>
                </a:lnTo>
                <a:lnTo>
                  <a:pt x="94" y="370"/>
                </a:lnTo>
                <a:lnTo>
                  <a:pt x="98" y="364"/>
                </a:lnTo>
                <a:lnTo>
                  <a:pt x="98" y="362"/>
                </a:lnTo>
                <a:lnTo>
                  <a:pt x="98" y="360"/>
                </a:lnTo>
                <a:lnTo>
                  <a:pt x="94" y="350"/>
                </a:lnTo>
                <a:lnTo>
                  <a:pt x="90" y="344"/>
                </a:lnTo>
                <a:lnTo>
                  <a:pt x="86" y="342"/>
                </a:lnTo>
                <a:lnTo>
                  <a:pt x="86" y="340"/>
                </a:lnTo>
                <a:lnTo>
                  <a:pt x="84" y="340"/>
                </a:lnTo>
                <a:lnTo>
                  <a:pt x="86" y="334"/>
                </a:lnTo>
                <a:lnTo>
                  <a:pt x="90" y="336"/>
                </a:lnTo>
                <a:lnTo>
                  <a:pt x="90" y="334"/>
                </a:lnTo>
                <a:lnTo>
                  <a:pt x="92" y="328"/>
                </a:lnTo>
                <a:lnTo>
                  <a:pt x="94" y="318"/>
                </a:lnTo>
                <a:lnTo>
                  <a:pt x="90" y="312"/>
                </a:lnTo>
                <a:lnTo>
                  <a:pt x="88" y="310"/>
                </a:lnTo>
                <a:lnTo>
                  <a:pt x="86" y="310"/>
                </a:lnTo>
                <a:lnTo>
                  <a:pt x="76" y="302"/>
                </a:lnTo>
                <a:lnTo>
                  <a:pt x="76" y="296"/>
                </a:lnTo>
                <a:lnTo>
                  <a:pt x="76" y="294"/>
                </a:lnTo>
                <a:lnTo>
                  <a:pt x="76" y="292"/>
                </a:lnTo>
                <a:lnTo>
                  <a:pt x="68" y="286"/>
                </a:lnTo>
                <a:lnTo>
                  <a:pt x="64" y="282"/>
                </a:lnTo>
                <a:lnTo>
                  <a:pt x="68" y="268"/>
                </a:lnTo>
                <a:lnTo>
                  <a:pt x="70" y="268"/>
                </a:lnTo>
                <a:lnTo>
                  <a:pt x="72" y="268"/>
                </a:lnTo>
                <a:lnTo>
                  <a:pt x="72" y="266"/>
                </a:lnTo>
                <a:lnTo>
                  <a:pt x="74" y="266"/>
                </a:lnTo>
                <a:lnTo>
                  <a:pt x="72" y="264"/>
                </a:lnTo>
                <a:lnTo>
                  <a:pt x="72" y="262"/>
                </a:lnTo>
                <a:lnTo>
                  <a:pt x="72" y="260"/>
                </a:lnTo>
                <a:lnTo>
                  <a:pt x="72" y="258"/>
                </a:lnTo>
                <a:lnTo>
                  <a:pt x="72" y="256"/>
                </a:lnTo>
                <a:lnTo>
                  <a:pt x="76" y="258"/>
                </a:lnTo>
                <a:lnTo>
                  <a:pt x="78" y="262"/>
                </a:lnTo>
                <a:lnTo>
                  <a:pt x="78" y="264"/>
                </a:lnTo>
                <a:lnTo>
                  <a:pt x="80" y="266"/>
                </a:lnTo>
                <a:lnTo>
                  <a:pt x="94" y="256"/>
                </a:lnTo>
                <a:lnTo>
                  <a:pt x="92" y="252"/>
                </a:lnTo>
                <a:lnTo>
                  <a:pt x="96" y="246"/>
                </a:lnTo>
                <a:lnTo>
                  <a:pt x="100" y="244"/>
                </a:lnTo>
                <a:lnTo>
                  <a:pt x="102" y="240"/>
                </a:lnTo>
                <a:lnTo>
                  <a:pt x="100" y="236"/>
                </a:lnTo>
                <a:lnTo>
                  <a:pt x="98" y="232"/>
                </a:lnTo>
                <a:lnTo>
                  <a:pt x="96" y="230"/>
                </a:lnTo>
                <a:lnTo>
                  <a:pt x="94" y="226"/>
                </a:lnTo>
                <a:lnTo>
                  <a:pt x="92" y="226"/>
                </a:lnTo>
                <a:lnTo>
                  <a:pt x="92" y="222"/>
                </a:lnTo>
                <a:lnTo>
                  <a:pt x="92" y="220"/>
                </a:lnTo>
                <a:lnTo>
                  <a:pt x="92" y="218"/>
                </a:lnTo>
                <a:lnTo>
                  <a:pt x="90" y="216"/>
                </a:lnTo>
                <a:lnTo>
                  <a:pt x="90" y="214"/>
                </a:lnTo>
                <a:lnTo>
                  <a:pt x="88" y="214"/>
                </a:lnTo>
                <a:lnTo>
                  <a:pt x="86" y="212"/>
                </a:lnTo>
                <a:lnTo>
                  <a:pt x="88" y="210"/>
                </a:lnTo>
                <a:lnTo>
                  <a:pt x="92" y="206"/>
                </a:lnTo>
                <a:lnTo>
                  <a:pt x="92" y="204"/>
                </a:lnTo>
                <a:lnTo>
                  <a:pt x="94" y="204"/>
                </a:lnTo>
                <a:lnTo>
                  <a:pt x="96" y="210"/>
                </a:lnTo>
                <a:lnTo>
                  <a:pt x="96" y="212"/>
                </a:lnTo>
                <a:lnTo>
                  <a:pt x="98" y="214"/>
                </a:lnTo>
                <a:lnTo>
                  <a:pt x="100" y="216"/>
                </a:lnTo>
                <a:lnTo>
                  <a:pt x="102" y="216"/>
                </a:lnTo>
                <a:lnTo>
                  <a:pt x="104" y="216"/>
                </a:lnTo>
                <a:lnTo>
                  <a:pt x="104" y="218"/>
                </a:lnTo>
                <a:lnTo>
                  <a:pt x="106" y="220"/>
                </a:lnTo>
                <a:lnTo>
                  <a:pt x="108" y="222"/>
                </a:lnTo>
                <a:lnTo>
                  <a:pt x="114" y="228"/>
                </a:lnTo>
                <a:lnTo>
                  <a:pt x="114" y="230"/>
                </a:lnTo>
                <a:lnTo>
                  <a:pt x="114" y="232"/>
                </a:lnTo>
                <a:lnTo>
                  <a:pt x="118" y="234"/>
                </a:lnTo>
                <a:lnTo>
                  <a:pt x="120" y="232"/>
                </a:lnTo>
                <a:lnTo>
                  <a:pt x="120" y="234"/>
                </a:lnTo>
                <a:lnTo>
                  <a:pt x="120" y="236"/>
                </a:lnTo>
                <a:lnTo>
                  <a:pt x="120" y="240"/>
                </a:lnTo>
                <a:lnTo>
                  <a:pt x="118" y="238"/>
                </a:lnTo>
                <a:lnTo>
                  <a:pt x="116" y="238"/>
                </a:lnTo>
                <a:lnTo>
                  <a:pt x="116" y="242"/>
                </a:lnTo>
                <a:lnTo>
                  <a:pt x="116" y="244"/>
                </a:lnTo>
                <a:lnTo>
                  <a:pt x="118" y="246"/>
                </a:lnTo>
                <a:lnTo>
                  <a:pt x="122" y="246"/>
                </a:lnTo>
                <a:lnTo>
                  <a:pt x="126" y="246"/>
                </a:lnTo>
                <a:lnTo>
                  <a:pt x="126" y="244"/>
                </a:lnTo>
                <a:lnTo>
                  <a:pt x="126" y="238"/>
                </a:lnTo>
                <a:lnTo>
                  <a:pt x="126" y="236"/>
                </a:lnTo>
                <a:lnTo>
                  <a:pt x="126" y="230"/>
                </a:lnTo>
                <a:lnTo>
                  <a:pt x="124" y="222"/>
                </a:lnTo>
                <a:lnTo>
                  <a:pt x="124" y="218"/>
                </a:lnTo>
                <a:lnTo>
                  <a:pt x="122" y="214"/>
                </a:lnTo>
                <a:lnTo>
                  <a:pt x="118" y="212"/>
                </a:lnTo>
                <a:lnTo>
                  <a:pt x="116" y="212"/>
                </a:lnTo>
                <a:lnTo>
                  <a:pt x="116" y="210"/>
                </a:lnTo>
                <a:lnTo>
                  <a:pt x="118" y="206"/>
                </a:lnTo>
                <a:lnTo>
                  <a:pt x="122" y="206"/>
                </a:lnTo>
                <a:lnTo>
                  <a:pt x="130" y="204"/>
                </a:lnTo>
                <a:lnTo>
                  <a:pt x="142" y="192"/>
                </a:lnTo>
                <a:lnTo>
                  <a:pt x="144" y="192"/>
                </a:lnTo>
                <a:lnTo>
                  <a:pt x="146" y="192"/>
                </a:lnTo>
                <a:lnTo>
                  <a:pt x="150" y="190"/>
                </a:lnTo>
                <a:lnTo>
                  <a:pt x="152" y="186"/>
                </a:lnTo>
                <a:lnTo>
                  <a:pt x="156" y="176"/>
                </a:lnTo>
                <a:lnTo>
                  <a:pt x="156" y="174"/>
                </a:lnTo>
                <a:lnTo>
                  <a:pt x="160" y="170"/>
                </a:lnTo>
                <a:lnTo>
                  <a:pt x="162" y="168"/>
                </a:lnTo>
                <a:lnTo>
                  <a:pt x="170" y="164"/>
                </a:lnTo>
                <a:lnTo>
                  <a:pt x="176" y="162"/>
                </a:lnTo>
                <a:lnTo>
                  <a:pt x="182" y="164"/>
                </a:lnTo>
                <a:lnTo>
                  <a:pt x="184" y="164"/>
                </a:lnTo>
                <a:lnTo>
                  <a:pt x="186" y="162"/>
                </a:lnTo>
                <a:lnTo>
                  <a:pt x="188" y="160"/>
                </a:lnTo>
                <a:lnTo>
                  <a:pt x="188" y="158"/>
                </a:lnTo>
                <a:lnTo>
                  <a:pt x="188" y="156"/>
                </a:lnTo>
                <a:lnTo>
                  <a:pt x="188" y="154"/>
                </a:lnTo>
                <a:lnTo>
                  <a:pt x="188" y="152"/>
                </a:lnTo>
                <a:lnTo>
                  <a:pt x="188" y="150"/>
                </a:lnTo>
                <a:lnTo>
                  <a:pt x="186" y="148"/>
                </a:lnTo>
                <a:lnTo>
                  <a:pt x="184" y="146"/>
                </a:lnTo>
                <a:lnTo>
                  <a:pt x="186" y="142"/>
                </a:lnTo>
                <a:lnTo>
                  <a:pt x="188" y="134"/>
                </a:lnTo>
                <a:lnTo>
                  <a:pt x="188" y="130"/>
                </a:lnTo>
                <a:lnTo>
                  <a:pt x="188" y="128"/>
                </a:lnTo>
                <a:lnTo>
                  <a:pt x="190" y="124"/>
                </a:lnTo>
                <a:lnTo>
                  <a:pt x="192" y="122"/>
                </a:lnTo>
                <a:lnTo>
                  <a:pt x="192" y="120"/>
                </a:lnTo>
                <a:lnTo>
                  <a:pt x="190" y="110"/>
                </a:lnTo>
                <a:lnTo>
                  <a:pt x="194" y="108"/>
                </a:lnTo>
                <a:lnTo>
                  <a:pt x="194" y="106"/>
                </a:lnTo>
                <a:lnTo>
                  <a:pt x="194" y="102"/>
                </a:lnTo>
                <a:lnTo>
                  <a:pt x="194" y="100"/>
                </a:lnTo>
                <a:lnTo>
                  <a:pt x="198" y="96"/>
                </a:lnTo>
                <a:lnTo>
                  <a:pt x="206" y="94"/>
                </a:lnTo>
                <a:lnTo>
                  <a:pt x="208" y="92"/>
                </a:lnTo>
                <a:lnTo>
                  <a:pt x="206" y="92"/>
                </a:lnTo>
                <a:lnTo>
                  <a:pt x="206" y="88"/>
                </a:lnTo>
                <a:lnTo>
                  <a:pt x="208" y="88"/>
                </a:lnTo>
                <a:lnTo>
                  <a:pt x="218" y="82"/>
                </a:lnTo>
                <a:lnTo>
                  <a:pt x="220" y="80"/>
                </a:lnTo>
                <a:lnTo>
                  <a:pt x="224" y="74"/>
                </a:lnTo>
                <a:lnTo>
                  <a:pt x="228" y="72"/>
                </a:lnTo>
                <a:lnTo>
                  <a:pt x="246" y="78"/>
                </a:lnTo>
                <a:lnTo>
                  <a:pt x="248" y="80"/>
                </a:lnTo>
                <a:lnTo>
                  <a:pt x="250" y="80"/>
                </a:lnTo>
                <a:lnTo>
                  <a:pt x="252" y="80"/>
                </a:lnTo>
                <a:lnTo>
                  <a:pt x="254" y="80"/>
                </a:lnTo>
                <a:lnTo>
                  <a:pt x="256" y="80"/>
                </a:lnTo>
                <a:lnTo>
                  <a:pt x="258" y="80"/>
                </a:lnTo>
                <a:lnTo>
                  <a:pt x="258" y="78"/>
                </a:lnTo>
                <a:lnTo>
                  <a:pt x="258" y="80"/>
                </a:lnTo>
                <a:lnTo>
                  <a:pt x="256" y="80"/>
                </a:lnTo>
                <a:lnTo>
                  <a:pt x="254" y="80"/>
                </a:lnTo>
                <a:lnTo>
                  <a:pt x="252" y="80"/>
                </a:lnTo>
                <a:lnTo>
                  <a:pt x="248" y="80"/>
                </a:lnTo>
                <a:lnTo>
                  <a:pt x="242" y="84"/>
                </a:lnTo>
                <a:lnTo>
                  <a:pt x="242" y="88"/>
                </a:lnTo>
                <a:lnTo>
                  <a:pt x="242" y="90"/>
                </a:lnTo>
                <a:lnTo>
                  <a:pt x="246" y="88"/>
                </a:lnTo>
                <a:lnTo>
                  <a:pt x="248" y="90"/>
                </a:lnTo>
                <a:lnTo>
                  <a:pt x="250" y="92"/>
                </a:lnTo>
                <a:lnTo>
                  <a:pt x="252" y="92"/>
                </a:lnTo>
                <a:lnTo>
                  <a:pt x="254" y="92"/>
                </a:lnTo>
                <a:lnTo>
                  <a:pt x="254" y="90"/>
                </a:lnTo>
                <a:lnTo>
                  <a:pt x="256" y="86"/>
                </a:lnTo>
                <a:lnTo>
                  <a:pt x="258" y="80"/>
                </a:lnTo>
                <a:lnTo>
                  <a:pt x="260" y="78"/>
                </a:lnTo>
                <a:lnTo>
                  <a:pt x="262" y="72"/>
                </a:lnTo>
                <a:lnTo>
                  <a:pt x="262" y="68"/>
                </a:lnTo>
                <a:lnTo>
                  <a:pt x="262" y="66"/>
                </a:lnTo>
                <a:lnTo>
                  <a:pt x="262" y="64"/>
                </a:lnTo>
                <a:lnTo>
                  <a:pt x="264" y="62"/>
                </a:lnTo>
                <a:lnTo>
                  <a:pt x="266" y="60"/>
                </a:lnTo>
                <a:lnTo>
                  <a:pt x="272" y="60"/>
                </a:lnTo>
                <a:lnTo>
                  <a:pt x="274" y="60"/>
                </a:lnTo>
                <a:lnTo>
                  <a:pt x="276" y="60"/>
                </a:lnTo>
                <a:lnTo>
                  <a:pt x="276" y="62"/>
                </a:lnTo>
                <a:lnTo>
                  <a:pt x="280" y="64"/>
                </a:lnTo>
                <a:lnTo>
                  <a:pt x="284" y="64"/>
                </a:lnTo>
                <a:lnTo>
                  <a:pt x="292" y="64"/>
                </a:lnTo>
                <a:lnTo>
                  <a:pt x="294" y="64"/>
                </a:lnTo>
                <a:lnTo>
                  <a:pt x="296" y="64"/>
                </a:lnTo>
                <a:lnTo>
                  <a:pt x="298" y="64"/>
                </a:lnTo>
                <a:lnTo>
                  <a:pt x="300" y="64"/>
                </a:lnTo>
                <a:lnTo>
                  <a:pt x="306" y="64"/>
                </a:lnTo>
                <a:lnTo>
                  <a:pt x="308" y="64"/>
                </a:lnTo>
                <a:lnTo>
                  <a:pt x="310" y="64"/>
                </a:lnTo>
                <a:lnTo>
                  <a:pt x="312" y="62"/>
                </a:lnTo>
                <a:lnTo>
                  <a:pt x="314" y="62"/>
                </a:lnTo>
                <a:lnTo>
                  <a:pt x="316" y="60"/>
                </a:lnTo>
                <a:lnTo>
                  <a:pt x="316" y="58"/>
                </a:lnTo>
                <a:lnTo>
                  <a:pt x="320" y="56"/>
                </a:lnTo>
                <a:lnTo>
                  <a:pt x="326" y="52"/>
                </a:lnTo>
                <a:lnTo>
                  <a:pt x="340" y="42"/>
                </a:lnTo>
                <a:lnTo>
                  <a:pt x="342" y="40"/>
                </a:lnTo>
                <a:lnTo>
                  <a:pt x="354" y="36"/>
                </a:lnTo>
                <a:lnTo>
                  <a:pt x="356" y="36"/>
                </a:lnTo>
                <a:lnTo>
                  <a:pt x="358" y="36"/>
                </a:lnTo>
                <a:lnTo>
                  <a:pt x="366" y="30"/>
                </a:lnTo>
                <a:lnTo>
                  <a:pt x="368" y="30"/>
                </a:lnTo>
                <a:lnTo>
                  <a:pt x="368" y="28"/>
                </a:lnTo>
                <a:lnTo>
                  <a:pt x="372" y="18"/>
                </a:lnTo>
                <a:lnTo>
                  <a:pt x="372" y="12"/>
                </a:lnTo>
                <a:lnTo>
                  <a:pt x="372" y="10"/>
                </a:lnTo>
                <a:lnTo>
                  <a:pt x="380" y="10"/>
                </a:lnTo>
                <a:lnTo>
                  <a:pt x="382" y="10"/>
                </a:lnTo>
                <a:lnTo>
                  <a:pt x="382" y="12"/>
                </a:lnTo>
                <a:lnTo>
                  <a:pt x="380" y="14"/>
                </a:lnTo>
                <a:lnTo>
                  <a:pt x="382" y="16"/>
                </a:lnTo>
                <a:lnTo>
                  <a:pt x="384" y="16"/>
                </a:lnTo>
                <a:lnTo>
                  <a:pt x="388" y="12"/>
                </a:lnTo>
                <a:lnTo>
                  <a:pt x="390" y="8"/>
                </a:lnTo>
                <a:lnTo>
                  <a:pt x="396" y="4"/>
                </a:lnTo>
                <a:lnTo>
                  <a:pt x="400" y="2"/>
                </a:lnTo>
                <a:lnTo>
                  <a:pt x="400" y="0"/>
                </a:lnTo>
                <a:lnTo>
                  <a:pt x="396" y="0"/>
                </a:lnTo>
                <a:lnTo>
                  <a:pt x="394" y="2"/>
                </a:lnTo>
                <a:lnTo>
                  <a:pt x="396" y="0"/>
                </a:lnTo>
                <a:lnTo>
                  <a:pt x="398" y="0"/>
                </a:lnTo>
                <a:lnTo>
                  <a:pt x="404" y="0"/>
                </a:lnTo>
                <a:lnTo>
                  <a:pt x="406" y="0"/>
                </a:lnTo>
                <a:lnTo>
                  <a:pt x="420" y="6"/>
                </a:lnTo>
                <a:lnTo>
                  <a:pt x="422" y="8"/>
                </a:lnTo>
                <a:lnTo>
                  <a:pt x="428" y="18"/>
                </a:lnTo>
                <a:lnTo>
                  <a:pt x="428" y="20"/>
                </a:lnTo>
                <a:lnTo>
                  <a:pt x="428" y="22"/>
                </a:lnTo>
                <a:lnTo>
                  <a:pt x="426" y="24"/>
                </a:lnTo>
                <a:lnTo>
                  <a:pt x="426" y="26"/>
                </a:lnTo>
                <a:lnTo>
                  <a:pt x="422" y="26"/>
                </a:lnTo>
                <a:lnTo>
                  <a:pt x="420" y="28"/>
                </a:lnTo>
                <a:lnTo>
                  <a:pt x="416" y="32"/>
                </a:lnTo>
                <a:lnTo>
                  <a:pt x="412" y="34"/>
                </a:lnTo>
                <a:lnTo>
                  <a:pt x="408" y="36"/>
                </a:lnTo>
                <a:lnTo>
                  <a:pt x="400" y="38"/>
                </a:lnTo>
                <a:lnTo>
                  <a:pt x="396" y="40"/>
                </a:lnTo>
                <a:lnTo>
                  <a:pt x="392" y="40"/>
                </a:lnTo>
                <a:lnTo>
                  <a:pt x="382" y="42"/>
                </a:lnTo>
                <a:lnTo>
                  <a:pt x="376" y="52"/>
                </a:lnTo>
                <a:lnTo>
                  <a:pt x="370" y="64"/>
                </a:lnTo>
                <a:lnTo>
                  <a:pt x="364" y="70"/>
                </a:lnTo>
                <a:lnTo>
                  <a:pt x="362" y="70"/>
                </a:lnTo>
                <a:lnTo>
                  <a:pt x="356" y="72"/>
                </a:lnTo>
                <a:lnTo>
                  <a:pt x="354" y="72"/>
                </a:lnTo>
                <a:lnTo>
                  <a:pt x="352" y="76"/>
                </a:lnTo>
                <a:lnTo>
                  <a:pt x="348" y="84"/>
                </a:lnTo>
                <a:lnTo>
                  <a:pt x="342" y="90"/>
                </a:lnTo>
                <a:lnTo>
                  <a:pt x="338" y="100"/>
                </a:lnTo>
                <a:lnTo>
                  <a:pt x="336" y="102"/>
                </a:lnTo>
                <a:lnTo>
                  <a:pt x="332" y="108"/>
                </a:lnTo>
                <a:lnTo>
                  <a:pt x="332" y="110"/>
                </a:lnTo>
                <a:lnTo>
                  <a:pt x="332" y="114"/>
                </a:lnTo>
                <a:lnTo>
                  <a:pt x="330" y="126"/>
                </a:lnTo>
                <a:lnTo>
                  <a:pt x="330" y="128"/>
                </a:lnTo>
                <a:lnTo>
                  <a:pt x="328" y="132"/>
                </a:lnTo>
                <a:lnTo>
                  <a:pt x="328" y="138"/>
                </a:lnTo>
                <a:lnTo>
                  <a:pt x="328" y="146"/>
                </a:lnTo>
                <a:lnTo>
                  <a:pt x="322" y="154"/>
                </a:lnTo>
                <a:lnTo>
                  <a:pt x="320" y="156"/>
                </a:lnTo>
                <a:lnTo>
                  <a:pt x="314" y="164"/>
                </a:lnTo>
                <a:lnTo>
                  <a:pt x="308" y="174"/>
                </a:lnTo>
                <a:lnTo>
                  <a:pt x="306" y="178"/>
                </a:lnTo>
                <a:lnTo>
                  <a:pt x="308" y="178"/>
                </a:lnTo>
                <a:lnTo>
                  <a:pt x="316" y="178"/>
                </a:lnTo>
                <a:lnTo>
                  <a:pt x="318" y="176"/>
                </a:lnTo>
                <a:lnTo>
                  <a:pt x="320" y="174"/>
                </a:lnTo>
                <a:lnTo>
                  <a:pt x="326" y="170"/>
                </a:lnTo>
                <a:lnTo>
                  <a:pt x="328" y="174"/>
                </a:lnTo>
                <a:lnTo>
                  <a:pt x="330" y="176"/>
                </a:lnTo>
                <a:lnTo>
                  <a:pt x="334" y="180"/>
                </a:lnTo>
                <a:lnTo>
                  <a:pt x="338" y="182"/>
                </a:lnTo>
                <a:lnTo>
                  <a:pt x="342" y="192"/>
                </a:lnTo>
                <a:lnTo>
                  <a:pt x="346" y="206"/>
                </a:lnTo>
                <a:lnTo>
                  <a:pt x="358" y="220"/>
                </a:lnTo>
                <a:lnTo>
                  <a:pt x="360" y="220"/>
                </a:lnTo>
                <a:lnTo>
                  <a:pt x="360" y="222"/>
                </a:lnTo>
                <a:lnTo>
                  <a:pt x="362" y="232"/>
                </a:lnTo>
                <a:lnTo>
                  <a:pt x="364" y="236"/>
                </a:lnTo>
                <a:lnTo>
                  <a:pt x="364" y="238"/>
                </a:lnTo>
                <a:lnTo>
                  <a:pt x="362" y="238"/>
                </a:lnTo>
                <a:lnTo>
                  <a:pt x="360" y="238"/>
                </a:lnTo>
                <a:lnTo>
                  <a:pt x="356" y="246"/>
                </a:lnTo>
                <a:lnTo>
                  <a:pt x="356" y="260"/>
                </a:lnTo>
                <a:lnTo>
                  <a:pt x="356" y="268"/>
                </a:lnTo>
                <a:lnTo>
                  <a:pt x="358" y="272"/>
                </a:lnTo>
                <a:lnTo>
                  <a:pt x="360" y="272"/>
                </a:lnTo>
                <a:lnTo>
                  <a:pt x="364" y="274"/>
                </a:lnTo>
                <a:lnTo>
                  <a:pt x="368" y="274"/>
                </a:lnTo>
                <a:lnTo>
                  <a:pt x="372" y="278"/>
                </a:lnTo>
                <a:lnTo>
                  <a:pt x="372" y="280"/>
                </a:lnTo>
                <a:lnTo>
                  <a:pt x="372" y="282"/>
                </a:lnTo>
                <a:lnTo>
                  <a:pt x="372" y="284"/>
                </a:lnTo>
                <a:lnTo>
                  <a:pt x="374" y="286"/>
                </a:lnTo>
                <a:lnTo>
                  <a:pt x="374" y="288"/>
                </a:lnTo>
                <a:lnTo>
                  <a:pt x="376" y="290"/>
                </a:lnTo>
                <a:lnTo>
                  <a:pt x="378" y="292"/>
                </a:lnTo>
                <a:lnTo>
                  <a:pt x="382" y="294"/>
                </a:lnTo>
                <a:lnTo>
                  <a:pt x="386" y="294"/>
                </a:lnTo>
                <a:lnTo>
                  <a:pt x="388" y="296"/>
                </a:lnTo>
                <a:lnTo>
                  <a:pt x="390" y="296"/>
                </a:lnTo>
                <a:lnTo>
                  <a:pt x="392" y="294"/>
                </a:lnTo>
                <a:lnTo>
                  <a:pt x="396" y="292"/>
                </a:lnTo>
                <a:lnTo>
                  <a:pt x="400" y="292"/>
                </a:lnTo>
                <a:lnTo>
                  <a:pt x="402" y="292"/>
                </a:lnTo>
                <a:lnTo>
                  <a:pt x="406" y="292"/>
                </a:lnTo>
                <a:lnTo>
                  <a:pt x="408" y="294"/>
                </a:lnTo>
                <a:lnTo>
                  <a:pt x="410" y="294"/>
                </a:lnTo>
                <a:lnTo>
                  <a:pt x="416" y="294"/>
                </a:lnTo>
                <a:lnTo>
                  <a:pt x="420" y="296"/>
                </a:lnTo>
                <a:lnTo>
                  <a:pt x="426" y="298"/>
                </a:lnTo>
                <a:lnTo>
                  <a:pt x="434" y="296"/>
                </a:lnTo>
                <a:lnTo>
                  <a:pt x="436" y="294"/>
                </a:lnTo>
                <a:lnTo>
                  <a:pt x="440" y="292"/>
                </a:lnTo>
                <a:lnTo>
                  <a:pt x="442" y="290"/>
                </a:lnTo>
                <a:lnTo>
                  <a:pt x="444" y="290"/>
                </a:lnTo>
                <a:lnTo>
                  <a:pt x="450" y="290"/>
                </a:lnTo>
                <a:lnTo>
                  <a:pt x="460" y="292"/>
                </a:lnTo>
                <a:lnTo>
                  <a:pt x="464" y="294"/>
                </a:lnTo>
                <a:lnTo>
                  <a:pt x="468" y="296"/>
                </a:lnTo>
                <a:lnTo>
                  <a:pt x="470" y="298"/>
                </a:lnTo>
                <a:lnTo>
                  <a:pt x="472" y="298"/>
                </a:lnTo>
                <a:lnTo>
                  <a:pt x="474" y="298"/>
                </a:lnTo>
                <a:lnTo>
                  <a:pt x="476" y="298"/>
                </a:lnTo>
                <a:lnTo>
                  <a:pt x="476" y="296"/>
                </a:lnTo>
                <a:lnTo>
                  <a:pt x="480" y="296"/>
                </a:lnTo>
                <a:lnTo>
                  <a:pt x="482" y="296"/>
                </a:lnTo>
                <a:lnTo>
                  <a:pt x="504" y="322"/>
                </a:lnTo>
                <a:lnTo>
                  <a:pt x="520" y="342"/>
                </a:lnTo>
                <a:lnTo>
                  <a:pt x="522" y="340"/>
                </a:lnTo>
                <a:lnTo>
                  <a:pt x="526" y="340"/>
                </a:lnTo>
                <a:lnTo>
                  <a:pt x="526" y="342"/>
                </a:lnTo>
                <a:lnTo>
                  <a:pt x="528" y="344"/>
                </a:lnTo>
                <a:lnTo>
                  <a:pt x="530" y="344"/>
                </a:lnTo>
                <a:lnTo>
                  <a:pt x="532" y="344"/>
                </a:lnTo>
                <a:lnTo>
                  <a:pt x="534" y="340"/>
                </a:lnTo>
                <a:lnTo>
                  <a:pt x="536" y="340"/>
                </a:lnTo>
                <a:lnTo>
                  <a:pt x="538" y="338"/>
                </a:lnTo>
                <a:lnTo>
                  <a:pt x="540" y="338"/>
                </a:lnTo>
                <a:lnTo>
                  <a:pt x="542" y="338"/>
                </a:lnTo>
                <a:lnTo>
                  <a:pt x="552" y="340"/>
                </a:lnTo>
                <a:lnTo>
                  <a:pt x="556" y="340"/>
                </a:lnTo>
                <a:lnTo>
                  <a:pt x="558" y="340"/>
                </a:lnTo>
                <a:lnTo>
                  <a:pt x="560" y="340"/>
                </a:lnTo>
                <a:lnTo>
                  <a:pt x="562" y="342"/>
                </a:lnTo>
                <a:lnTo>
                  <a:pt x="568" y="340"/>
                </a:lnTo>
                <a:lnTo>
                  <a:pt x="572" y="340"/>
                </a:lnTo>
                <a:lnTo>
                  <a:pt x="572" y="338"/>
                </a:lnTo>
                <a:lnTo>
                  <a:pt x="574" y="338"/>
                </a:lnTo>
                <a:lnTo>
                  <a:pt x="576" y="340"/>
                </a:lnTo>
                <a:lnTo>
                  <a:pt x="580" y="340"/>
                </a:lnTo>
                <a:lnTo>
                  <a:pt x="584" y="338"/>
                </a:lnTo>
                <a:lnTo>
                  <a:pt x="586" y="338"/>
                </a:lnTo>
                <a:lnTo>
                  <a:pt x="588" y="338"/>
                </a:lnTo>
                <a:lnTo>
                  <a:pt x="590" y="338"/>
                </a:lnTo>
                <a:lnTo>
                  <a:pt x="592" y="338"/>
                </a:lnTo>
                <a:lnTo>
                  <a:pt x="594" y="338"/>
                </a:lnTo>
                <a:lnTo>
                  <a:pt x="596" y="338"/>
                </a:lnTo>
                <a:lnTo>
                  <a:pt x="598" y="338"/>
                </a:lnTo>
                <a:lnTo>
                  <a:pt x="602" y="336"/>
                </a:lnTo>
                <a:lnTo>
                  <a:pt x="606" y="332"/>
                </a:lnTo>
                <a:lnTo>
                  <a:pt x="612" y="332"/>
                </a:lnTo>
                <a:lnTo>
                  <a:pt x="616" y="334"/>
                </a:lnTo>
                <a:lnTo>
                  <a:pt x="620" y="334"/>
                </a:lnTo>
                <a:lnTo>
                  <a:pt x="622" y="336"/>
                </a:lnTo>
                <a:lnTo>
                  <a:pt x="624" y="338"/>
                </a:lnTo>
                <a:lnTo>
                  <a:pt x="626" y="338"/>
                </a:lnTo>
                <a:lnTo>
                  <a:pt x="624" y="340"/>
                </a:lnTo>
                <a:lnTo>
                  <a:pt x="624" y="342"/>
                </a:lnTo>
                <a:lnTo>
                  <a:pt x="624" y="344"/>
                </a:lnTo>
                <a:lnTo>
                  <a:pt x="626" y="344"/>
                </a:lnTo>
                <a:lnTo>
                  <a:pt x="628" y="346"/>
                </a:lnTo>
                <a:lnTo>
                  <a:pt x="628" y="348"/>
                </a:lnTo>
                <a:lnTo>
                  <a:pt x="628" y="350"/>
                </a:lnTo>
                <a:lnTo>
                  <a:pt x="626" y="352"/>
                </a:lnTo>
                <a:lnTo>
                  <a:pt x="622" y="354"/>
                </a:lnTo>
                <a:lnTo>
                  <a:pt x="618" y="358"/>
                </a:lnTo>
                <a:lnTo>
                  <a:pt x="618" y="360"/>
                </a:lnTo>
                <a:lnTo>
                  <a:pt x="616" y="364"/>
                </a:lnTo>
                <a:lnTo>
                  <a:pt x="616" y="366"/>
                </a:lnTo>
                <a:lnTo>
                  <a:pt x="616" y="368"/>
                </a:lnTo>
                <a:lnTo>
                  <a:pt x="616" y="370"/>
                </a:lnTo>
                <a:lnTo>
                  <a:pt x="616" y="372"/>
                </a:lnTo>
                <a:lnTo>
                  <a:pt x="618" y="374"/>
                </a:lnTo>
                <a:lnTo>
                  <a:pt x="616" y="376"/>
                </a:lnTo>
                <a:lnTo>
                  <a:pt x="614" y="378"/>
                </a:lnTo>
                <a:lnTo>
                  <a:pt x="612" y="380"/>
                </a:lnTo>
                <a:lnTo>
                  <a:pt x="610" y="380"/>
                </a:lnTo>
                <a:lnTo>
                  <a:pt x="608" y="382"/>
                </a:lnTo>
                <a:lnTo>
                  <a:pt x="606" y="386"/>
                </a:lnTo>
                <a:lnTo>
                  <a:pt x="606" y="396"/>
                </a:lnTo>
                <a:lnTo>
                  <a:pt x="606" y="398"/>
                </a:lnTo>
                <a:lnTo>
                  <a:pt x="608" y="400"/>
                </a:lnTo>
                <a:lnTo>
                  <a:pt x="608" y="404"/>
                </a:lnTo>
                <a:lnTo>
                  <a:pt x="608" y="412"/>
                </a:lnTo>
                <a:lnTo>
                  <a:pt x="608" y="414"/>
                </a:lnTo>
                <a:lnTo>
                  <a:pt x="606" y="416"/>
                </a:lnTo>
                <a:lnTo>
                  <a:pt x="604" y="426"/>
                </a:lnTo>
                <a:lnTo>
                  <a:pt x="610" y="438"/>
                </a:lnTo>
                <a:lnTo>
                  <a:pt x="608" y="440"/>
                </a:lnTo>
                <a:lnTo>
                  <a:pt x="608" y="442"/>
                </a:lnTo>
                <a:lnTo>
                  <a:pt x="608" y="444"/>
                </a:lnTo>
                <a:lnTo>
                  <a:pt x="610" y="448"/>
                </a:lnTo>
                <a:lnTo>
                  <a:pt x="612" y="452"/>
                </a:lnTo>
                <a:lnTo>
                  <a:pt x="612" y="454"/>
                </a:lnTo>
                <a:lnTo>
                  <a:pt x="614" y="458"/>
                </a:lnTo>
                <a:lnTo>
                  <a:pt x="614" y="462"/>
                </a:lnTo>
                <a:lnTo>
                  <a:pt x="616" y="468"/>
                </a:lnTo>
                <a:lnTo>
                  <a:pt x="618" y="470"/>
                </a:lnTo>
                <a:lnTo>
                  <a:pt x="620" y="472"/>
                </a:lnTo>
                <a:lnTo>
                  <a:pt x="622" y="472"/>
                </a:lnTo>
                <a:lnTo>
                  <a:pt x="624" y="470"/>
                </a:lnTo>
                <a:lnTo>
                  <a:pt x="626" y="472"/>
                </a:lnTo>
                <a:lnTo>
                  <a:pt x="628" y="476"/>
                </a:lnTo>
                <a:lnTo>
                  <a:pt x="628" y="478"/>
                </a:lnTo>
                <a:lnTo>
                  <a:pt x="630" y="484"/>
                </a:lnTo>
                <a:lnTo>
                  <a:pt x="630" y="486"/>
                </a:lnTo>
                <a:lnTo>
                  <a:pt x="632" y="486"/>
                </a:lnTo>
                <a:lnTo>
                  <a:pt x="634" y="488"/>
                </a:lnTo>
                <a:lnTo>
                  <a:pt x="636" y="490"/>
                </a:lnTo>
                <a:lnTo>
                  <a:pt x="632" y="494"/>
                </a:lnTo>
                <a:lnTo>
                  <a:pt x="628" y="498"/>
                </a:lnTo>
                <a:lnTo>
                  <a:pt x="624" y="502"/>
                </a:lnTo>
                <a:lnTo>
                  <a:pt x="616" y="508"/>
                </a:lnTo>
                <a:lnTo>
                  <a:pt x="606" y="518"/>
                </a:lnTo>
                <a:lnTo>
                  <a:pt x="608" y="522"/>
                </a:lnTo>
                <a:lnTo>
                  <a:pt x="610" y="520"/>
                </a:lnTo>
                <a:lnTo>
                  <a:pt x="618" y="522"/>
                </a:lnTo>
                <a:lnTo>
                  <a:pt x="620" y="524"/>
                </a:lnTo>
                <a:lnTo>
                  <a:pt x="622" y="528"/>
                </a:lnTo>
                <a:lnTo>
                  <a:pt x="626" y="530"/>
                </a:lnTo>
                <a:lnTo>
                  <a:pt x="634" y="540"/>
                </a:lnTo>
                <a:lnTo>
                  <a:pt x="636" y="542"/>
                </a:lnTo>
                <a:lnTo>
                  <a:pt x="638" y="542"/>
                </a:lnTo>
                <a:lnTo>
                  <a:pt x="640" y="542"/>
                </a:lnTo>
                <a:lnTo>
                  <a:pt x="642" y="544"/>
                </a:lnTo>
                <a:lnTo>
                  <a:pt x="642" y="548"/>
                </a:lnTo>
                <a:lnTo>
                  <a:pt x="640" y="550"/>
                </a:lnTo>
                <a:lnTo>
                  <a:pt x="640" y="552"/>
                </a:lnTo>
                <a:lnTo>
                  <a:pt x="642" y="554"/>
                </a:lnTo>
                <a:lnTo>
                  <a:pt x="642" y="558"/>
                </a:lnTo>
                <a:lnTo>
                  <a:pt x="644" y="558"/>
                </a:lnTo>
                <a:lnTo>
                  <a:pt x="646" y="564"/>
                </a:lnTo>
                <a:lnTo>
                  <a:pt x="652" y="582"/>
                </a:lnTo>
                <a:lnTo>
                  <a:pt x="656" y="596"/>
                </a:lnTo>
                <a:lnTo>
                  <a:pt x="658" y="604"/>
                </a:lnTo>
                <a:lnTo>
                  <a:pt x="658" y="606"/>
                </a:lnTo>
                <a:lnTo>
                  <a:pt x="658" y="608"/>
                </a:lnTo>
                <a:lnTo>
                  <a:pt x="650" y="610"/>
                </a:lnTo>
                <a:lnTo>
                  <a:pt x="648" y="610"/>
                </a:lnTo>
                <a:lnTo>
                  <a:pt x="648" y="606"/>
                </a:lnTo>
                <a:lnTo>
                  <a:pt x="648" y="604"/>
                </a:lnTo>
                <a:lnTo>
                  <a:pt x="648" y="598"/>
                </a:lnTo>
                <a:lnTo>
                  <a:pt x="648" y="596"/>
                </a:lnTo>
                <a:lnTo>
                  <a:pt x="648" y="592"/>
                </a:lnTo>
                <a:lnTo>
                  <a:pt x="648" y="586"/>
                </a:lnTo>
                <a:lnTo>
                  <a:pt x="646" y="580"/>
                </a:lnTo>
                <a:lnTo>
                  <a:pt x="644" y="576"/>
                </a:lnTo>
                <a:lnTo>
                  <a:pt x="640" y="572"/>
                </a:lnTo>
                <a:lnTo>
                  <a:pt x="638" y="568"/>
                </a:lnTo>
                <a:lnTo>
                  <a:pt x="634" y="564"/>
                </a:lnTo>
                <a:lnTo>
                  <a:pt x="634" y="562"/>
                </a:lnTo>
                <a:lnTo>
                  <a:pt x="634" y="560"/>
                </a:lnTo>
                <a:lnTo>
                  <a:pt x="632" y="560"/>
                </a:lnTo>
                <a:lnTo>
                  <a:pt x="630" y="558"/>
                </a:lnTo>
                <a:lnTo>
                  <a:pt x="624" y="560"/>
                </a:lnTo>
                <a:lnTo>
                  <a:pt x="622" y="562"/>
                </a:lnTo>
                <a:lnTo>
                  <a:pt x="620" y="562"/>
                </a:lnTo>
                <a:lnTo>
                  <a:pt x="616" y="566"/>
                </a:lnTo>
                <a:lnTo>
                  <a:pt x="614" y="568"/>
                </a:lnTo>
                <a:lnTo>
                  <a:pt x="614" y="570"/>
                </a:lnTo>
                <a:lnTo>
                  <a:pt x="610" y="576"/>
                </a:lnTo>
                <a:lnTo>
                  <a:pt x="608" y="578"/>
                </a:lnTo>
                <a:lnTo>
                  <a:pt x="604" y="580"/>
                </a:lnTo>
                <a:lnTo>
                  <a:pt x="602" y="580"/>
                </a:lnTo>
                <a:lnTo>
                  <a:pt x="600" y="580"/>
                </a:lnTo>
                <a:lnTo>
                  <a:pt x="598" y="580"/>
                </a:lnTo>
                <a:lnTo>
                  <a:pt x="596" y="578"/>
                </a:lnTo>
                <a:lnTo>
                  <a:pt x="596" y="576"/>
                </a:lnTo>
                <a:lnTo>
                  <a:pt x="594" y="574"/>
                </a:lnTo>
                <a:lnTo>
                  <a:pt x="594" y="572"/>
                </a:lnTo>
                <a:lnTo>
                  <a:pt x="592" y="570"/>
                </a:lnTo>
                <a:lnTo>
                  <a:pt x="592" y="568"/>
                </a:lnTo>
                <a:lnTo>
                  <a:pt x="588" y="566"/>
                </a:lnTo>
                <a:lnTo>
                  <a:pt x="586" y="570"/>
                </a:lnTo>
                <a:lnTo>
                  <a:pt x="584" y="570"/>
                </a:lnTo>
                <a:lnTo>
                  <a:pt x="584" y="574"/>
                </a:lnTo>
                <a:lnTo>
                  <a:pt x="586" y="578"/>
                </a:lnTo>
                <a:lnTo>
                  <a:pt x="588" y="578"/>
                </a:lnTo>
                <a:lnTo>
                  <a:pt x="590" y="580"/>
                </a:lnTo>
                <a:lnTo>
                  <a:pt x="554" y="580"/>
                </a:lnTo>
                <a:lnTo>
                  <a:pt x="538" y="580"/>
                </a:lnTo>
                <a:lnTo>
                  <a:pt x="530" y="580"/>
                </a:lnTo>
                <a:lnTo>
                  <a:pt x="524" y="580"/>
                </a:lnTo>
                <a:lnTo>
                  <a:pt x="522" y="580"/>
                </a:lnTo>
                <a:lnTo>
                  <a:pt x="520" y="580"/>
                </a:lnTo>
                <a:lnTo>
                  <a:pt x="514" y="578"/>
                </a:lnTo>
                <a:lnTo>
                  <a:pt x="506" y="580"/>
                </a:lnTo>
                <a:lnTo>
                  <a:pt x="500" y="582"/>
                </a:lnTo>
                <a:lnTo>
                  <a:pt x="498" y="580"/>
                </a:lnTo>
                <a:lnTo>
                  <a:pt x="498" y="582"/>
                </a:lnTo>
                <a:lnTo>
                  <a:pt x="498" y="616"/>
                </a:lnTo>
                <a:lnTo>
                  <a:pt x="504" y="616"/>
                </a:lnTo>
                <a:lnTo>
                  <a:pt x="510" y="616"/>
                </a:lnTo>
                <a:lnTo>
                  <a:pt x="520" y="618"/>
                </a:lnTo>
                <a:lnTo>
                  <a:pt x="522" y="616"/>
                </a:lnTo>
                <a:lnTo>
                  <a:pt x="524" y="616"/>
                </a:lnTo>
                <a:lnTo>
                  <a:pt x="530" y="618"/>
                </a:lnTo>
                <a:lnTo>
                  <a:pt x="532" y="620"/>
                </a:lnTo>
                <a:lnTo>
                  <a:pt x="536" y="628"/>
                </a:lnTo>
                <a:lnTo>
                  <a:pt x="536" y="634"/>
                </a:lnTo>
                <a:lnTo>
                  <a:pt x="538" y="638"/>
                </a:lnTo>
                <a:lnTo>
                  <a:pt x="532" y="640"/>
                </a:lnTo>
                <a:lnTo>
                  <a:pt x="528" y="640"/>
                </a:lnTo>
                <a:lnTo>
                  <a:pt x="526" y="638"/>
                </a:lnTo>
                <a:lnTo>
                  <a:pt x="520" y="634"/>
                </a:lnTo>
                <a:lnTo>
                  <a:pt x="506" y="636"/>
                </a:lnTo>
                <a:lnTo>
                  <a:pt x="502" y="640"/>
                </a:lnTo>
                <a:lnTo>
                  <a:pt x="500" y="642"/>
                </a:lnTo>
                <a:lnTo>
                  <a:pt x="494" y="642"/>
                </a:lnTo>
                <a:lnTo>
                  <a:pt x="490" y="642"/>
                </a:lnTo>
                <a:lnTo>
                  <a:pt x="486" y="642"/>
                </a:lnTo>
                <a:lnTo>
                  <a:pt x="486" y="646"/>
                </a:lnTo>
                <a:lnTo>
                  <a:pt x="486" y="654"/>
                </a:lnTo>
                <a:lnTo>
                  <a:pt x="486" y="658"/>
                </a:lnTo>
                <a:lnTo>
                  <a:pt x="486" y="666"/>
                </a:lnTo>
                <a:lnTo>
                  <a:pt x="486" y="674"/>
                </a:lnTo>
                <a:lnTo>
                  <a:pt x="486" y="678"/>
                </a:lnTo>
                <a:lnTo>
                  <a:pt x="486" y="682"/>
                </a:lnTo>
                <a:lnTo>
                  <a:pt x="488" y="686"/>
                </a:lnTo>
                <a:lnTo>
                  <a:pt x="494" y="690"/>
                </a:lnTo>
                <a:lnTo>
                  <a:pt x="504" y="698"/>
                </a:lnTo>
                <a:lnTo>
                  <a:pt x="506" y="700"/>
                </a:lnTo>
                <a:lnTo>
                  <a:pt x="510" y="700"/>
                </a:lnTo>
                <a:lnTo>
                  <a:pt x="510" y="702"/>
                </a:lnTo>
                <a:lnTo>
                  <a:pt x="512" y="708"/>
                </a:lnTo>
                <a:lnTo>
                  <a:pt x="512" y="710"/>
                </a:lnTo>
                <a:lnTo>
                  <a:pt x="512" y="712"/>
                </a:lnTo>
                <a:lnTo>
                  <a:pt x="510" y="712"/>
                </a:lnTo>
                <a:lnTo>
                  <a:pt x="510" y="714"/>
                </a:lnTo>
                <a:lnTo>
                  <a:pt x="516" y="724"/>
                </a:lnTo>
                <a:lnTo>
                  <a:pt x="518" y="726"/>
                </a:lnTo>
                <a:lnTo>
                  <a:pt x="520" y="728"/>
                </a:lnTo>
                <a:lnTo>
                  <a:pt x="520" y="730"/>
                </a:lnTo>
                <a:lnTo>
                  <a:pt x="520" y="736"/>
                </a:lnTo>
                <a:lnTo>
                  <a:pt x="522" y="742"/>
                </a:lnTo>
                <a:lnTo>
                  <a:pt x="522" y="746"/>
                </a:lnTo>
                <a:lnTo>
                  <a:pt x="522" y="748"/>
                </a:lnTo>
                <a:lnTo>
                  <a:pt x="520" y="756"/>
                </a:lnTo>
                <a:lnTo>
                  <a:pt x="516" y="778"/>
                </a:lnTo>
                <a:lnTo>
                  <a:pt x="512" y="800"/>
                </a:lnTo>
                <a:lnTo>
                  <a:pt x="510" y="802"/>
                </a:lnTo>
                <a:lnTo>
                  <a:pt x="510" y="808"/>
                </a:lnTo>
                <a:lnTo>
                  <a:pt x="508" y="812"/>
                </a:lnTo>
                <a:lnTo>
                  <a:pt x="500" y="858"/>
                </a:lnTo>
                <a:lnTo>
                  <a:pt x="496" y="886"/>
                </a:lnTo>
                <a:lnTo>
                  <a:pt x="492" y="902"/>
                </a:lnTo>
                <a:lnTo>
                  <a:pt x="492" y="904"/>
                </a:lnTo>
                <a:lnTo>
                  <a:pt x="492" y="902"/>
                </a:lnTo>
                <a:lnTo>
                  <a:pt x="490" y="900"/>
                </a:lnTo>
                <a:lnTo>
                  <a:pt x="488" y="898"/>
                </a:lnTo>
                <a:lnTo>
                  <a:pt x="486" y="898"/>
                </a:lnTo>
                <a:lnTo>
                  <a:pt x="482" y="894"/>
                </a:lnTo>
                <a:lnTo>
                  <a:pt x="482" y="892"/>
                </a:lnTo>
                <a:lnTo>
                  <a:pt x="480" y="890"/>
                </a:lnTo>
                <a:lnTo>
                  <a:pt x="480" y="888"/>
                </a:lnTo>
                <a:lnTo>
                  <a:pt x="476" y="884"/>
                </a:lnTo>
                <a:lnTo>
                  <a:pt x="472" y="880"/>
                </a:lnTo>
                <a:lnTo>
                  <a:pt x="470" y="880"/>
                </a:lnTo>
                <a:lnTo>
                  <a:pt x="470" y="878"/>
                </a:lnTo>
                <a:lnTo>
                  <a:pt x="466" y="880"/>
                </a:lnTo>
                <a:lnTo>
                  <a:pt x="464" y="882"/>
                </a:lnTo>
                <a:lnTo>
                  <a:pt x="462" y="882"/>
                </a:lnTo>
                <a:lnTo>
                  <a:pt x="460" y="882"/>
                </a:lnTo>
                <a:lnTo>
                  <a:pt x="456" y="882"/>
                </a:lnTo>
                <a:lnTo>
                  <a:pt x="450" y="878"/>
                </a:lnTo>
                <a:lnTo>
                  <a:pt x="452" y="874"/>
                </a:lnTo>
                <a:lnTo>
                  <a:pt x="456" y="870"/>
                </a:lnTo>
                <a:lnTo>
                  <a:pt x="458" y="866"/>
                </a:lnTo>
                <a:lnTo>
                  <a:pt x="464" y="856"/>
                </a:lnTo>
                <a:lnTo>
                  <a:pt x="466" y="852"/>
                </a:lnTo>
                <a:lnTo>
                  <a:pt x="486" y="822"/>
                </a:lnTo>
                <a:lnTo>
                  <a:pt x="484" y="820"/>
                </a:lnTo>
                <a:lnTo>
                  <a:pt x="482" y="820"/>
                </a:lnTo>
                <a:lnTo>
                  <a:pt x="480" y="818"/>
                </a:lnTo>
                <a:lnTo>
                  <a:pt x="478" y="816"/>
                </a:lnTo>
                <a:lnTo>
                  <a:pt x="478" y="814"/>
                </a:lnTo>
                <a:lnTo>
                  <a:pt x="474" y="810"/>
                </a:lnTo>
                <a:lnTo>
                  <a:pt x="472" y="808"/>
                </a:lnTo>
                <a:lnTo>
                  <a:pt x="470" y="810"/>
                </a:lnTo>
                <a:lnTo>
                  <a:pt x="468" y="810"/>
                </a:lnTo>
                <a:lnTo>
                  <a:pt x="458" y="808"/>
                </a:lnTo>
                <a:lnTo>
                  <a:pt x="454" y="804"/>
                </a:lnTo>
                <a:lnTo>
                  <a:pt x="454" y="802"/>
                </a:lnTo>
                <a:lnTo>
                  <a:pt x="444" y="794"/>
                </a:lnTo>
                <a:lnTo>
                  <a:pt x="436" y="798"/>
                </a:lnTo>
                <a:lnTo>
                  <a:pt x="430" y="800"/>
                </a:lnTo>
                <a:lnTo>
                  <a:pt x="426" y="802"/>
                </a:lnTo>
                <a:lnTo>
                  <a:pt x="416" y="800"/>
                </a:lnTo>
                <a:lnTo>
                  <a:pt x="412" y="798"/>
                </a:lnTo>
                <a:lnTo>
                  <a:pt x="408" y="796"/>
                </a:lnTo>
                <a:lnTo>
                  <a:pt x="404" y="796"/>
                </a:lnTo>
                <a:lnTo>
                  <a:pt x="398" y="794"/>
                </a:lnTo>
                <a:lnTo>
                  <a:pt x="398" y="792"/>
                </a:lnTo>
                <a:lnTo>
                  <a:pt x="398" y="790"/>
                </a:lnTo>
                <a:lnTo>
                  <a:pt x="396" y="790"/>
                </a:lnTo>
                <a:lnTo>
                  <a:pt x="392" y="794"/>
                </a:lnTo>
                <a:lnTo>
                  <a:pt x="388" y="800"/>
                </a:lnTo>
                <a:lnTo>
                  <a:pt x="388" y="802"/>
                </a:lnTo>
                <a:lnTo>
                  <a:pt x="384" y="802"/>
                </a:lnTo>
                <a:lnTo>
                  <a:pt x="382" y="802"/>
                </a:lnTo>
                <a:lnTo>
                  <a:pt x="378" y="804"/>
                </a:lnTo>
                <a:lnTo>
                  <a:pt x="370" y="810"/>
                </a:lnTo>
                <a:lnTo>
                  <a:pt x="364" y="808"/>
                </a:lnTo>
                <a:lnTo>
                  <a:pt x="356" y="806"/>
                </a:lnTo>
                <a:lnTo>
                  <a:pt x="350" y="804"/>
                </a:lnTo>
                <a:lnTo>
                  <a:pt x="344" y="806"/>
                </a:lnTo>
                <a:lnTo>
                  <a:pt x="336" y="808"/>
                </a:lnTo>
                <a:lnTo>
                  <a:pt x="334" y="810"/>
                </a:lnTo>
                <a:lnTo>
                  <a:pt x="332" y="806"/>
                </a:lnTo>
                <a:lnTo>
                  <a:pt x="330" y="804"/>
                </a:lnTo>
                <a:lnTo>
                  <a:pt x="328" y="804"/>
                </a:lnTo>
                <a:lnTo>
                  <a:pt x="326" y="804"/>
                </a:lnTo>
                <a:lnTo>
                  <a:pt x="322" y="802"/>
                </a:lnTo>
                <a:lnTo>
                  <a:pt x="322" y="800"/>
                </a:lnTo>
                <a:lnTo>
                  <a:pt x="320" y="800"/>
                </a:lnTo>
                <a:lnTo>
                  <a:pt x="320" y="796"/>
                </a:lnTo>
                <a:lnTo>
                  <a:pt x="322" y="796"/>
                </a:lnTo>
                <a:lnTo>
                  <a:pt x="322" y="794"/>
                </a:lnTo>
                <a:lnTo>
                  <a:pt x="324" y="790"/>
                </a:lnTo>
                <a:lnTo>
                  <a:pt x="322" y="778"/>
                </a:lnTo>
                <a:lnTo>
                  <a:pt x="320" y="774"/>
                </a:lnTo>
                <a:lnTo>
                  <a:pt x="316" y="772"/>
                </a:lnTo>
                <a:lnTo>
                  <a:pt x="314" y="774"/>
                </a:lnTo>
                <a:lnTo>
                  <a:pt x="312" y="776"/>
                </a:lnTo>
                <a:lnTo>
                  <a:pt x="304" y="772"/>
                </a:lnTo>
                <a:lnTo>
                  <a:pt x="300" y="770"/>
                </a:lnTo>
                <a:lnTo>
                  <a:pt x="300" y="768"/>
                </a:lnTo>
                <a:lnTo>
                  <a:pt x="300" y="764"/>
                </a:lnTo>
                <a:lnTo>
                  <a:pt x="302" y="762"/>
                </a:lnTo>
                <a:lnTo>
                  <a:pt x="300" y="758"/>
                </a:lnTo>
                <a:lnTo>
                  <a:pt x="298" y="754"/>
                </a:lnTo>
                <a:lnTo>
                  <a:pt x="298" y="752"/>
                </a:lnTo>
                <a:lnTo>
                  <a:pt x="298" y="748"/>
                </a:lnTo>
                <a:lnTo>
                  <a:pt x="292" y="744"/>
                </a:lnTo>
                <a:lnTo>
                  <a:pt x="288" y="744"/>
                </a:lnTo>
                <a:lnTo>
                  <a:pt x="286" y="744"/>
                </a:lnTo>
                <a:lnTo>
                  <a:pt x="282" y="742"/>
                </a:lnTo>
                <a:lnTo>
                  <a:pt x="280" y="740"/>
                </a:lnTo>
                <a:lnTo>
                  <a:pt x="268" y="732"/>
                </a:lnTo>
                <a:lnTo>
                  <a:pt x="262" y="730"/>
                </a:lnTo>
                <a:lnTo>
                  <a:pt x="260" y="728"/>
                </a:lnTo>
                <a:lnTo>
                  <a:pt x="260" y="726"/>
                </a:lnTo>
                <a:lnTo>
                  <a:pt x="258" y="724"/>
                </a:lnTo>
                <a:lnTo>
                  <a:pt x="258" y="722"/>
                </a:lnTo>
                <a:lnTo>
                  <a:pt x="260" y="720"/>
                </a:lnTo>
                <a:lnTo>
                  <a:pt x="258" y="718"/>
                </a:lnTo>
                <a:lnTo>
                  <a:pt x="256" y="716"/>
                </a:lnTo>
                <a:lnTo>
                  <a:pt x="254" y="712"/>
                </a:lnTo>
                <a:lnTo>
                  <a:pt x="254" y="708"/>
                </a:lnTo>
                <a:lnTo>
                  <a:pt x="252" y="706"/>
                </a:lnTo>
                <a:lnTo>
                  <a:pt x="252" y="704"/>
                </a:lnTo>
                <a:lnTo>
                  <a:pt x="242" y="696"/>
                </a:lnTo>
                <a:lnTo>
                  <a:pt x="240" y="694"/>
                </a:lnTo>
                <a:lnTo>
                  <a:pt x="238" y="696"/>
                </a:lnTo>
                <a:lnTo>
                  <a:pt x="234" y="694"/>
                </a:lnTo>
                <a:lnTo>
                  <a:pt x="234" y="692"/>
                </a:lnTo>
                <a:lnTo>
                  <a:pt x="234" y="690"/>
                </a:lnTo>
                <a:lnTo>
                  <a:pt x="234" y="688"/>
                </a:lnTo>
                <a:lnTo>
                  <a:pt x="232" y="688"/>
                </a:lnTo>
                <a:lnTo>
                  <a:pt x="230" y="686"/>
                </a:lnTo>
                <a:lnTo>
                  <a:pt x="228" y="686"/>
                </a:lnTo>
                <a:lnTo>
                  <a:pt x="226" y="686"/>
                </a:lnTo>
                <a:lnTo>
                  <a:pt x="222" y="684"/>
                </a:lnTo>
                <a:lnTo>
                  <a:pt x="218" y="680"/>
                </a:lnTo>
                <a:lnTo>
                  <a:pt x="212" y="676"/>
                </a:lnTo>
                <a:lnTo>
                  <a:pt x="208" y="676"/>
                </a:lnTo>
                <a:lnTo>
                  <a:pt x="206" y="678"/>
                </a:lnTo>
                <a:lnTo>
                  <a:pt x="206" y="680"/>
                </a:lnTo>
                <a:lnTo>
                  <a:pt x="204" y="680"/>
                </a:lnTo>
                <a:lnTo>
                  <a:pt x="202" y="680"/>
                </a:lnTo>
                <a:lnTo>
                  <a:pt x="202" y="678"/>
                </a:lnTo>
                <a:lnTo>
                  <a:pt x="200" y="678"/>
                </a:lnTo>
                <a:lnTo>
                  <a:pt x="198" y="678"/>
                </a:lnTo>
                <a:lnTo>
                  <a:pt x="196" y="678"/>
                </a:lnTo>
                <a:lnTo>
                  <a:pt x="190" y="674"/>
                </a:lnTo>
                <a:lnTo>
                  <a:pt x="188" y="672"/>
                </a:lnTo>
                <a:lnTo>
                  <a:pt x="182" y="672"/>
                </a:lnTo>
                <a:lnTo>
                  <a:pt x="180" y="672"/>
                </a:lnTo>
                <a:lnTo>
                  <a:pt x="178" y="672"/>
                </a:lnTo>
                <a:lnTo>
                  <a:pt x="170" y="666"/>
                </a:lnTo>
                <a:lnTo>
                  <a:pt x="166" y="660"/>
                </a:lnTo>
                <a:lnTo>
                  <a:pt x="164" y="656"/>
                </a:lnTo>
                <a:lnTo>
                  <a:pt x="162" y="656"/>
                </a:lnTo>
                <a:lnTo>
                  <a:pt x="156" y="654"/>
                </a:lnTo>
                <a:lnTo>
                  <a:pt x="150" y="652"/>
                </a:lnTo>
                <a:lnTo>
                  <a:pt x="142" y="652"/>
                </a:lnTo>
                <a:lnTo>
                  <a:pt x="142" y="660"/>
                </a:lnTo>
                <a:lnTo>
                  <a:pt x="140" y="660"/>
                </a:lnTo>
                <a:lnTo>
                  <a:pt x="134" y="662"/>
                </a:lnTo>
                <a:lnTo>
                  <a:pt x="132" y="662"/>
                </a:lnTo>
                <a:lnTo>
                  <a:pt x="132" y="660"/>
                </a:lnTo>
                <a:lnTo>
                  <a:pt x="126" y="658"/>
                </a:lnTo>
                <a:lnTo>
                  <a:pt x="126" y="660"/>
                </a:lnTo>
                <a:lnTo>
                  <a:pt x="122" y="660"/>
                </a:lnTo>
                <a:lnTo>
                  <a:pt x="120" y="660"/>
                </a:lnTo>
                <a:lnTo>
                  <a:pt x="118" y="660"/>
                </a:lnTo>
                <a:lnTo>
                  <a:pt x="108" y="658"/>
                </a:lnTo>
                <a:lnTo>
                  <a:pt x="106" y="654"/>
                </a:lnTo>
                <a:lnTo>
                  <a:pt x="100" y="656"/>
                </a:lnTo>
                <a:lnTo>
                  <a:pt x="98" y="656"/>
                </a:lnTo>
                <a:lnTo>
                  <a:pt x="94" y="654"/>
                </a:lnTo>
                <a:lnTo>
                  <a:pt x="90" y="652"/>
                </a:lnTo>
                <a:lnTo>
                  <a:pt x="88" y="652"/>
                </a:lnTo>
                <a:lnTo>
                  <a:pt x="86" y="644"/>
                </a:lnTo>
                <a:lnTo>
                  <a:pt x="86" y="642"/>
                </a:lnTo>
                <a:lnTo>
                  <a:pt x="86" y="640"/>
                </a:lnTo>
                <a:lnTo>
                  <a:pt x="86" y="638"/>
                </a:lnTo>
                <a:lnTo>
                  <a:pt x="84" y="638"/>
                </a:lnTo>
                <a:lnTo>
                  <a:pt x="82" y="638"/>
                </a:lnTo>
                <a:lnTo>
                  <a:pt x="80" y="638"/>
                </a:lnTo>
                <a:lnTo>
                  <a:pt x="78" y="636"/>
                </a:lnTo>
                <a:lnTo>
                  <a:pt x="78" y="634"/>
                </a:lnTo>
                <a:lnTo>
                  <a:pt x="76" y="634"/>
                </a:lnTo>
                <a:lnTo>
                  <a:pt x="74" y="632"/>
                </a:lnTo>
                <a:lnTo>
                  <a:pt x="76" y="630"/>
                </a:lnTo>
                <a:lnTo>
                  <a:pt x="74" y="628"/>
                </a:lnTo>
                <a:lnTo>
                  <a:pt x="72" y="628"/>
                </a:lnTo>
                <a:lnTo>
                  <a:pt x="68" y="630"/>
                </a:lnTo>
                <a:lnTo>
                  <a:pt x="66" y="630"/>
                </a:lnTo>
                <a:lnTo>
                  <a:pt x="64" y="630"/>
                </a:lnTo>
                <a:lnTo>
                  <a:pt x="62" y="630"/>
                </a:lnTo>
                <a:lnTo>
                  <a:pt x="60" y="626"/>
                </a:lnTo>
                <a:lnTo>
                  <a:pt x="56" y="624"/>
                </a:lnTo>
                <a:lnTo>
                  <a:pt x="54" y="626"/>
                </a:lnTo>
                <a:lnTo>
                  <a:pt x="52" y="624"/>
                </a:lnTo>
                <a:lnTo>
                  <a:pt x="50" y="624"/>
                </a:lnTo>
                <a:lnTo>
                  <a:pt x="46" y="622"/>
                </a:lnTo>
                <a:lnTo>
                  <a:pt x="44" y="618"/>
                </a:lnTo>
                <a:lnTo>
                  <a:pt x="42" y="618"/>
                </a:lnTo>
                <a:lnTo>
                  <a:pt x="40" y="618"/>
                </a:lnTo>
                <a:lnTo>
                  <a:pt x="40" y="616"/>
                </a:lnTo>
                <a:lnTo>
                  <a:pt x="38" y="616"/>
                </a:lnTo>
                <a:lnTo>
                  <a:pt x="32" y="612"/>
                </a:lnTo>
                <a:lnTo>
                  <a:pt x="32" y="610"/>
                </a:lnTo>
                <a:lnTo>
                  <a:pt x="26" y="608"/>
                </a:lnTo>
                <a:lnTo>
                  <a:pt x="26" y="610"/>
                </a:lnTo>
                <a:lnTo>
                  <a:pt x="24" y="606"/>
                </a:lnTo>
                <a:lnTo>
                  <a:pt x="22" y="606"/>
                </a:lnTo>
                <a:lnTo>
                  <a:pt x="22" y="604"/>
                </a:lnTo>
                <a:lnTo>
                  <a:pt x="20" y="604"/>
                </a:lnTo>
                <a:lnTo>
                  <a:pt x="12" y="596"/>
                </a:lnTo>
                <a:lnTo>
                  <a:pt x="10" y="590"/>
                </a:lnTo>
                <a:lnTo>
                  <a:pt x="6" y="588"/>
                </a:lnTo>
                <a:lnTo>
                  <a:pt x="4" y="588"/>
                </a:lnTo>
                <a:lnTo>
                  <a:pt x="0" y="588"/>
                </a:lnTo>
                <a:lnTo>
                  <a:pt x="0" y="586"/>
                </a:lnTo>
                <a:lnTo>
                  <a:pt x="4" y="580"/>
                </a:lnTo>
                <a:lnTo>
                  <a:pt x="8" y="576"/>
                </a:lnTo>
                <a:lnTo>
                  <a:pt x="10" y="574"/>
                </a:lnTo>
                <a:lnTo>
                  <a:pt x="16" y="576"/>
                </a:lnTo>
                <a:lnTo>
                  <a:pt x="22" y="578"/>
                </a:lnTo>
                <a:lnTo>
                  <a:pt x="24" y="578"/>
                </a:lnTo>
                <a:lnTo>
                  <a:pt x="26" y="572"/>
                </a:lnTo>
                <a:lnTo>
                  <a:pt x="26" y="570"/>
                </a:lnTo>
                <a:lnTo>
                  <a:pt x="24" y="564"/>
                </a:lnTo>
                <a:lnTo>
                  <a:pt x="22" y="564"/>
                </a:lnTo>
                <a:lnTo>
                  <a:pt x="22" y="562"/>
                </a:lnTo>
                <a:lnTo>
                  <a:pt x="20" y="558"/>
                </a:lnTo>
                <a:lnTo>
                  <a:pt x="20" y="556"/>
                </a:lnTo>
                <a:lnTo>
                  <a:pt x="22" y="550"/>
                </a:lnTo>
                <a:lnTo>
                  <a:pt x="24" y="544"/>
                </a:lnTo>
                <a:lnTo>
                  <a:pt x="26" y="542"/>
                </a:lnTo>
                <a:lnTo>
                  <a:pt x="26" y="544"/>
                </a:lnTo>
                <a:lnTo>
                  <a:pt x="26" y="542"/>
                </a:lnTo>
                <a:lnTo>
                  <a:pt x="28" y="542"/>
                </a:lnTo>
                <a:lnTo>
                  <a:pt x="32" y="542"/>
                </a:lnTo>
                <a:lnTo>
                  <a:pt x="32" y="538"/>
                </a:lnTo>
                <a:lnTo>
                  <a:pt x="34" y="538"/>
                </a:lnTo>
                <a:lnTo>
                  <a:pt x="36" y="540"/>
                </a:lnTo>
                <a:lnTo>
                  <a:pt x="36" y="542"/>
                </a:lnTo>
                <a:lnTo>
                  <a:pt x="38" y="542"/>
                </a:lnTo>
                <a:lnTo>
                  <a:pt x="42" y="538"/>
                </a:lnTo>
                <a:lnTo>
                  <a:pt x="48" y="540"/>
                </a:lnTo>
                <a:lnTo>
                  <a:pt x="50" y="540"/>
                </a:lnTo>
                <a:lnTo>
                  <a:pt x="58" y="538"/>
                </a:lnTo>
                <a:lnTo>
                  <a:pt x="58" y="536"/>
                </a:lnTo>
                <a:lnTo>
                  <a:pt x="60" y="532"/>
                </a:lnTo>
                <a:close/>
              </a:path>
            </a:pathLst>
          </a:custGeom>
          <a:solidFill>
            <a:srgbClr val="92D050"/>
          </a:solidFill>
          <a:ln w="3175" cmpd="sng">
            <a:solidFill>
              <a:srgbClr val="808080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5" name="Rectangle 332"/>
          <p:cNvSpPr>
            <a:spLocks noChangeArrowheads="1"/>
          </p:cNvSpPr>
          <p:nvPr/>
        </p:nvSpPr>
        <p:spPr bwMode="auto">
          <a:xfrm>
            <a:off x="3861497" y="4577202"/>
            <a:ext cx="6860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900" b="1" dirty="0">
                <a:solidFill>
                  <a:prstClr val="white"/>
                </a:solidFill>
              </a:rPr>
              <a:t>ARGENTINA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206" name="Rectangle 334"/>
          <p:cNvSpPr>
            <a:spLocks noChangeArrowheads="1"/>
          </p:cNvSpPr>
          <p:nvPr/>
        </p:nvSpPr>
        <p:spPr bwMode="auto">
          <a:xfrm>
            <a:off x="3375995" y="1862482"/>
            <a:ext cx="62837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900" b="1" dirty="0">
                <a:solidFill>
                  <a:prstClr val="white"/>
                </a:solidFill>
              </a:rPr>
              <a:t>COLOMBIA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207" name="Rectangle 339"/>
          <p:cNvSpPr>
            <a:spLocks noChangeArrowheads="1"/>
          </p:cNvSpPr>
          <p:nvPr/>
        </p:nvSpPr>
        <p:spPr bwMode="auto">
          <a:xfrm>
            <a:off x="3423071" y="2867080"/>
            <a:ext cx="32060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900" b="1">
                <a:solidFill>
                  <a:prstClr val="white"/>
                </a:solidFill>
              </a:rPr>
              <a:t>PERU</a:t>
            </a:r>
            <a:endParaRPr lang="en-US" sz="1400" b="1">
              <a:solidFill>
                <a:prstClr val="white"/>
              </a:solidFill>
            </a:endParaRPr>
          </a:p>
        </p:txBody>
      </p:sp>
      <p:sp>
        <p:nvSpPr>
          <p:cNvPr id="208" name="Rectangle 340"/>
          <p:cNvSpPr>
            <a:spLocks noChangeArrowheads="1"/>
          </p:cNvSpPr>
          <p:nvPr/>
        </p:nvSpPr>
        <p:spPr bwMode="auto">
          <a:xfrm>
            <a:off x="4948866" y="2845228"/>
            <a:ext cx="360676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800">
                <a:solidFill>
                  <a:prstClr val="white"/>
                </a:solidFill>
              </a:rPr>
              <a:t>BRAZIL</a:t>
            </a:r>
          </a:p>
        </p:txBody>
      </p:sp>
      <p:sp>
        <p:nvSpPr>
          <p:cNvPr id="209" name="Rectangle 344"/>
          <p:cNvSpPr>
            <a:spLocks noChangeArrowheads="1"/>
          </p:cNvSpPr>
          <p:nvPr/>
        </p:nvSpPr>
        <p:spPr bwMode="auto">
          <a:xfrm>
            <a:off x="3843759" y="3854431"/>
            <a:ext cx="346249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900" b="1">
                <a:solidFill>
                  <a:prstClr val="white"/>
                </a:solidFill>
              </a:rPr>
              <a:t>CHILE</a:t>
            </a:r>
            <a:endParaRPr lang="en-US" sz="1400" b="1">
              <a:solidFill>
                <a:prstClr val="white"/>
              </a:solidFill>
            </a:endParaRPr>
          </a:p>
        </p:txBody>
      </p:sp>
      <p:sp>
        <p:nvSpPr>
          <p:cNvPr id="210" name="Freeform 387"/>
          <p:cNvSpPr>
            <a:spLocks/>
          </p:cNvSpPr>
          <p:nvPr/>
        </p:nvSpPr>
        <p:spPr bwMode="auto">
          <a:xfrm>
            <a:off x="5258427" y="2211817"/>
            <a:ext cx="19050" cy="20637"/>
          </a:xfrm>
          <a:custGeom>
            <a:avLst/>
            <a:gdLst/>
            <a:ahLst/>
            <a:cxnLst>
              <a:cxn ang="0">
                <a:pos x="16" y="8"/>
              </a:cxn>
              <a:cxn ang="0">
                <a:pos x="14" y="6"/>
              </a:cxn>
              <a:cxn ang="0">
                <a:pos x="14" y="4"/>
              </a:cxn>
              <a:cxn ang="0">
                <a:pos x="10" y="2"/>
              </a:cxn>
              <a:cxn ang="0">
                <a:pos x="8" y="0"/>
              </a:cxn>
              <a:cxn ang="0">
                <a:pos x="4" y="2"/>
              </a:cxn>
              <a:cxn ang="0">
                <a:pos x="2" y="4"/>
              </a:cxn>
              <a:cxn ang="0">
                <a:pos x="0" y="6"/>
              </a:cxn>
              <a:cxn ang="0">
                <a:pos x="0" y="8"/>
              </a:cxn>
              <a:cxn ang="0">
                <a:pos x="0" y="12"/>
              </a:cxn>
              <a:cxn ang="0">
                <a:pos x="2" y="14"/>
              </a:cxn>
              <a:cxn ang="0">
                <a:pos x="4" y="16"/>
              </a:cxn>
              <a:cxn ang="0">
                <a:pos x="8" y="16"/>
              </a:cxn>
              <a:cxn ang="0">
                <a:pos x="10" y="16"/>
              </a:cxn>
              <a:cxn ang="0">
                <a:pos x="14" y="14"/>
              </a:cxn>
              <a:cxn ang="0">
                <a:pos x="14" y="12"/>
              </a:cxn>
              <a:cxn ang="0">
                <a:pos x="16" y="8"/>
              </a:cxn>
            </a:cxnLst>
            <a:rect l="0" t="0" r="r" b="b"/>
            <a:pathLst>
              <a:path w="16" h="16">
                <a:moveTo>
                  <a:pt x="16" y="8"/>
                </a:moveTo>
                <a:lnTo>
                  <a:pt x="14" y="6"/>
                </a:lnTo>
                <a:lnTo>
                  <a:pt x="14" y="4"/>
                </a:lnTo>
                <a:lnTo>
                  <a:pt x="10" y="2"/>
                </a:lnTo>
                <a:lnTo>
                  <a:pt x="8" y="0"/>
                </a:lnTo>
                <a:lnTo>
                  <a:pt x="4" y="2"/>
                </a:lnTo>
                <a:lnTo>
                  <a:pt x="2" y="4"/>
                </a:lnTo>
                <a:lnTo>
                  <a:pt x="0" y="6"/>
                </a:lnTo>
                <a:lnTo>
                  <a:pt x="0" y="8"/>
                </a:lnTo>
                <a:lnTo>
                  <a:pt x="0" y="12"/>
                </a:lnTo>
                <a:lnTo>
                  <a:pt x="2" y="14"/>
                </a:lnTo>
                <a:lnTo>
                  <a:pt x="4" y="16"/>
                </a:lnTo>
                <a:lnTo>
                  <a:pt x="8" y="16"/>
                </a:lnTo>
                <a:lnTo>
                  <a:pt x="10" y="16"/>
                </a:lnTo>
                <a:lnTo>
                  <a:pt x="14" y="14"/>
                </a:lnTo>
                <a:lnTo>
                  <a:pt x="14" y="12"/>
                </a:lnTo>
                <a:lnTo>
                  <a:pt x="16" y="8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28" name="Group 280"/>
          <p:cNvGrpSpPr>
            <a:grpSpLocks/>
          </p:cNvGrpSpPr>
          <p:nvPr/>
        </p:nvGrpSpPr>
        <p:grpSpPr bwMode="auto">
          <a:xfrm>
            <a:off x="3602711" y="1752899"/>
            <a:ext cx="2544762" cy="2740025"/>
            <a:chOff x="2304" y="688"/>
            <a:chExt cx="2110" cy="2146"/>
          </a:xfrm>
          <a:solidFill>
            <a:srgbClr val="92D050"/>
          </a:solidFill>
        </p:grpSpPr>
        <p:sp>
          <p:nvSpPr>
            <p:cNvPr id="212" name="Freeform 281"/>
            <p:cNvSpPr>
              <a:spLocks/>
            </p:cNvSpPr>
            <p:nvPr/>
          </p:nvSpPr>
          <p:spPr bwMode="auto">
            <a:xfrm>
              <a:off x="2304" y="688"/>
              <a:ext cx="2110" cy="2146"/>
            </a:xfrm>
            <a:custGeom>
              <a:avLst/>
              <a:gdLst>
                <a:gd name="T0" fmla="*/ 1284 w 2110"/>
                <a:gd name="T1" fmla="*/ 1728 h 2146"/>
                <a:gd name="T2" fmla="*/ 1256 w 2110"/>
                <a:gd name="T3" fmla="*/ 1872 h 2146"/>
                <a:gd name="T4" fmla="*/ 1120 w 2110"/>
                <a:gd name="T5" fmla="*/ 2024 h 2146"/>
                <a:gd name="T6" fmla="*/ 1118 w 2110"/>
                <a:gd name="T7" fmla="*/ 2006 h 2146"/>
                <a:gd name="T8" fmla="*/ 1122 w 2110"/>
                <a:gd name="T9" fmla="*/ 1950 h 2146"/>
                <a:gd name="T10" fmla="*/ 1062 w 2110"/>
                <a:gd name="T11" fmla="*/ 2052 h 2146"/>
                <a:gd name="T12" fmla="*/ 988 w 2110"/>
                <a:gd name="T13" fmla="*/ 2112 h 2146"/>
                <a:gd name="T14" fmla="*/ 926 w 2110"/>
                <a:gd name="T15" fmla="*/ 2008 h 2146"/>
                <a:gd name="T16" fmla="*/ 822 w 2110"/>
                <a:gd name="T17" fmla="*/ 1944 h 2146"/>
                <a:gd name="T18" fmla="*/ 912 w 2110"/>
                <a:gd name="T19" fmla="*/ 1848 h 2146"/>
                <a:gd name="T20" fmla="*/ 1020 w 2110"/>
                <a:gd name="T21" fmla="*/ 1770 h 2146"/>
                <a:gd name="T22" fmla="*/ 1002 w 2110"/>
                <a:gd name="T23" fmla="*/ 1644 h 2146"/>
                <a:gd name="T24" fmla="*/ 944 w 2110"/>
                <a:gd name="T25" fmla="*/ 1552 h 2146"/>
                <a:gd name="T26" fmla="*/ 836 w 2110"/>
                <a:gd name="T27" fmla="*/ 1500 h 2146"/>
                <a:gd name="T28" fmla="*/ 856 w 2110"/>
                <a:gd name="T29" fmla="*/ 1298 h 2146"/>
                <a:gd name="T30" fmla="*/ 826 w 2110"/>
                <a:gd name="T31" fmla="*/ 1178 h 2146"/>
                <a:gd name="T32" fmla="*/ 646 w 2110"/>
                <a:gd name="T33" fmla="*/ 1024 h 2146"/>
                <a:gd name="T34" fmla="*/ 518 w 2110"/>
                <a:gd name="T35" fmla="*/ 966 h 2146"/>
                <a:gd name="T36" fmla="*/ 464 w 2110"/>
                <a:gd name="T37" fmla="*/ 848 h 2146"/>
                <a:gd name="T38" fmla="*/ 344 w 2110"/>
                <a:gd name="T39" fmla="*/ 856 h 2146"/>
                <a:gd name="T40" fmla="*/ 204 w 2110"/>
                <a:gd name="T41" fmla="*/ 886 h 2146"/>
                <a:gd name="T42" fmla="*/ 108 w 2110"/>
                <a:gd name="T43" fmla="*/ 830 h 2146"/>
                <a:gd name="T44" fmla="*/ 24 w 2110"/>
                <a:gd name="T45" fmla="*/ 738 h 2146"/>
                <a:gd name="T46" fmla="*/ 42 w 2110"/>
                <a:gd name="T47" fmla="*/ 618 h 2146"/>
                <a:gd name="T48" fmla="*/ 174 w 2110"/>
                <a:gd name="T49" fmla="*/ 512 h 2146"/>
                <a:gd name="T50" fmla="*/ 214 w 2110"/>
                <a:gd name="T51" fmla="*/ 300 h 2146"/>
                <a:gd name="T52" fmla="*/ 310 w 2110"/>
                <a:gd name="T53" fmla="*/ 188 h 2146"/>
                <a:gd name="T54" fmla="*/ 416 w 2110"/>
                <a:gd name="T55" fmla="*/ 248 h 2146"/>
                <a:gd name="T56" fmla="*/ 502 w 2110"/>
                <a:gd name="T57" fmla="*/ 220 h 2146"/>
                <a:gd name="T58" fmla="*/ 530 w 2110"/>
                <a:gd name="T59" fmla="*/ 98 h 2146"/>
                <a:gd name="T60" fmla="*/ 562 w 2110"/>
                <a:gd name="T61" fmla="*/ 74 h 2146"/>
                <a:gd name="T62" fmla="*/ 658 w 2110"/>
                <a:gd name="T63" fmla="*/ 60 h 2146"/>
                <a:gd name="T64" fmla="*/ 756 w 2110"/>
                <a:gd name="T65" fmla="*/ 24 h 2146"/>
                <a:gd name="T66" fmla="*/ 770 w 2110"/>
                <a:gd name="T67" fmla="*/ 186 h 2146"/>
                <a:gd name="T68" fmla="*/ 902 w 2110"/>
                <a:gd name="T69" fmla="*/ 180 h 2146"/>
                <a:gd name="T70" fmla="*/ 1036 w 2110"/>
                <a:gd name="T71" fmla="*/ 154 h 2146"/>
                <a:gd name="T72" fmla="*/ 1158 w 2110"/>
                <a:gd name="T73" fmla="*/ 148 h 2146"/>
                <a:gd name="T74" fmla="*/ 1232 w 2110"/>
                <a:gd name="T75" fmla="*/ 64 h 2146"/>
                <a:gd name="T76" fmla="*/ 1298 w 2110"/>
                <a:gd name="T77" fmla="*/ 220 h 2146"/>
                <a:gd name="T78" fmla="*/ 1218 w 2110"/>
                <a:gd name="T79" fmla="*/ 316 h 2146"/>
                <a:gd name="T80" fmla="*/ 1188 w 2110"/>
                <a:gd name="T81" fmla="*/ 378 h 2146"/>
                <a:gd name="T82" fmla="*/ 1218 w 2110"/>
                <a:gd name="T83" fmla="*/ 394 h 2146"/>
                <a:gd name="T84" fmla="*/ 1256 w 2110"/>
                <a:gd name="T85" fmla="*/ 406 h 2146"/>
                <a:gd name="T86" fmla="*/ 1328 w 2110"/>
                <a:gd name="T87" fmla="*/ 426 h 2146"/>
                <a:gd name="T88" fmla="*/ 1380 w 2110"/>
                <a:gd name="T89" fmla="*/ 360 h 2146"/>
                <a:gd name="T90" fmla="*/ 1464 w 2110"/>
                <a:gd name="T91" fmla="*/ 336 h 2146"/>
                <a:gd name="T92" fmla="*/ 1536 w 2110"/>
                <a:gd name="T93" fmla="*/ 360 h 2146"/>
                <a:gd name="T94" fmla="*/ 1592 w 2110"/>
                <a:gd name="T95" fmla="*/ 390 h 2146"/>
                <a:gd name="T96" fmla="*/ 1602 w 2110"/>
                <a:gd name="T97" fmla="*/ 440 h 2146"/>
                <a:gd name="T98" fmla="*/ 1678 w 2110"/>
                <a:gd name="T99" fmla="*/ 428 h 2146"/>
                <a:gd name="T100" fmla="*/ 1772 w 2110"/>
                <a:gd name="T101" fmla="*/ 458 h 2146"/>
                <a:gd name="T102" fmla="*/ 1958 w 2110"/>
                <a:gd name="T103" fmla="*/ 548 h 2146"/>
                <a:gd name="T104" fmla="*/ 2092 w 2110"/>
                <a:gd name="T105" fmla="*/ 622 h 2146"/>
                <a:gd name="T106" fmla="*/ 2104 w 2110"/>
                <a:gd name="T107" fmla="*/ 754 h 2146"/>
                <a:gd name="T108" fmla="*/ 1976 w 2110"/>
                <a:gd name="T109" fmla="*/ 914 h 2146"/>
                <a:gd name="T110" fmla="*/ 1942 w 2110"/>
                <a:gd name="T111" fmla="*/ 970 h 2146"/>
                <a:gd name="T112" fmla="*/ 1870 w 2110"/>
                <a:gd name="T113" fmla="*/ 1026 h 2146"/>
                <a:gd name="T114" fmla="*/ 1848 w 2110"/>
                <a:gd name="T115" fmla="*/ 1128 h 2146"/>
                <a:gd name="T116" fmla="*/ 1796 w 2110"/>
                <a:gd name="T117" fmla="*/ 1330 h 2146"/>
                <a:gd name="T118" fmla="*/ 1720 w 2110"/>
                <a:gd name="T119" fmla="*/ 1474 h 2146"/>
                <a:gd name="T120" fmla="*/ 1616 w 2110"/>
                <a:gd name="T121" fmla="*/ 1586 h 2146"/>
                <a:gd name="T122" fmla="*/ 1530 w 2110"/>
                <a:gd name="T123" fmla="*/ 1586 h 2146"/>
                <a:gd name="T124" fmla="*/ 1430 w 2110"/>
                <a:gd name="T125" fmla="*/ 1620 h 214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110"/>
                <a:gd name="T190" fmla="*/ 0 h 2146"/>
                <a:gd name="T191" fmla="*/ 2110 w 2110"/>
                <a:gd name="T192" fmla="*/ 2146 h 214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110" h="2146">
                  <a:moveTo>
                    <a:pt x="1318" y="1694"/>
                  </a:moveTo>
                  <a:lnTo>
                    <a:pt x="1316" y="1694"/>
                  </a:lnTo>
                  <a:lnTo>
                    <a:pt x="1314" y="1696"/>
                  </a:lnTo>
                  <a:lnTo>
                    <a:pt x="1312" y="1698"/>
                  </a:lnTo>
                  <a:lnTo>
                    <a:pt x="1308" y="1702"/>
                  </a:lnTo>
                  <a:lnTo>
                    <a:pt x="1306" y="1704"/>
                  </a:lnTo>
                  <a:lnTo>
                    <a:pt x="1306" y="1706"/>
                  </a:lnTo>
                  <a:lnTo>
                    <a:pt x="1304" y="1706"/>
                  </a:lnTo>
                  <a:lnTo>
                    <a:pt x="1304" y="1704"/>
                  </a:lnTo>
                  <a:lnTo>
                    <a:pt x="1306" y="1700"/>
                  </a:lnTo>
                  <a:lnTo>
                    <a:pt x="1308" y="1698"/>
                  </a:lnTo>
                  <a:lnTo>
                    <a:pt x="1310" y="1696"/>
                  </a:lnTo>
                  <a:lnTo>
                    <a:pt x="1306" y="1698"/>
                  </a:lnTo>
                  <a:lnTo>
                    <a:pt x="1302" y="1700"/>
                  </a:lnTo>
                  <a:lnTo>
                    <a:pt x="1300" y="1698"/>
                  </a:lnTo>
                  <a:lnTo>
                    <a:pt x="1298" y="1698"/>
                  </a:lnTo>
                  <a:lnTo>
                    <a:pt x="1296" y="1696"/>
                  </a:lnTo>
                  <a:lnTo>
                    <a:pt x="1294" y="1698"/>
                  </a:lnTo>
                  <a:lnTo>
                    <a:pt x="1294" y="1700"/>
                  </a:lnTo>
                  <a:lnTo>
                    <a:pt x="1294" y="1702"/>
                  </a:lnTo>
                  <a:lnTo>
                    <a:pt x="1292" y="1706"/>
                  </a:lnTo>
                  <a:lnTo>
                    <a:pt x="1288" y="1706"/>
                  </a:lnTo>
                  <a:lnTo>
                    <a:pt x="1284" y="1704"/>
                  </a:lnTo>
                  <a:lnTo>
                    <a:pt x="1282" y="1702"/>
                  </a:lnTo>
                  <a:lnTo>
                    <a:pt x="1280" y="1702"/>
                  </a:lnTo>
                  <a:lnTo>
                    <a:pt x="1278" y="1706"/>
                  </a:lnTo>
                  <a:lnTo>
                    <a:pt x="1280" y="1706"/>
                  </a:lnTo>
                  <a:lnTo>
                    <a:pt x="1282" y="1708"/>
                  </a:lnTo>
                  <a:lnTo>
                    <a:pt x="1284" y="1708"/>
                  </a:lnTo>
                  <a:lnTo>
                    <a:pt x="1288" y="1708"/>
                  </a:lnTo>
                  <a:lnTo>
                    <a:pt x="1290" y="1708"/>
                  </a:lnTo>
                  <a:lnTo>
                    <a:pt x="1296" y="1710"/>
                  </a:lnTo>
                  <a:lnTo>
                    <a:pt x="1296" y="1712"/>
                  </a:lnTo>
                  <a:lnTo>
                    <a:pt x="1296" y="1714"/>
                  </a:lnTo>
                  <a:lnTo>
                    <a:pt x="1294" y="1714"/>
                  </a:lnTo>
                  <a:lnTo>
                    <a:pt x="1292" y="1716"/>
                  </a:lnTo>
                  <a:lnTo>
                    <a:pt x="1290" y="1720"/>
                  </a:lnTo>
                  <a:lnTo>
                    <a:pt x="1288" y="1722"/>
                  </a:lnTo>
                  <a:lnTo>
                    <a:pt x="1282" y="1724"/>
                  </a:lnTo>
                  <a:lnTo>
                    <a:pt x="1276" y="1726"/>
                  </a:lnTo>
                  <a:lnTo>
                    <a:pt x="1274" y="1728"/>
                  </a:lnTo>
                  <a:lnTo>
                    <a:pt x="1280" y="1728"/>
                  </a:lnTo>
                  <a:lnTo>
                    <a:pt x="1284" y="1728"/>
                  </a:lnTo>
                  <a:lnTo>
                    <a:pt x="1284" y="1732"/>
                  </a:lnTo>
                  <a:lnTo>
                    <a:pt x="1282" y="1734"/>
                  </a:lnTo>
                  <a:lnTo>
                    <a:pt x="1280" y="1738"/>
                  </a:lnTo>
                  <a:lnTo>
                    <a:pt x="1282" y="1742"/>
                  </a:lnTo>
                  <a:lnTo>
                    <a:pt x="1282" y="1744"/>
                  </a:lnTo>
                  <a:lnTo>
                    <a:pt x="1278" y="1748"/>
                  </a:lnTo>
                  <a:lnTo>
                    <a:pt x="1276" y="1748"/>
                  </a:lnTo>
                  <a:lnTo>
                    <a:pt x="1274" y="1746"/>
                  </a:lnTo>
                  <a:lnTo>
                    <a:pt x="1274" y="1744"/>
                  </a:lnTo>
                  <a:lnTo>
                    <a:pt x="1272" y="1740"/>
                  </a:lnTo>
                  <a:lnTo>
                    <a:pt x="1272" y="1738"/>
                  </a:lnTo>
                  <a:lnTo>
                    <a:pt x="1272" y="1742"/>
                  </a:lnTo>
                  <a:lnTo>
                    <a:pt x="1272" y="1750"/>
                  </a:lnTo>
                  <a:lnTo>
                    <a:pt x="1276" y="1756"/>
                  </a:lnTo>
                  <a:lnTo>
                    <a:pt x="1278" y="1758"/>
                  </a:lnTo>
                  <a:lnTo>
                    <a:pt x="1278" y="1760"/>
                  </a:lnTo>
                  <a:lnTo>
                    <a:pt x="1276" y="1762"/>
                  </a:lnTo>
                  <a:lnTo>
                    <a:pt x="1274" y="1766"/>
                  </a:lnTo>
                  <a:lnTo>
                    <a:pt x="1274" y="1768"/>
                  </a:lnTo>
                  <a:lnTo>
                    <a:pt x="1272" y="1772"/>
                  </a:lnTo>
                  <a:lnTo>
                    <a:pt x="1272" y="1774"/>
                  </a:lnTo>
                  <a:lnTo>
                    <a:pt x="1272" y="1776"/>
                  </a:lnTo>
                  <a:lnTo>
                    <a:pt x="1276" y="1778"/>
                  </a:lnTo>
                  <a:lnTo>
                    <a:pt x="1274" y="1784"/>
                  </a:lnTo>
                  <a:lnTo>
                    <a:pt x="1274" y="1796"/>
                  </a:lnTo>
                  <a:lnTo>
                    <a:pt x="1274" y="1798"/>
                  </a:lnTo>
                  <a:lnTo>
                    <a:pt x="1276" y="1798"/>
                  </a:lnTo>
                  <a:lnTo>
                    <a:pt x="1278" y="1798"/>
                  </a:lnTo>
                  <a:lnTo>
                    <a:pt x="1278" y="1800"/>
                  </a:lnTo>
                  <a:lnTo>
                    <a:pt x="1278" y="1802"/>
                  </a:lnTo>
                  <a:lnTo>
                    <a:pt x="1276" y="1802"/>
                  </a:lnTo>
                  <a:lnTo>
                    <a:pt x="1272" y="1804"/>
                  </a:lnTo>
                  <a:lnTo>
                    <a:pt x="1268" y="1816"/>
                  </a:lnTo>
                  <a:lnTo>
                    <a:pt x="1270" y="1824"/>
                  </a:lnTo>
                  <a:lnTo>
                    <a:pt x="1268" y="1826"/>
                  </a:lnTo>
                  <a:lnTo>
                    <a:pt x="1268" y="1832"/>
                  </a:lnTo>
                  <a:lnTo>
                    <a:pt x="1268" y="1834"/>
                  </a:lnTo>
                  <a:lnTo>
                    <a:pt x="1270" y="1836"/>
                  </a:lnTo>
                  <a:lnTo>
                    <a:pt x="1270" y="1838"/>
                  </a:lnTo>
                  <a:lnTo>
                    <a:pt x="1266" y="1846"/>
                  </a:lnTo>
                  <a:lnTo>
                    <a:pt x="1264" y="1850"/>
                  </a:lnTo>
                  <a:lnTo>
                    <a:pt x="1262" y="1858"/>
                  </a:lnTo>
                  <a:lnTo>
                    <a:pt x="1256" y="1872"/>
                  </a:lnTo>
                  <a:lnTo>
                    <a:pt x="1254" y="1872"/>
                  </a:lnTo>
                  <a:lnTo>
                    <a:pt x="1254" y="1870"/>
                  </a:lnTo>
                  <a:lnTo>
                    <a:pt x="1254" y="1866"/>
                  </a:lnTo>
                  <a:lnTo>
                    <a:pt x="1252" y="1862"/>
                  </a:lnTo>
                  <a:lnTo>
                    <a:pt x="1250" y="1864"/>
                  </a:lnTo>
                  <a:lnTo>
                    <a:pt x="1250" y="1868"/>
                  </a:lnTo>
                  <a:lnTo>
                    <a:pt x="1250" y="1870"/>
                  </a:lnTo>
                  <a:lnTo>
                    <a:pt x="1254" y="1874"/>
                  </a:lnTo>
                  <a:lnTo>
                    <a:pt x="1250" y="1880"/>
                  </a:lnTo>
                  <a:lnTo>
                    <a:pt x="1246" y="1880"/>
                  </a:lnTo>
                  <a:lnTo>
                    <a:pt x="1244" y="1882"/>
                  </a:lnTo>
                  <a:lnTo>
                    <a:pt x="1232" y="1888"/>
                  </a:lnTo>
                  <a:lnTo>
                    <a:pt x="1230" y="1890"/>
                  </a:lnTo>
                  <a:lnTo>
                    <a:pt x="1220" y="1896"/>
                  </a:lnTo>
                  <a:lnTo>
                    <a:pt x="1218" y="1900"/>
                  </a:lnTo>
                  <a:lnTo>
                    <a:pt x="1206" y="1910"/>
                  </a:lnTo>
                  <a:lnTo>
                    <a:pt x="1204" y="1912"/>
                  </a:lnTo>
                  <a:lnTo>
                    <a:pt x="1202" y="1914"/>
                  </a:lnTo>
                  <a:lnTo>
                    <a:pt x="1202" y="1916"/>
                  </a:lnTo>
                  <a:lnTo>
                    <a:pt x="1200" y="1918"/>
                  </a:lnTo>
                  <a:lnTo>
                    <a:pt x="1198" y="1920"/>
                  </a:lnTo>
                  <a:lnTo>
                    <a:pt x="1190" y="1928"/>
                  </a:lnTo>
                  <a:lnTo>
                    <a:pt x="1188" y="1932"/>
                  </a:lnTo>
                  <a:lnTo>
                    <a:pt x="1182" y="1942"/>
                  </a:lnTo>
                  <a:lnTo>
                    <a:pt x="1180" y="1946"/>
                  </a:lnTo>
                  <a:lnTo>
                    <a:pt x="1172" y="1958"/>
                  </a:lnTo>
                  <a:lnTo>
                    <a:pt x="1170" y="1966"/>
                  </a:lnTo>
                  <a:lnTo>
                    <a:pt x="1168" y="1966"/>
                  </a:lnTo>
                  <a:lnTo>
                    <a:pt x="1168" y="1968"/>
                  </a:lnTo>
                  <a:lnTo>
                    <a:pt x="1166" y="1970"/>
                  </a:lnTo>
                  <a:lnTo>
                    <a:pt x="1166" y="1972"/>
                  </a:lnTo>
                  <a:lnTo>
                    <a:pt x="1164" y="1976"/>
                  </a:lnTo>
                  <a:lnTo>
                    <a:pt x="1160" y="1980"/>
                  </a:lnTo>
                  <a:lnTo>
                    <a:pt x="1156" y="1984"/>
                  </a:lnTo>
                  <a:lnTo>
                    <a:pt x="1154" y="1988"/>
                  </a:lnTo>
                  <a:lnTo>
                    <a:pt x="1144" y="2000"/>
                  </a:lnTo>
                  <a:lnTo>
                    <a:pt x="1144" y="2002"/>
                  </a:lnTo>
                  <a:lnTo>
                    <a:pt x="1142" y="2004"/>
                  </a:lnTo>
                  <a:lnTo>
                    <a:pt x="1140" y="2006"/>
                  </a:lnTo>
                  <a:lnTo>
                    <a:pt x="1138" y="2008"/>
                  </a:lnTo>
                  <a:lnTo>
                    <a:pt x="1132" y="2014"/>
                  </a:lnTo>
                  <a:lnTo>
                    <a:pt x="1128" y="2018"/>
                  </a:lnTo>
                  <a:lnTo>
                    <a:pt x="1120" y="2024"/>
                  </a:lnTo>
                  <a:lnTo>
                    <a:pt x="1120" y="2026"/>
                  </a:lnTo>
                  <a:lnTo>
                    <a:pt x="1116" y="2028"/>
                  </a:lnTo>
                  <a:lnTo>
                    <a:pt x="1110" y="2032"/>
                  </a:lnTo>
                  <a:lnTo>
                    <a:pt x="1096" y="2042"/>
                  </a:lnTo>
                  <a:lnTo>
                    <a:pt x="1090" y="2046"/>
                  </a:lnTo>
                  <a:lnTo>
                    <a:pt x="1086" y="2046"/>
                  </a:lnTo>
                  <a:lnTo>
                    <a:pt x="1078" y="2050"/>
                  </a:lnTo>
                  <a:lnTo>
                    <a:pt x="1076" y="2052"/>
                  </a:lnTo>
                  <a:lnTo>
                    <a:pt x="1074" y="2052"/>
                  </a:lnTo>
                  <a:lnTo>
                    <a:pt x="1074" y="2056"/>
                  </a:lnTo>
                  <a:lnTo>
                    <a:pt x="1072" y="2058"/>
                  </a:lnTo>
                  <a:lnTo>
                    <a:pt x="1066" y="2064"/>
                  </a:lnTo>
                  <a:lnTo>
                    <a:pt x="1064" y="2062"/>
                  </a:lnTo>
                  <a:lnTo>
                    <a:pt x="1066" y="2060"/>
                  </a:lnTo>
                  <a:lnTo>
                    <a:pt x="1068" y="2058"/>
                  </a:lnTo>
                  <a:lnTo>
                    <a:pt x="1070" y="2052"/>
                  </a:lnTo>
                  <a:lnTo>
                    <a:pt x="1068" y="2050"/>
                  </a:lnTo>
                  <a:lnTo>
                    <a:pt x="1068" y="2048"/>
                  </a:lnTo>
                  <a:lnTo>
                    <a:pt x="1066" y="2046"/>
                  </a:lnTo>
                  <a:lnTo>
                    <a:pt x="1068" y="2046"/>
                  </a:lnTo>
                  <a:lnTo>
                    <a:pt x="1070" y="2044"/>
                  </a:lnTo>
                  <a:lnTo>
                    <a:pt x="1072" y="2046"/>
                  </a:lnTo>
                  <a:lnTo>
                    <a:pt x="1074" y="2046"/>
                  </a:lnTo>
                  <a:lnTo>
                    <a:pt x="1074" y="2048"/>
                  </a:lnTo>
                  <a:lnTo>
                    <a:pt x="1076" y="2048"/>
                  </a:lnTo>
                  <a:lnTo>
                    <a:pt x="1078" y="2048"/>
                  </a:lnTo>
                  <a:lnTo>
                    <a:pt x="1086" y="2044"/>
                  </a:lnTo>
                  <a:lnTo>
                    <a:pt x="1088" y="2044"/>
                  </a:lnTo>
                  <a:lnTo>
                    <a:pt x="1090" y="2042"/>
                  </a:lnTo>
                  <a:lnTo>
                    <a:pt x="1094" y="2036"/>
                  </a:lnTo>
                  <a:lnTo>
                    <a:pt x="1100" y="2032"/>
                  </a:lnTo>
                  <a:lnTo>
                    <a:pt x="1102" y="2030"/>
                  </a:lnTo>
                  <a:lnTo>
                    <a:pt x="1104" y="2032"/>
                  </a:lnTo>
                  <a:lnTo>
                    <a:pt x="1106" y="2032"/>
                  </a:lnTo>
                  <a:lnTo>
                    <a:pt x="1106" y="2030"/>
                  </a:lnTo>
                  <a:lnTo>
                    <a:pt x="1110" y="2030"/>
                  </a:lnTo>
                  <a:lnTo>
                    <a:pt x="1110" y="2028"/>
                  </a:lnTo>
                  <a:lnTo>
                    <a:pt x="1114" y="2024"/>
                  </a:lnTo>
                  <a:lnTo>
                    <a:pt x="1116" y="2020"/>
                  </a:lnTo>
                  <a:lnTo>
                    <a:pt x="1116" y="2016"/>
                  </a:lnTo>
                  <a:lnTo>
                    <a:pt x="1116" y="2014"/>
                  </a:lnTo>
                  <a:lnTo>
                    <a:pt x="1116" y="2012"/>
                  </a:lnTo>
                  <a:lnTo>
                    <a:pt x="1118" y="2006"/>
                  </a:lnTo>
                  <a:lnTo>
                    <a:pt x="1122" y="2008"/>
                  </a:lnTo>
                  <a:lnTo>
                    <a:pt x="1124" y="2008"/>
                  </a:lnTo>
                  <a:lnTo>
                    <a:pt x="1126" y="2010"/>
                  </a:lnTo>
                  <a:lnTo>
                    <a:pt x="1126" y="2006"/>
                  </a:lnTo>
                  <a:lnTo>
                    <a:pt x="1128" y="2000"/>
                  </a:lnTo>
                  <a:lnTo>
                    <a:pt x="1130" y="1998"/>
                  </a:lnTo>
                  <a:lnTo>
                    <a:pt x="1132" y="1998"/>
                  </a:lnTo>
                  <a:lnTo>
                    <a:pt x="1138" y="1994"/>
                  </a:lnTo>
                  <a:lnTo>
                    <a:pt x="1140" y="1994"/>
                  </a:lnTo>
                  <a:lnTo>
                    <a:pt x="1140" y="1992"/>
                  </a:lnTo>
                  <a:lnTo>
                    <a:pt x="1142" y="1990"/>
                  </a:lnTo>
                  <a:lnTo>
                    <a:pt x="1144" y="1988"/>
                  </a:lnTo>
                  <a:lnTo>
                    <a:pt x="1144" y="1984"/>
                  </a:lnTo>
                  <a:lnTo>
                    <a:pt x="1146" y="1982"/>
                  </a:lnTo>
                  <a:lnTo>
                    <a:pt x="1146" y="1976"/>
                  </a:lnTo>
                  <a:lnTo>
                    <a:pt x="1148" y="1974"/>
                  </a:lnTo>
                  <a:lnTo>
                    <a:pt x="1148" y="1976"/>
                  </a:lnTo>
                  <a:lnTo>
                    <a:pt x="1150" y="1976"/>
                  </a:lnTo>
                  <a:lnTo>
                    <a:pt x="1150" y="1974"/>
                  </a:lnTo>
                  <a:lnTo>
                    <a:pt x="1152" y="1968"/>
                  </a:lnTo>
                  <a:lnTo>
                    <a:pt x="1154" y="1966"/>
                  </a:lnTo>
                  <a:lnTo>
                    <a:pt x="1154" y="1964"/>
                  </a:lnTo>
                  <a:lnTo>
                    <a:pt x="1152" y="1960"/>
                  </a:lnTo>
                  <a:lnTo>
                    <a:pt x="1150" y="1960"/>
                  </a:lnTo>
                  <a:lnTo>
                    <a:pt x="1148" y="1960"/>
                  </a:lnTo>
                  <a:lnTo>
                    <a:pt x="1148" y="1962"/>
                  </a:lnTo>
                  <a:lnTo>
                    <a:pt x="1148" y="1964"/>
                  </a:lnTo>
                  <a:lnTo>
                    <a:pt x="1148" y="1966"/>
                  </a:lnTo>
                  <a:lnTo>
                    <a:pt x="1142" y="1964"/>
                  </a:lnTo>
                  <a:lnTo>
                    <a:pt x="1136" y="1966"/>
                  </a:lnTo>
                  <a:lnTo>
                    <a:pt x="1134" y="1966"/>
                  </a:lnTo>
                  <a:lnTo>
                    <a:pt x="1134" y="1970"/>
                  </a:lnTo>
                  <a:lnTo>
                    <a:pt x="1132" y="1970"/>
                  </a:lnTo>
                  <a:lnTo>
                    <a:pt x="1130" y="1970"/>
                  </a:lnTo>
                  <a:lnTo>
                    <a:pt x="1130" y="1966"/>
                  </a:lnTo>
                  <a:lnTo>
                    <a:pt x="1130" y="1964"/>
                  </a:lnTo>
                  <a:lnTo>
                    <a:pt x="1128" y="1960"/>
                  </a:lnTo>
                  <a:lnTo>
                    <a:pt x="1126" y="1960"/>
                  </a:lnTo>
                  <a:lnTo>
                    <a:pt x="1126" y="1962"/>
                  </a:lnTo>
                  <a:lnTo>
                    <a:pt x="1124" y="1960"/>
                  </a:lnTo>
                  <a:lnTo>
                    <a:pt x="1122" y="1956"/>
                  </a:lnTo>
                  <a:lnTo>
                    <a:pt x="1122" y="1952"/>
                  </a:lnTo>
                  <a:lnTo>
                    <a:pt x="1122" y="1950"/>
                  </a:lnTo>
                  <a:lnTo>
                    <a:pt x="1120" y="1948"/>
                  </a:lnTo>
                  <a:lnTo>
                    <a:pt x="1116" y="1956"/>
                  </a:lnTo>
                  <a:lnTo>
                    <a:pt x="1118" y="1962"/>
                  </a:lnTo>
                  <a:lnTo>
                    <a:pt x="1120" y="1970"/>
                  </a:lnTo>
                  <a:lnTo>
                    <a:pt x="1118" y="1972"/>
                  </a:lnTo>
                  <a:lnTo>
                    <a:pt x="1116" y="1976"/>
                  </a:lnTo>
                  <a:lnTo>
                    <a:pt x="1114" y="1980"/>
                  </a:lnTo>
                  <a:lnTo>
                    <a:pt x="1114" y="1982"/>
                  </a:lnTo>
                  <a:lnTo>
                    <a:pt x="1114" y="1988"/>
                  </a:lnTo>
                  <a:lnTo>
                    <a:pt x="1114" y="1990"/>
                  </a:lnTo>
                  <a:lnTo>
                    <a:pt x="1114" y="1992"/>
                  </a:lnTo>
                  <a:lnTo>
                    <a:pt x="1112" y="1990"/>
                  </a:lnTo>
                  <a:lnTo>
                    <a:pt x="1114" y="1990"/>
                  </a:lnTo>
                  <a:lnTo>
                    <a:pt x="1114" y="1988"/>
                  </a:lnTo>
                  <a:lnTo>
                    <a:pt x="1112" y="1982"/>
                  </a:lnTo>
                  <a:lnTo>
                    <a:pt x="1110" y="1982"/>
                  </a:lnTo>
                  <a:lnTo>
                    <a:pt x="1110" y="1984"/>
                  </a:lnTo>
                  <a:lnTo>
                    <a:pt x="1110" y="1988"/>
                  </a:lnTo>
                  <a:lnTo>
                    <a:pt x="1104" y="1996"/>
                  </a:lnTo>
                  <a:lnTo>
                    <a:pt x="1104" y="1998"/>
                  </a:lnTo>
                  <a:lnTo>
                    <a:pt x="1102" y="1998"/>
                  </a:lnTo>
                  <a:lnTo>
                    <a:pt x="1102" y="2000"/>
                  </a:lnTo>
                  <a:lnTo>
                    <a:pt x="1102" y="2004"/>
                  </a:lnTo>
                  <a:lnTo>
                    <a:pt x="1100" y="2006"/>
                  </a:lnTo>
                  <a:lnTo>
                    <a:pt x="1098" y="2008"/>
                  </a:lnTo>
                  <a:lnTo>
                    <a:pt x="1094" y="2008"/>
                  </a:lnTo>
                  <a:lnTo>
                    <a:pt x="1094" y="2010"/>
                  </a:lnTo>
                  <a:lnTo>
                    <a:pt x="1092" y="2012"/>
                  </a:lnTo>
                  <a:lnTo>
                    <a:pt x="1092" y="2014"/>
                  </a:lnTo>
                  <a:lnTo>
                    <a:pt x="1078" y="2016"/>
                  </a:lnTo>
                  <a:lnTo>
                    <a:pt x="1076" y="2018"/>
                  </a:lnTo>
                  <a:lnTo>
                    <a:pt x="1074" y="2022"/>
                  </a:lnTo>
                  <a:lnTo>
                    <a:pt x="1074" y="2030"/>
                  </a:lnTo>
                  <a:lnTo>
                    <a:pt x="1072" y="2034"/>
                  </a:lnTo>
                  <a:lnTo>
                    <a:pt x="1070" y="2036"/>
                  </a:lnTo>
                  <a:lnTo>
                    <a:pt x="1068" y="2036"/>
                  </a:lnTo>
                  <a:lnTo>
                    <a:pt x="1066" y="2038"/>
                  </a:lnTo>
                  <a:lnTo>
                    <a:pt x="1064" y="2038"/>
                  </a:lnTo>
                  <a:lnTo>
                    <a:pt x="1062" y="2038"/>
                  </a:lnTo>
                  <a:lnTo>
                    <a:pt x="1062" y="2040"/>
                  </a:lnTo>
                  <a:lnTo>
                    <a:pt x="1060" y="2046"/>
                  </a:lnTo>
                  <a:lnTo>
                    <a:pt x="1062" y="2048"/>
                  </a:lnTo>
                  <a:lnTo>
                    <a:pt x="1062" y="2052"/>
                  </a:lnTo>
                  <a:lnTo>
                    <a:pt x="1058" y="2052"/>
                  </a:lnTo>
                  <a:lnTo>
                    <a:pt x="1056" y="2056"/>
                  </a:lnTo>
                  <a:lnTo>
                    <a:pt x="1058" y="2058"/>
                  </a:lnTo>
                  <a:lnTo>
                    <a:pt x="1060" y="2058"/>
                  </a:lnTo>
                  <a:lnTo>
                    <a:pt x="1064" y="2060"/>
                  </a:lnTo>
                  <a:lnTo>
                    <a:pt x="1064" y="2064"/>
                  </a:lnTo>
                  <a:lnTo>
                    <a:pt x="1060" y="2066"/>
                  </a:lnTo>
                  <a:lnTo>
                    <a:pt x="1056" y="2068"/>
                  </a:lnTo>
                  <a:lnTo>
                    <a:pt x="1056" y="2070"/>
                  </a:lnTo>
                  <a:lnTo>
                    <a:pt x="1054" y="2072"/>
                  </a:lnTo>
                  <a:lnTo>
                    <a:pt x="1048" y="2082"/>
                  </a:lnTo>
                  <a:lnTo>
                    <a:pt x="1044" y="2090"/>
                  </a:lnTo>
                  <a:lnTo>
                    <a:pt x="1044" y="2092"/>
                  </a:lnTo>
                  <a:lnTo>
                    <a:pt x="1042" y="2094"/>
                  </a:lnTo>
                  <a:lnTo>
                    <a:pt x="1038" y="2102"/>
                  </a:lnTo>
                  <a:lnTo>
                    <a:pt x="1038" y="2104"/>
                  </a:lnTo>
                  <a:lnTo>
                    <a:pt x="1032" y="2114"/>
                  </a:lnTo>
                  <a:lnTo>
                    <a:pt x="1030" y="2114"/>
                  </a:lnTo>
                  <a:lnTo>
                    <a:pt x="1024" y="2122"/>
                  </a:lnTo>
                  <a:lnTo>
                    <a:pt x="1016" y="2128"/>
                  </a:lnTo>
                  <a:lnTo>
                    <a:pt x="1014" y="2130"/>
                  </a:lnTo>
                  <a:lnTo>
                    <a:pt x="1002" y="2138"/>
                  </a:lnTo>
                  <a:lnTo>
                    <a:pt x="1000" y="2142"/>
                  </a:lnTo>
                  <a:lnTo>
                    <a:pt x="998" y="2142"/>
                  </a:lnTo>
                  <a:lnTo>
                    <a:pt x="996" y="2144"/>
                  </a:lnTo>
                  <a:lnTo>
                    <a:pt x="994" y="2144"/>
                  </a:lnTo>
                  <a:lnTo>
                    <a:pt x="992" y="2146"/>
                  </a:lnTo>
                  <a:lnTo>
                    <a:pt x="990" y="2146"/>
                  </a:lnTo>
                  <a:lnTo>
                    <a:pt x="984" y="2142"/>
                  </a:lnTo>
                  <a:lnTo>
                    <a:pt x="984" y="2140"/>
                  </a:lnTo>
                  <a:lnTo>
                    <a:pt x="984" y="2138"/>
                  </a:lnTo>
                  <a:lnTo>
                    <a:pt x="984" y="2136"/>
                  </a:lnTo>
                  <a:lnTo>
                    <a:pt x="986" y="2134"/>
                  </a:lnTo>
                  <a:lnTo>
                    <a:pt x="986" y="2132"/>
                  </a:lnTo>
                  <a:lnTo>
                    <a:pt x="986" y="2130"/>
                  </a:lnTo>
                  <a:lnTo>
                    <a:pt x="988" y="2128"/>
                  </a:lnTo>
                  <a:lnTo>
                    <a:pt x="988" y="2126"/>
                  </a:lnTo>
                  <a:lnTo>
                    <a:pt x="988" y="2122"/>
                  </a:lnTo>
                  <a:lnTo>
                    <a:pt x="988" y="2120"/>
                  </a:lnTo>
                  <a:lnTo>
                    <a:pt x="988" y="2118"/>
                  </a:lnTo>
                  <a:lnTo>
                    <a:pt x="988" y="2116"/>
                  </a:lnTo>
                  <a:lnTo>
                    <a:pt x="988" y="2114"/>
                  </a:lnTo>
                  <a:lnTo>
                    <a:pt x="988" y="2112"/>
                  </a:lnTo>
                  <a:lnTo>
                    <a:pt x="990" y="2110"/>
                  </a:lnTo>
                  <a:lnTo>
                    <a:pt x="990" y="2108"/>
                  </a:lnTo>
                  <a:lnTo>
                    <a:pt x="992" y="2108"/>
                  </a:lnTo>
                  <a:lnTo>
                    <a:pt x="994" y="2108"/>
                  </a:lnTo>
                  <a:lnTo>
                    <a:pt x="1000" y="2102"/>
                  </a:lnTo>
                  <a:lnTo>
                    <a:pt x="1004" y="2098"/>
                  </a:lnTo>
                  <a:lnTo>
                    <a:pt x="1008" y="2094"/>
                  </a:lnTo>
                  <a:lnTo>
                    <a:pt x="1012" y="2090"/>
                  </a:lnTo>
                  <a:lnTo>
                    <a:pt x="1010" y="2088"/>
                  </a:lnTo>
                  <a:lnTo>
                    <a:pt x="1008" y="2086"/>
                  </a:lnTo>
                  <a:lnTo>
                    <a:pt x="1004" y="2084"/>
                  </a:lnTo>
                  <a:lnTo>
                    <a:pt x="1000" y="2082"/>
                  </a:lnTo>
                  <a:lnTo>
                    <a:pt x="998" y="2082"/>
                  </a:lnTo>
                  <a:lnTo>
                    <a:pt x="994" y="2076"/>
                  </a:lnTo>
                  <a:lnTo>
                    <a:pt x="992" y="2074"/>
                  </a:lnTo>
                  <a:lnTo>
                    <a:pt x="992" y="2072"/>
                  </a:lnTo>
                  <a:lnTo>
                    <a:pt x="988" y="2070"/>
                  </a:lnTo>
                  <a:lnTo>
                    <a:pt x="988" y="2066"/>
                  </a:lnTo>
                  <a:lnTo>
                    <a:pt x="990" y="2064"/>
                  </a:lnTo>
                  <a:lnTo>
                    <a:pt x="988" y="2060"/>
                  </a:lnTo>
                  <a:lnTo>
                    <a:pt x="986" y="2054"/>
                  </a:lnTo>
                  <a:lnTo>
                    <a:pt x="980" y="2048"/>
                  </a:lnTo>
                  <a:lnTo>
                    <a:pt x="978" y="2046"/>
                  </a:lnTo>
                  <a:lnTo>
                    <a:pt x="972" y="2042"/>
                  </a:lnTo>
                  <a:lnTo>
                    <a:pt x="970" y="2042"/>
                  </a:lnTo>
                  <a:lnTo>
                    <a:pt x="966" y="2042"/>
                  </a:lnTo>
                  <a:lnTo>
                    <a:pt x="962" y="2036"/>
                  </a:lnTo>
                  <a:lnTo>
                    <a:pt x="958" y="2034"/>
                  </a:lnTo>
                  <a:lnTo>
                    <a:pt x="958" y="2032"/>
                  </a:lnTo>
                  <a:lnTo>
                    <a:pt x="956" y="2030"/>
                  </a:lnTo>
                  <a:lnTo>
                    <a:pt x="954" y="2030"/>
                  </a:lnTo>
                  <a:lnTo>
                    <a:pt x="954" y="2024"/>
                  </a:lnTo>
                  <a:lnTo>
                    <a:pt x="948" y="2016"/>
                  </a:lnTo>
                  <a:lnTo>
                    <a:pt x="944" y="2016"/>
                  </a:lnTo>
                  <a:lnTo>
                    <a:pt x="942" y="2016"/>
                  </a:lnTo>
                  <a:lnTo>
                    <a:pt x="940" y="2016"/>
                  </a:lnTo>
                  <a:lnTo>
                    <a:pt x="938" y="2016"/>
                  </a:lnTo>
                  <a:lnTo>
                    <a:pt x="938" y="2014"/>
                  </a:lnTo>
                  <a:lnTo>
                    <a:pt x="936" y="2014"/>
                  </a:lnTo>
                  <a:lnTo>
                    <a:pt x="934" y="2012"/>
                  </a:lnTo>
                  <a:lnTo>
                    <a:pt x="932" y="2010"/>
                  </a:lnTo>
                  <a:lnTo>
                    <a:pt x="930" y="2008"/>
                  </a:lnTo>
                  <a:lnTo>
                    <a:pt x="926" y="2008"/>
                  </a:lnTo>
                  <a:lnTo>
                    <a:pt x="920" y="2004"/>
                  </a:lnTo>
                  <a:lnTo>
                    <a:pt x="918" y="2002"/>
                  </a:lnTo>
                  <a:lnTo>
                    <a:pt x="916" y="1994"/>
                  </a:lnTo>
                  <a:lnTo>
                    <a:pt x="914" y="1992"/>
                  </a:lnTo>
                  <a:lnTo>
                    <a:pt x="912" y="1988"/>
                  </a:lnTo>
                  <a:lnTo>
                    <a:pt x="908" y="1982"/>
                  </a:lnTo>
                  <a:lnTo>
                    <a:pt x="904" y="1980"/>
                  </a:lnTo>
                  <a:lnTo>
                    <a:pt x="902" y="1980"/>
                  </a:lnTo>
                  <a:lnTo>
                    <a:pt x="902" y="1982"/>
                  </a:lnTo>
                  <a:lnTo>
                    <a:pt x="900" y="1986"/>
                  </a:lnTo>
                  <a:lnTo>
                    <a:pt x="894" y="1990"/>
                  </a:lnTo>
                  <a:lnTo>
                    <a:pt x="890" y="1992"/>
                  </a:lnTo>
                  <a:lnTo>
                    <a:pt x="888" y="1992"/>
                  </a:lnTo>
                  <a:lnTo>
                    <a:pt x="884" y="1992"/>
                  </a:lnTo>
                  <a:lnTo>
                    <a:pt x="882" y="1992"/>
                  </a:lnTo>
                  <a:lnTo>
                    <a:pt x="884" y="1986"/>
                  </a:lnTo>
                  <a:lnTo>
                    <a:pt x="884" y="1984"/>
                  </a:lnTo>
                  <a:lnTo>
                    <a:pt x="884" y="1982"/>
                  </a:lnTo>
                  <a:lnTo>
                    <a:pt x="886" y="1980"/>
                  </a:lnTo>
                  <a:lnTo>
                    <a:pt x="886" y="1978"/>
                  </a:lnTo>
                  <a:lnTo>
                    <a:pt x="884" y="1978"/>
                  </a:lnTo>
                  <a:lnTo>
                    <a:pt x="880" y="1970"/>
                  </a:lnTo>
                  <a:lnTo>
                    <a:pt x="874" y="1962"/>
                  </a:lnTo>
                  <a:lnTo>
                    <a:pt x="872" y="1962"/>
                  </a:lnTo>
                  <a:lnTo>
                    <a:pt x="870" y="1960"/>
                  </a:lnTo>
                  <a:lnTo>
                    <a:pt x="868" y="1958"/>
                  </a:lnTo>
                  <a:lnTo>
                    <a:pt x="862" y="1952"/>
                  </a:lnTo>
                  <a:lnTo>
                    <a:pt x="862" y="1950"/>
                  </a:lnTo>
                  <a:lnTo>
                    <a:pt x="860" y="1950"/>
                  </a:lnTo>
                  <a:lnTo>
                    <a:pt x="860" y="1948"/>
                  </a:lnTo>
                  <a:lnTo>
                    <a:pt x="856" y="1944"/>
                  </a:lnTo>
                  <a:lnTo>
                    <a:pt x="850" y="1938"/>
                  </a:lnTo>
                  <a:lnTo>
                    <a:pt x="846" y="1936"/>
                  </a:lnTo>
                  <a:lnTo>
                    <a:pt x="842" y="1936"/>
                  </a:lnTo>
                  <a:lnTo>
                    <a:pt x="836" y="1936"/>
                  </a:lnTo>
                  <a:lnTo>
                    <a:pt x="834" y="1938"/>
                  </a:lnTo>
                  <a:lnTo>
                    <a:pt x="832" y="1940"/>
                  </a:lnTo>
                  <a:lnTo>
                    <a:pt x="832" y="1942"/>
                  </a:lnTo>
                  <a:lnTo>
                    <a:pt x="830" y="1946"/>
                  </a:lnTo>
                  <a:lnTo>
                    <a:pt x="828" y="1946"/>
                  </a:lnTo>
                  <a:lnTo>
                    <a:pt x="824" y="1946"/>
                  </a:lnTo>
                  <a:lnTo>
                    <a:pt x="824" y="1944"/>
                  </a:lnTo>
                  <a:lnTo>
                    <a:pt x="822" y="1944"/>
                  </a:lnTo>
                  <a:lnTo>
                    <a:pt x="814" y="1944"/>
                  </a:lnTo>
                  <a:lnTo>
                    <a:pt x="812" y="1944"/>
                  </a:lnTo>
                  <a:lnTo>
                    <a:pt x="812" y="1942"/>
                  </a:lnTo>
                  <a:lnTo>
                    <a:pt x="812" y="1940"/>
                  </a:lnTo>
                  <a:lnTo>
                    <a:pt x="810" y="1940"/>
                  </a:lnTo>
                  <a:lnTo>
                    <a:pt x="812" y="1940"/>
                  </a:lnTo>
                  <a:lnTo>
                    <a:pt x="814" y="1938"/>
                  </a:lnTo>
                  <a:lnTo>
                    <a:pt x="816" y="1936"/>
                  </a:lnTo>
                  <a:lnTo>
                    <a:pt x="824" y="1930"/>
                  </a:lnTo>
                  <a:lnTo>
                    <a:pt x="824" y="1928"/>
                  </a:lnTo>
                  <a:lnTo>
                    <a:pt x="826" y="1924"/>
                  </a:lnTo>
                  <a:lnTo>
                    <a:pt x="826" y="1920"/>
                  </a:lnTo>
                  <a:lnTo>
                    <a:pt x="828" y="1920"/>
                  </a:lnTo>
                  <a:lnTo>
                    <a:pt x="828" y="1918"/>
                  </a:lnTo>
                  <a:lnTo>
                    <a:pt x="830" y="1918"/>
                  </a:lnTo>
                  <a:lnTo>
                    <a:pt x="832" y="1918"/>
                  </a:lnTo>
                  <a:lnTo>
                    <a:pt x="834" y="1918"/>
                  </a:lnTo>
                  <a:lnTo>
                    <a:pt x="836" y="1918"/>
                  </a:lnTo>
                  <a:lnTo>
                    <a:pt x="838" y="1916"/>
                  </a:lnTo>
                  <a:lnTo>
                    <a:pt x="840" y="1914"/>
                  </a:lnTo>
                  <a:lnTo>
                    <a:pt x="846" y="1906"/>
                  </a:lnTo>
                  <a:lnTo>
                    <a:pt x="852" y="1902"/>
                  </a:lnTo>
                  <a:lnTo>
                    <a:pt x="858" y="1896"/>
                  </a:lnTo>
                  <a:lnTo>
                    <a:pt x="862" y="1890"/>
                  </a:lnTo>
                  <a:lnTo>
                    <a:pt x="862" y="1888"/>
                  </a:lnTo>
                  <a:lnTo>
                    <a:pt x="864" y="1886"/>
                  </a:lnTo>
                  <a:lnTo>
                    <a:pt x="866" y="1884"/>
                  </a:lnTo>
                  <a:lnTo>
                    <a:pt x="868" y="1884"/>
                  </a:lnTo>
                  <a:lnTo>
                    <a:pt x="870" y="1882"/>
                  </a:lnTo>
                  <a:lnTo>
                    <a:pt x="872" y="1882"/>
                  </a:lnTo>
                  <a:lnTo>
                    <a:pt x="874" y="1880"/>
                  </a:lnTo>
                  <a:lnTo>
                    <a:pt x="880" y="1868"/>
                  </a:lnTo>
                  <a:lnTo>
                    <a:pt x="882" y="1868"/>
                  </a:lnTo>
                  <a:lnTo>
                    <a:pt x="882" y="1866"/>
                  </a:lnTo>
                  <a:lnTo>
                    <a:pt x="888" y="1864"/>
                  </a:lnTo>
                  <a:lnTo>
                    <a:pt x="894" y="1858"/>
                  </a:lnTo>
                  <a:lnTo>
                    <a:pt x="896" y="1854"/>
                  </a:lnTo>
                  <a:lnTo>
                    <a:pt x="898" y="1850"/>
                  </a:lnTo>
                  <a:lnTo>
                    <a:pt x="904" y="1844"/>
                  </a:lnTo>
                  <a:lnTo>
                    <a:pt x="906" y="1844"/>
                  </a:lnTo>
                  <a:lnTo>
                    <a:pt x="912" y="1844"/>
                  </a:lnTo>
                  <a:lnTo>
                    <a:pt x="912" y="1846"/>
                  </a:lnTo>
                  <a:lnTo>
                    <a:pt x="912" y="1848"/>
                  </a:lnTo>
                  <a:lnTo>
                    <a:pt x="914" y="1844"/>
                  </a:lnTo>
                  <a:lnTo>
                    <a:pt x="914" y="1842"/>
                  </a:lnTo>
                  <a:lnTo>
                    <a:pt x="912" y="1840"/>
                  </a:lnTo>
                  <a:lnTo>
                    <a:pt x="910" y="1838"/>
                  </a:lnTo>
                  <a:lnTo>
                    <a:pt x="910" y="1836"/>
                  </a:lnTo>
                  <a:lnTo>
                    <a:pt x="912" y="1836"/>
                  </a:lnTo>
                  <a:lnTo>
                    <a:pt x="914" y="1836"/>
                  </a:lnTo>
                  <a:lnTo>
                    <a:pt x="914" y="1834"/>
                  </a:lnTo>
                  <a:lnTo>
                    <a:pt x="918" y="1832"/>
                  </a:lnTo>
                  <a:lnTo>
                    <a:pt x="920" y="1832"/>
                  </a:lnTo>
                  <a:lnTo>
                    <a:pt x="926" y="1830"/>
                  </a:lnTo>
                  <a:lnTo>
                    <a:pt x="930" y="1826"/>
                  </a:lnTo>
                  <a:lnTo>
                    <a:pt x="932" y="1824"/>
                  </a:lnTo>
                  <a:lnTo>
                    <a:pt x="934" y="1822"/>
                  </a:lnTo>
                  <a:lnTo>
                    <a:pt x="942" y="1818"/>
                  </a:lnTo>
                  <a:lnTo>
                    <a:pt x="948" y="1818"/>
                  </a:lnTo>
                  <a:lnTo>
                    <a:pt x="950" y="1816"/>
                  </a:lnTo>
                  <a:lnTo>
                    <a:pt x="956" y="1812"/>
                  </a:lnTo>
                  <a:lnTo>
                    <a:pt x="956" y="1810"/>
                  </a:lnTo>
                  <a:lnTo>
                    <a:pt x="956" y="1808"/>
                  </a:lnTo>
                  <a:lnTo>
                    <a:pt x="962" y="1802"/>
                  </a:lnTo>
                  <a:lnTo>
                    <a:pt x="964" y="1800"/>
                  </a:lnTo>
                  <a:lnTo>
                    <a:pt x="964" y="1802"/>
                  </a:lnTo>
                  <a:lnTo>
                    <a:pt x="968" y="1802"/>
                  </a:lnTo>
                  <a:lnTo>
                    <a:pt x="970" y="1802"/>
                  </a:lnTo>
                  <a:lnTo>
                    <a:pt x="976" y="1800"/>
                  </a:lnTo>
                  <a:lnTo>
                    <a:pt x="980" y="1798"/>
                  </a:lnTo>
                  <a:lnTo>
                    <a:pt x="984" y="1798"/>
                  </a:lnTo>
                  <a:lnTo>
                    <a:pt x="988" y="1796"/>
                  </a:lnTo>
                  <a:lnTo>
                    <a:pt x="992" y="1794"/>
                  </a:lnTo>
                  <a:lnTo>
                    <a:pt x="996" y="1790"/>
                  </a:lnTo>
                  <a:lnTo>
                    <a:pt x="998" y="1790"/>
                  </a:lnTo>
                  <a:lnTo>
                    <a:pt x="1000" y="1790"/>
                  </a:lnTo>
                  <a:lnTo>
                    <a:pt x="1000" y="1788"/>
                  </a:lnTo>
                  <a:lnTo>
                    <a:pt x="1002" y="1786"/>
                  </a:lnTo>
                  <a:lnTo>
                    <a:pt x="1004" y="1784"/>
                  </a:lnTo>
                  <a:lnTo>
                    <a:pt x="1010" y="1782"/>
                  </a:lnTo>
                  <a:lnTo>
                    <a:pt x="1012" y="1782"/>
                  </a:lnTo>
                  <a:lnTo>
                    <a:pt x="1012" y="1784"/>
                  </a:lnTo>
                  <a:lnTo>
                    <a:pt x="1014" y="1782"/>
                  </a:lnTo>
                  <a:lnTo>
                    <a:pt x="1018" y="1776"/>
                  </a:lnTo>
                  <a:lnTo>
                    <a:pt x="1018" y="1774"/>
                  </a:lnTo>
                  <a:lnTo>
                    <a:pt x="1020" y="1770"/>
                  </a:lnTo>
                  <a:lnTo>
                    <a:pt x="1020" y="1768"/>
                  </a:lnTo>
                  <a:lnTo>
                    <a:pt x="1020" y="1762"/>
                  </a:lnTo>
                  <a:lnTo>
                    <a:pt x="1020" y="1758"/>
                  </a:lnTo>
                  <a:lnTo>
                    <a:pt x="1020" y="1756"/>
                  </a:lnTo>
                  <a:lnTo>
                    <a:pt x="1022" y="1748"/>
                  </a:lnTo>
                  <a:lnTo>
                    <a:pt x="1024" y="1740"/>
                  </a:lnTo>
                  <a:lnTo>
                    <a:pt x="1024" y="1738"/>
                  </a:lnTo>
                  <a:lnTo>
                    <a:pt x="1026" y="1738"/>
                  </a:lnTo>
                  <a:lnTo>
                    <a:pt x="1026" y="1736"/>
                  </a:lnTo>
                  <a:lnTo>
                    <a:pt x="1026" y="1734"/>
                  </a:lnTo>
                  <a:lnTo>
                    <a:pt x="1026" y="1732"/>
                  </a:lnTo>
                  <a:lnTo>
                    <a:pt x="1026" y="1730"/>
                  </a:lnTo>
                  <a:lnTo>
                    <a:pt x="1024" y="1724"/>
                  </a:lnTo>
                  <a:lnTo>
                    <a:pt x="1020" y="1718"/>
                  </a:lnTo>
                  <a:lnTo>
                    <a:pt x="1020" y="1712"/>
                  </a:lnTo>
                  <a:lnTo>
                    <a:pt x="1020" y="1710"/>
                  </a:lnTo>
                  <a:lnTo>
                    <a:pt x="1020" y="1708"/>
                  </a:lnTo>
                  <a:lnTo>
                    <a:pt x="1020" y="1702"/>
                  </a:lnTo>
                  <a:lnTo>
                    <a:pt x="1018" y="1700"/>
                  </a:lnTo>
                  <a:lnTo>
                    <a:pt x="1008" y="1690"/>
                  </a:lnTo>
                  <a:lnTo>
                    <a:pt x="1006" y="1694"/>
                  </a:lnTo>
                  <a:lnTo>
                    <a:pt x="1004" y="1694"/>
                  </a:lnTo>
                  <a:lnTo>
                    <a:pt x="1000" y="1694"/>
                  </a:lnTo>
                  <a:lnTo>
                    <a:pt x="998" y="1694"/>
                  </a:lnTo>
                  <a:lnTo>
                    <a:pt x="994" y="1696"/>
                  </a:lnTo>
                  <a:lnTo>
                    <a:pt x="990" y="1698"/>
                  </a:lnTo>
                  <a:lnTo>
                    <a:pt x="986" y="1694"/>
                  </a:lnTo>
                  <a:lnTo>
                    <a:pt x="982" y="1694"/>
                  </a:lnTo>
                  <a:lnTo>
                    <a:pt x="982" y="1690"/>
                  </a:lnTo>
                  <a:lnTo>
                    <a:pt x="982" y="1686"/>
                  </a:lnTo>
                  <a:lnTo>
                    <a:pt x="986" y="1682"/>
                  </a:lnTo>
                  <a:lnTo>
                    <a:pt x="988" y="1680"/>
                  </a:lnTo>
                  <a:lnTo>
                    <a:pt x="990" y="1678"/>
                  </a:lnTo>
                  <a:lnTo>
                    <a:pt x="994" y="1672"/>
                  </a:lnTo>
                  <a:lnTo>
                    <a:pt x="994" y="1670"/>
                  </a:lnTo>
                  <a:lnTo>
                    <a:pt x="992" y="1668"/>
                  </a:lnTo>
                  <a:lnTo>
                    <a:pt x="992" y="1666"/>
                  </a:lnTo>
                  <a:lnTo>
                    <a:pt x="994" y="1664"/>
                  </a:lnTo>
                  <a:lnTo>
                    <a:pt x="996" y="1654"/>
                  </a:lnTo>
                  <a:lnTo>
                    <a:pt x="998" y="1652"/>
                  </a:lnTo>
                  <a:lnTo>
                    <a:pt x="1000" y="1646"/>
                  </a:lnTo>
                  <a:lnTo>
                    <a:pt x="1002" y="1646"/>
                  </a:lnTo>
                  <a:lnTo>
                    <a:pt x="1002" y="1644"/>
                  </a:lnTo>
                  <a:lnTo>
                    <a:pt x="1002" y="1642"/>
                  </a:lnTo>
                  <a:lnTo>
                    <a:pt x="1002" y="1638"/>
                  </a:lnTo>
                  <a:lnTo>
                    <a:pt x="1002" y="1636"/>
                  </a:lnTo>
                  <a:lnTo>
                    <a:pt x="1002" y="1634"/>
                  </a:lnTo>
                  <a:lnTo>
                    <a:pt x="1002" y="1632"/>
                  </a:lnTo>
                  <a:lnTo>
                    <a:pt x="1004" y="1632"/>
                  </a:lnTo>
                  <a:lnTo>
                    <a:pt x="1006" y="1630"/>
                  </a:lnTo>
                  <a:lnTo>
                    <a:pt x="1006" y="1628"/>
                  </a:lnTo>
                  <a:lnTo>
                    <a:pt x="1006" y="1624"/>
                  </a:lnTo>
                  <a:lnTo>
                    <a:pt x="1004" y="1622"/>
                  </a:lnTo>
                  <a:lnTo>
                    <a:pt x="1004" y="1616"/>
                  </a:lnTo>
                  <a:lnTo>
                    <a:pt x="1004" y="1614"/>
                  </a:lnTo>
                  <a:lnTo>
                    <a:pt x="1006" y="1612"/>
                  </a:lnTo>
                  <a:lnTo>
                    <a:pt x="1008" y="1612"/>
                  </a:lnTo>
                  <a:lnTo>
                    <a:pt x="1006" y="1610"/>
                  </a:lnTo>
                  <a:lnTo>
                    <a:pt x="1000" y="1604"/>
                  </a:lnTo>
                  <a:lnTo>
                    <a:pt x="994" y="1600"/>
                  </a:lnTo>
                  <a:lnTo>
                    <a:pt x="990" y="1596"/>
                  </a:lnTo>
                  <a:lnTo>
                    <a:pt x="978" y="1602"/>
                  </a:lnTo>
                  <a:lnTo>
                    <a:pt x="976" y="1604"/>
                  </a:lnTo>
                  <a:lnTo>
                    <a:pt x="974" y="1606"/>
                  </a:lnTo>
                  <a:lnTo>
                    <a:pt x="968" y="1606"/>
                  </a:lnTo>
                  <a:lnTo>
                    <a:pt x="964" y="1608"/>
                  </a:lnTo>
                  <a:lnTo>
                    <a:pt x="962" y="1608"/>
                  </a:lnTo>
                  <a:lnTo>
                    <a:pt x="960" y="1608"/>
                  </a:lnTo>
                  <a:lnTo>
                    <a:pt x="952" y="1606"/>
                  </a:lnTo>
                  <a:lnTo>
                    <a:pt x="950" y="1604"/>
                  </a:lnTo>
                  <a:lnTo>
                    <a:pt x="950" y="1602"/>
                  </a:lnTo>
                  <a:lnTo>
                    <a:pt x="950" y="1600"/>
                  </a:lnTo>
                  <a:lnTo>
                    <a:pt x="950" y="1594"/>
                  </a:lnTo>
                  <a:lnTo>
                    <a:pt x="950" y="1592"/>
                  </a:lnTo>
                  <a:lnTo>
                    <a:pt x="950" y="1590"/>
                  </a:lnTo>
                  <a:lnTo>
                    <a:pt x="948" y="1588"/>
                  </a:lnTo>
                  <a:lnTo>
                    <a:pt x="948" y="1586"/>
                  </a:lnTo>
                  <a:lnTo>
                    <a:pt x="946" y="1586"/>
                  </a:lnTo>
                  <a:lnTo>
                    <a:pt x="946" y="1584"/>
                  </a:lnTo>
                  <a:lnTo>
                    <a:pt x="946" y="1576"/>
                  </a:lnTo>
                  <a:lnTo>
                    <a:pt x="948" y="1572"/>
                  </a:lnTo>
                  <a:lnTo>
                    <a:pt x="946" y="1570"/>
                  </a:lnTo>
                  <a:lnTo>
                    <a:pt x="946" y="1568"/>
                  </a:lnTo>
                  <a:lnTo>
                    <a:pt x="946" y="1558"/>
                  </a:lnTo>
                  <a:lnTo>
                    <a:pt x="944" y="1556"/>
                  </a:lnTo>
                  <a:lnTo>
                    <a:pt x="944" y="1552"/>
                  </a:lnTo>
                  <a:lnTo>
                    <a:pt x="944" y="1542"/>
                  </a:lnTo>
                  <a:lnTo>
                    <a:pt x="944" y="1540"/>
                  </a:lnTo>
                  <a:lnTo>
                    <a:pt x="944" y="1538"/>
                  </a:lnTo>
                  <a:lnTo>
                    <a:pt x="944" y="1536"/>
                  </a:lnTo>
                  <a:lnTo>
                    <a:pt x="946" y="1530"/>
                  </a:lnTo>
                  <a:lnTo>
                    <a:pt x="944" y="1530"/>
                  </a:lnTo>
                  <a:lnTo>
                    <a:pt x="942" y="1528"/>
                  </a:lnTo>
                  <a:lnTo>
                    <a:pt x="940" y="1526"/>
                  </a:lnTo>
                  <a:lnTo>
                    <a:pt x="940" y="1524"/>
                  </a:lnTo>
                  <a:lnTo>
                    <a:pt x="940" y="1522"/>
                  </a:lnTo>
                  <a:lnTo>
                    <a:pt x="940" y="1520"/>
                  </a:lnTo>
                  <a:lnTo>
                    <a:pt x="940" y="1518"/>
                  </a:lnTo>
                  <a:lnTo>
                    <a:pt x="934" y="1512"/>
                  </a:lnTo>
                  <a:lnTo>
                    <a:pt x="928" y="1510"/>
                  </a:lnTo>
                  <a:lnTo>
                    <a:pt x="926" y="1510"/>
                  </a:lnTo>
                  <a:lnTo>
                    <a:pt x="924" y="1510"/>
                  </a:lnTo>
                  <a:lnTo>
                    <a:pt x="918" y="1510"/>
                  </a:lnTo>
                  <a:lnTo>
                    <a:pt x="916" y="1510"/>
                  </a:lnTo>
                  <a:lnTo>
                    <a:pt x="912" y="1506"/>
                  </a:lnTo>
                  <a:lnTo>
                    <a:pt x="910" y="1504"/>
                  </a:lnTo>
                  <a:lnTo>
                    <a:pt x="908" y="1502"/>
                  </a:lnTo>
                  <a:lnTo>
                    <a:pt x="908" y="1500"/>
                  </a:lnTo>
                  <a:lnTo>
                    <a:pt x="908" y="1498"/>
                  </a:lnTo>
                  <a:lnTo>
                    <a:pt x="904" y="1498"/>
                  </a:lnTo>
                  <a:lnTo>
                    <a:pt x="902" y="1500"/>
                  </a:lnTo>
                  <a:lnTo>
                    <a:pt x="900" y="1502"/>
                  </a:lnTo>
                  <a:lnTo>
                    <a:pt x="898" y="1504"/>
                  </a:lnTo>
                  <a:lnTo>
                    <a:pt x="894" y="1508"/>
                  </a:lnTo>
                  <a:lnTo>
                    <a:pt x="892" y="1506"/>
                  </a:lnTo>
                  <a:lnTo>
                    <a:pt x="888" y="1506"/>
                  </a:lnTo>
                  <a:lnTo>
                    <a:pt x="888" y="1508"/>
                  </a:lnTo>
                  <a:lnTo>
                    <a:pt x="886" y="1508"/>
                  </a:lnTo>
                  <a:lnTo>
                    <a:pt x="882" y="1508"/>
                  </a:lnTo>
                  <a:lnTo>
                    <a:pt x="876" y="1506"/>
                  </a:lnTo>
                  <a:lnTo>
                    <a:pt x="868" y="1504"/>
                  </a:lnTo>
                  <a:lnTo>
                    <a:pt x="866" y="1504"/>
                  </a:lnTo>
                  <a:lnTo>
                    <a:pt x="864" y="1504"/>
                  </a:lnTo>
                  <a:lnTo>
                    <a:pt x="860" y="1504"/>
                  </a:lnTo>
                  <a:lnTo>
                    <a:pt x="856" y="1504"/>
                  </a:lnTo>
                  <a:lnTo>
                    <a:pt x="846" y="1502"/>
                  </a:lnTo>
                  <a:lnTo>
                    <a:pt x="844" y="1500"/>
                  </a:lnTo>
                  <a:lnTo>
                    <a:pt x="836" y="1498"/>
                  </a:lnTo>
                  <a:lnTo>
                    <a:pt x="836" y="1500"/>
                  </a:lnTo>
                  <a:lnTo>
                    <a:pt x="834" y="1500"/>
                  </a:lnTo>
                  <a:lnTo>
                    <a:pt x="832" y="1500"/>
                  </a:lnTo>
                  <a:lnTo>
                    <a:pt x="830" y="1498"/>
                  </a:lnTo>
                  <a:lnTo>
                    <a:pt x="826" y="1496"/>
                  </a:lnTo>
                  <a:lnTo>
                    <a:pt x="826" y="1494"/>
                  </a:lnTo>
                  <a:lnTo>
                    <a:pt x="826" y="1492"/>
                  </a:lnTo>
                  <a:lnTo>
                    <a:pt x="828" y="1490"/>
                  </a:lnTo>
                  <a:lnTo>
                    <a:pt x="830" y="1480"/>
                  </a:lnTo>
                  <a:lnTo>
                    <a:pt x="830" y="1472"/>
                  </a:lnTo>
                  <a:lnTo>
                    <a:pt x="830" y="1464"/>
                  </a:lnTo>
                  <a:lnTo>
                    <a:pt x="832" y="1462"/>
                  </a:lnTo>
                  <a:lnTo>
                    <a:pt x="832" y="1460"/>
                  </a:lnTo>
                  <a:lnTo>
                    <a:pt x="834" y="1458"/>
                  </a:lnTo>
                  <a:lnTo>
                    <a:pt x="836" y="1456"/>
                  </a:lnTo>
                  <a:lnTo>
                    <a:pt x="838" y="1436"/>
                  </a:lnTo>
                  <a:lnTo>
                    <a:pt x="836" y="1428"/>
                  </a:lnTo>
                  <a:lnTo>
                    <a:pt x="838" y="1422"/>
                  </a:lnTo>
                  <a:lnTo>
                    <a:pt x="834" y="1420"/>
                  </a:lnTo>
                  <a:lnTo>
                    <a:pt x="834" y="1418"/>
                  </a:lnTo>
                  <a:lnTo>
                    <a:pt x="832" y="1422"/>
                  </a:lnTo>
                  <a:lnTo>
                    <a:pt x="832" y="1416"/>
                  </a:lnTo>
                  <a:lnTo>
                    <a:pt x="830" y="1410"/>
                  </a:lnTo>
                  <a:lnTo>
                    <a:pt x="828" y="1404"/>
                  </a:lnTo>
                  <a:lnTo>
                    <a:pt x="826" y="1400"/>
                  </a:lnTo>
                  <a:lnTo>
                    <a:pt x="824" y="1396"/>
                  </a:lnTo>
                  <a:lnTo>
                    <a:pt x="824" y="1394"/>
                  </a:lnTo>
                  <a:lnTo>
                    <a:pt x="824" y="1390"/>
                  </a:lnTo>
                  <a:lnTo>
                    <a:pt x="826" y="1390"/>
                  </a:lnTo>
                  <a:lnTo>
                    <a:pt x="838" y="1384"/>
                  </a:lnTo>
                  <a:lnTo>
                    <a:pt x="840" y="1380"/>
                  </a:lnTo>
                  <a:lnTo>
                    <a:pt x="828" y="1370"/>
                  </a:lnTo>
                  <a:lnTo>
                    <a:pt x="828" y="1368"/>
                  </a:lnTo>
                  <a:lnTo>
                    <a:pt x="830" y="1364"/>
                  </a:lnTo>
                  <a:lnTo>
                    <a:pt x="836" y="1350"/>
                  </a:lnTo>
                  <a:lnTo>
                    <a:pt x="842" y="1338"/>
                  </a:lnTo>
                  <a:lnTo>
                    <a:pt x="844" y="1334"/>
                  </a:lnTo>
                  <a:lnTo>
                    <a:pt x="846" y="1332"/>
                  </a:lnTo>
                  <a:lnTo>
                    <a:pt x="848" y="1330"/>
                  </a:lnTo>
                  <a:lnTo>
                    <a:pt x="852" y="1330"/>
                  </a:lnTo>
                  <a:lnTo>
                    <a:pt x="852" y="1324"/>
                  </a:lnTo>
                  <a:lnTo>
                    <a:pt x="850" y="1322"/>
                  </a:lnTo>
                  <a:lnTo>
                    <a:pt x="848" y="1322"/>
                  </a:lnTo>
                  <a:lnTo>
                    <a:pt x="856" y="1298"/>
                  </a:lnTo>
                  <a:lnTo>
                    <a:pt x="860" y="1288"/>
                  </a:lnTo>
                  <a:lnTo>
                    <a:pt x="862" y="1286"/>
                  </a:lnTo>
                  <a:lnTo>
                    <a:pt x="864" y="1284"/>
                  </a:lnTo>
                  <a:lnTo>
                    <a:pt x="860" y="1280"/>
                  </a:lnTo>
                  <a:lnTo>
                    <a:pt x="854" y="1264"/>
                  </a:lnTo>
                  <a:lnTo>
                    <a:pt x="854" y="1262"/>
                  </a:lnTo>
                  <a:lnTo>
                    <a:pt x="854" y="1260"/>
                  </a:lnTo>
                  <a:lnTo>
                    <a:pt x="854" y="1258"/>
                  </a:lnTo>
                  <a:lnTo>
                    <a:pt x="852" y="1256"/>
                  </a:lnTo>
                  <a:lnTo>
                    <a:pt x="852" y="1254"/>
                  </a:lnTo>
                  <a:lnTo>
                    <a:pt x="852" y="1252"/>
                  </a:lnTo>
                  <a:lnTo>
                    <a:pt x="852" y="1250"/>
                  </a:lnTo>
                  <a:lnTo>
                    <a:pt x="852" y="1248"/>
                  </a:lnTo>
                  <a:lnTo>
                    <a:pt x="846" y="1244"/>
                  </a:lnTo>
                  <a:lnTo>
                    <a:pt x="846" y="1242"/>
                  </a:lnTo>
                  <a:lnTo>
                    <a:pt x="840" y="1246"/>
                  </a:lnTo>
                  <a:lnTo>
                    <a:pt x="840" y="1244"/>
                  </a:lnTo>
                  <a:lnTo>
                    <a:pt x="836" y="1242"/>
                  </a:lnTo>
                  <a:lnTo>
                    <a:pt x="834" y="1242"/>
                  </a:lnTo>
                  <a:lnTo>
                    <a:pt x="834" y="1240"/>
                  </a:lnTo>
                  <a:lnTo>
                    <a:pt x="828" y="1236"/>
                  </a:lnTo>
                  <a:lnTo>
                    <a:pt x="826" y="1234"/>
                  </a:lnTo>
                  <a:lnTo>
                    <a:pt x="824" y="1234"/>
                  </a:lnTo>
                  <a:lnTo>
                    <a:pt x="822" y="1234"/>
                  </a:lnTo>
                  <a:lnTo>
                    <a:pt x="822" y="1232"/>
                  </a:lnTo>
                  <a:lnTo>
                    <a:pt x="820" y="1232"/>
                  </a:lnTo>
                  <a:lnTo>
                    <a:pt x="820" y="1230"/>
                  </a:lnTo>
                  <a:lnTo>
                    <a:pt x="820" y="1228"/>
                  </a:lnTo>
                  <a:lnTo>
                    <a:pt x="820" y="1224"/>
                  </a:lnTo>
                  <a:lnTo>
                    <a:pt x="820" y="1218"/>
                  </a:lnTo>
                  <a:lnTo>
                    <a:pt x="818" y="1216"/>
                  </a:lnTo>
                  <a:lnTo>
                    <a:pt x="818" y="1214"/>
                  </a:lnTo>
                  <a:lnTo>
                    <a:pt x="818" y="1212"/>
                  </a:lnTo>
                  <a:lnTo>
                    <a:pt x="816" y="1202"/>
                  </a:lnTo>
                  <a:lnTo>
                    <a:pt x="818" y="1200"/>
                  </a:lnTo>
                  <a:lnTo>
                    <a:pt x="818" y="1198"/>
                  </a:lnTo>
                  <a:lnTo>
                    <a:pt x="820" y="1194"/>
                  </a:lnTo>
                  <a:lnTo>
                    <a:pt x="822" y="1192"/>
                  </a:lnTo>
                  <a:lnTo>
                    <a:pt x="824" y="1192"/>
                  </a:lnTo>
                  <a:lnTo>
                    <a:pt x="824" y="1190"/>
                  </a:lnTo>
                  <a:lnTo>
                    <a:pt x="826" y="1184"/>
                  </a:lnTo>
                  <a:lnTo>
                    <a:pt x="826" y="1180"/>
                  </a:lnTo>
                  <a:lnTo>
                    <a:pt x="826" y="1178"/>
                  </a:lnTo>
                  <a:lnTo>
                    <a:pt x="822" y="1178"/>
                  </a:lnTo>
                  <a:lnTo>
                    <a:pt x="822" y="1180"/>
                  </a:lnTo>
                  <a:lnTo>
                    <a:pt x="820" y="1180"/>
                  </a:lnTo>
                  <a:lnTo>
                    <a:pt x="816" y="1180"/>
                  </a:lnTo>
                  <a:lnTo>
                    <a:pt x="792" y="1180"/>
                  </a:lnTo>
                  <a:lnTo>
                    <a:pt x="764" y="1178"/>
                  </a:lnTo>
                  <a:lnTo>
                    <a:pt x="762" y="1178"/>
                  </a:lnTo>
                  <a:lnTo>
                    <a:pt x="738" y="1176"/>
                  </a:lnTo>
                  <a:lnTo>
                    <a:pt x="732" y="1176"/>
                  </a:lnTo>
                  <a:lnTo>
                    <a:pt x="730" y="1176"/>
                  </a:lnTo>
                  <a:lnTo>
                    <a:pt x="730" y="1160"/>
                  </a:lnTo>
                  <a:lnTo>
                    <a:pt x="728" y="1132"/>
                  </a:lnTo>
                  <a:lnTo>
                    <a:pt x="718" y="1118"/>
                  </a:lnTo>
                  <a:lnTo>
                    <a:pt x="710" y="1112"/>
                  </a:lnTo>
                  <a:lnTo>
                    <a:pt x="720" y="1112"/>
                  </a:lnTo>
                  <a:lnTo>
                    <a:pt x="726" y="1112"/>
                  </a:lnTo>
                  <a:lnTo>
                    <a:pt x="726" y="1108"/>
                  </a:lnTo>
                  <a:lnTo>
                    <a:pt x="726" y="1102"/>
                  </a:lnTo>
                  <a:lnTo>
                    <a:pt x="726" y="1090"/>
                  </a:lnTo>
                  <a:lnTo>
                    <a:pt x="726" y="1086"/>
                  </a:lnTo>
                  <a:lnTo>
                    <a:pt x="724" y="1078"/>
                  </a:lnTo>
                  <a:lnTo>
                    <a:pt x="720" y="1070"/>
                  </a:lnTo>
                  <a:lnTo>
                    <a:pt x="718" y="1068"/>
                  </a:lnTo>
                  <a:lnTo>
                    <a:pt x="718" y="1060"/>
                  </a:lnTo>
                  <a:lnTo>
                    <a:pt x="718" y="1058"/>
                  </a:lnTo>
                  <a:lnTo>
                    <a:pt x="720" y="1056"/>
                  </a:lnTo>
                  <a:lnTo>
                    <a:pt x="722" y="1054"/>
                  </a:lnTo>
                  <a:lnTo>
                    <a:pt x="724" y="1050"/>
                  </a:lnTo>
                  <a:lnTo>
                    <a:pt x="718" y="1040"/>
                  </a:lnTo>
                  <a:lnTo>
                    <a:pt x="712" y="1040"/>
                  </a:lnTo>
                  <a:lnTo>
                    <a:pt x="708" y="1038"/>
                  </a:lnTo>
                  <a:lnTo>
                    <a:pt x="704" y="1034"/>
                  </a:lnTo>
                  <a:lnTo>
                    <a:pt x="702" y="1034"/>
                  </a:lnTo>
                  <a:lnTo>
                    <a:pt x="692" y="1028"/>
                  </a:lnTo>
                  <a:lnTo>
                    <a:pt x="690" y="1026"/>
                  </a:lnTo>
                  <a:lnTo>
                    <a:pt x="688" y="1022"/>
                  </a:lnTo>
                  <a:lnTo>
                    <a:pt x="676" y="1024"/>
                  </a:lnTo>
                  <a:lnTo>
                    <a:pt x="664" y="1026"/>
                  </a:lnTo>
                  <a:lnTo>
                    <a:pt x="660" y="1024"/>
                  </a:lnTo>
                  <a:lnTo>
                    <a:pt x="658" y="1024"/>
                  </a:lnTo>
                  <a:lnTo>
                    <a:pt x="652" y="1024"/>
                  </a:lnTo>
                  <a:lnTo>
                    <a:pt x="648" y="1026"/>
                  </a:lnTo>
                  <a:lnTo>
                    <a:pt x="646" y="1024"/>
                  </a:lnTo>
                  <a:lnTo>
                    <a:pt x="646" y="1022"/>
                  </a:lnTo>
                  <a:lnTo>
                    <a:pt x="644" y="1020"/>
                  </a:lnTo>
                  <a:lnTo>
                    <a:pt x="640" y="1018"/>
                  </a:lnTo>
                  <a:lnTo>
                    <a:pt x="640" y="1016"/>
                  </a:lnTo>
                  <a:lnTo>
                    <a:pt x="638" y="1016"/>
                  </a:lnTo>
                  <a:lnTo>
                    <a:pt x="634" y="1010"/>
                  </a:lnTo>
                  <a:lnTo>
                    <a:pt x="632" y="1006"/>
                  </a:lnTo>
                  <a:lnTo>
                    <a:pt x="632" y="1004"/>
                  </a:lnTo>
                  <a:lnTo>
                    <a:pt x="628" y="1002"/>
                  </a:lnTo>
                  <a:lnTo>
                    <a:pt x="626" y="1002"/>
                  </a:lnTo>
                  <a:lnTo>
                    <a:pt x="624" y="1004"/>
                  </a:lnTo>
                  <a:lnTo>
                    <a:pt x="620" y="1004"/>
                  </a:lnTo>
                  <a:lnTo>
                    <a:pt x="618" y="1004"/>
                  </a:lnTo>
                  <a:lnTo>
                    <a:pt x="616" y="1004"/>
                  </a:lnTo>
                  <a:lnTo>
                    <a:pt x="604" y="998"/>
                  </a:lnTo>
                  <a:lnTo>
                    <a:pt x="604" y="996"/>
                  </a:lnTo>
                  <a:lnTo>
                    <a:pt x="602" y="994"/>
                  </a:lnTo>
                  <a:lnTo>
                    <a:pt x="598" y="996"/>
                  </a:lnTo>
                  <a:lnTo>
                    <a:pt x="594" y="992"/>
                  </a:lnTo>
                  <a:lnTo>
                    <a:pt x="592" y="990"/>
                  </a:lnTo>
                  <a:lnTo>
                    <a:pt x="588" y="986"/>
                  </a:lnTo>
                  <a:lnTo>
                    <a:pt x="586" y="986"/>
                  </a:lnTo>
                  <a:lnTo>
                    <a:pt x="584" y="982"/>
                  </a:lnTo>
                  <a:lnTo>
                    <a:pt x="582" y="978"/>
                  </a:lnTo>
                  <a:lnTo>
                    <a:pt x="582" y="976"/>
                  </a:lnTo>
                  <a:lnTo>
                    <a:pt x="578" y="976"/>
                  </a:lnTo>
                  <a:lnTo>
                    <a:pt x="576" y="976"/>
                  </a:lnTo>
                  <a:lnTo>
                    <a:pt x="574" y="978"/>
                  </a:lnTo>
                  <a:lnTo>
                    <a:pt x="572" y="980"/>
                  </a:lnTo>
                  <a:lnTo>
                    <a:pt x="568" y="978"/>
                  </a:lnTo>
                  <a:lnTo>
                    <a:pt x="564" y="976"/>
                  </a:lnTo>
                  <a:lnTo>
                    <a:pt x="560" y="972"/>
                  </a:lnTo>
                  <a:lnTo>
                    <a:pt x="550" y="966"/>
                  </a:lnTo>
                  <a:lnTo>
                    <a:pt x="544" y="966"/>
                  </a:lnTo>
                  <a:lnTo>
                    <a:pt x="542" y="966"/>
                  </a:lnTo>
                  <a:lnTo>
                    <a:pt x="540" y="966"/>
                  </a:lnTo>
                  <a:lnTo>
                    <a:pt x="538" y="968"/>
                  </a:lnTo>
                  <a:lnTo>
                    <a:pt x="536" y="970"/>
                  </a:lnTo>
                  <a:lnTo>
                    <a:pt x="532" y="968"/>
                  </a:lnTo>
                  <a:lnTo>
                    <a:pt x="530" y="968"/>
                  </a:lnTo>
                  <a:lnTo>
                    <a:pt x="524" y="966"/>
                  </a:lnTo>
                  <a:lnTo>
                    <a:pt x="520" y="966"/>
                  </a:lnTo>
                  <a:lnTo>
                    <a:pt x="518" y="966"/>
                  </a:lnTo>
                  <a:lnTo>
                    <a:pt x="514" y="966"/>
                  </a:lnTo>
                  <a:lnTo>
                    <a:pt x="512" y="966"/>
                  </a:lnTo>
                  <a:lnTo>
                    <a:pt x="510" y="964"/>
                  </a:lnTo>
                  <a:lnTo>
                    <a:pt x="506" y="960"/>
                  </a:lnTo>
                  <a:lnTo>
                    <a:pt x="506" y="952"/>
                  </a:lnTo>
                  <a:lnTo>
                    <a:pt x="500" y="950"/>
                  </a:lnTo>
                  <a:lnTo>
                    <a:pt x="494" y="948"/>
                  </a:lnTo>
                  <a:lnTo>
                    <a:pt x="492" y="946"/>
                  </a:lnTo>
                  <a:lnTo>
                    <a:pt x="492" y="942"/>
                  </a:lnTo>
                  <a:lnTo>
                    <a:pt x="490" y="942"/>
                  </a:lnTo>
                  <a:lnTo>
                    <a:pt x="488" y="940"/>
                  </a:lnTo>
                  <a:lnTo>
                    <a:pt x="486" y="940"/>
                  </a:lnTo>
                  <a:lnTo>
                    <a:pt x="482" y="940"/>
                  </a:lnTo>
                  <a:lnTo>
                    <a:pt x="480" y="938"/>
                  </a:lnTo>
                  <a:lnTo>
                    <a:pt x="478" y="932"/>
                  </a:lnTo>
                  <a:lnTo>
                    <a:pt x="478" y="930"/>
                  </a:lnTo>
                  <a:lnTo>
                    <a:pt x="478" y="926"/>
                  </a:lnTo>
                  <a:lnTo>
                    <a:pt x="474" y="924"/>
                  </a:lnTo>
                  <a:lnTo>
                    <a:pt x="472" y="928"/>
                  </a:lnTo>
                  <a:lnTo>
                    <a:pt x="470" y="926"/>
                  </a:lnTo>
                  <a:lnTo>
                    <a:pt x="468" y="924"/>
                  </a:lnTo>
                  <a:lnTo>
                    <a:pt x="470" y="922"/>
                  </a:lnTo>
                  <a:lnTo>
                    <a:pt x="470" y="920"/>
                  </a:lnTo>
                  <a:lnTo>
                    <a:pt x="472" y="918"/>
                  </a:lnTo>
                  <a:lnTo>
                    <a:pt x="468" y="912"/>
                  </a:lnTo>
                  <a:lnTo>
                    <a:pt x="466" y="912"/>
                  </a:lnTo>
                  <a:lnTo>
                    <a:pt x="464" y="912"/>
                  </a:lnTo>
                  <a:lnTo>
                    <a:pt x="462" y="908"/>
                  </a:lnTo>
                  <a:lnTo>
                    <a:pt x="460" y="900"/>
                  </a:lnTo>
                  <a:lnTo>
                    <a:pt x="460" y="894"/>
                  </a:lnTo>
                  <a:lnTo>
                    <a:pt x="460" y="892"/>
                  </a:lnTo>
                  <a:lnTo>
                    <a:pt x="462" y="888"/>
                  </a:lnTo>
                  <a:lnTo>
                    <a:pt x="466" y="884"/>
                  </a:lnTo>
                  <a:lnTo>
                    <a:pt x="464" y="878"/>
                  </a:lnTo>
                  <a:lnTo>
                    <a:pt x="464" y="876"/>
                  </a:lnTo>
                  <a:lnTo>
                    <a:pt x="460" y="872"/>
                  </a:lnTo>
                  <a:lnTo>
                    <a:pt x="458" y="864"/>
                  </a:lnTo>
                  <a:lnTo>
                    <a:pt x="458" y="856"/>
                  </a:lnTo>
                  <a:lnTo>
                    <a:pt x="460" y="856"/>
                  </a:lnTo>
                  <a:lnTo>
                    <a:pt x="460" y="854"/>
                  </a:lnTo>
                  <a:lnTo>
                    <a:pt x="460" y="852"/>
                  </a:lnTo>
                  <a:lnTo>
                    <a:pt x="462" y="850"/>
                  </a:lnTo>
                  <a:lnTo>
                    <a:pt x="464" y="848"/>
                  </a:lnTo>
                  <a:lnTo>
                    <a:pt x="466" y="846"/>
                  </a:lnTo>
                  <a:lnTo>
                    <a:pt x="466" y="842"/>
                  </a:lnTo>
                  <a:lnTo>
                    <a:pt x="466" y="836"/>
                  </a:lnTo>
                  <a:lnTo>
                    <a:pt x="464" y="834"/>
                  </a:lnTo>
                  <a:lnTo>
                    <a:pt x="464" y="828"/>
                  </a:lnTo>
                  <a:lnTo>
                    <a:pt x="466" y="826"/>
                  </a:lnTo>
                  <a:lnTo>
                    <a:pt x="466" y="822"/>
                  </a:lnTo>
                  <a:lnTo>
                    <a:pt x="464" y="818"/>
                  </a:lnTo>
                  <a:lnTo>
                    <a:pt x="462" y="814"/>
                  </a:lnTo>
                  <a:lnTo>
                    <a:pt x="460" y="814"/>
                  </a:lnTo>
                  <a:lnTo>
                    <a:pt x="458" y="814"/>
                  </a:lnTo>
                  <a:lnTo>
                    <a:pt x="456" y="816"/>
                  </a:lnTo>
                  <a:lnTo>
                    <a:pt x="454" y="818"/>
                  </a:lnTo>
                  <a:lnTo>
                    <a:pt x="452" y="822"/>
                  </a:lnTo>
                  <a:lnTo>
                    <a:pt x="450" y="822"/>
                  </a:lnTo>
                  <a:lnTo>
                    <a:pt x="442" y="818"/>
                  </a:lnTo>
                  <a:lnTo>
                    <a:pt x="440" y="818"/>
                  </a:lnTo>
                  <a:lnTo>
                    <a:pt x="436" y="820"/>
                  </a:lnTo>
                  <a:lnTo>
                    <a:pt x="430" y="820"/>
                  </a:lnTo>
                  <a:lnTo>
                    <a:pt x="424" y="818"/>
                  </a:lnTo>
                  <a:lnTo>
                    <a:pt x="420" y="820"/>
                  </a:lnTo>
                  <a:lnTo>
                    <a:pt x="408" y="822"/>
                  </a:lnTo>
                  <a:lnTo>
                    <a:pt x="406" y="824"/>
                  </a:lnTo>
                  <a:lnTo>
                    <a:pt x="402" y="824"/>
                  </a:lnTo>
                  <a:lnTo>
                    <a:pt x="400" y="824"/>
                  </a:lnTo>
                  <a:lnTo>
                    <a:pt x="394" y="826"/>
                  </a:lnTo>
                  <a:lnTo>
                    <a:pt x="392" y="828"/>
                  </a:lnTo>
                  <a:lnTo>
                    <a:pt x="390" y="830"/>
                  </a:lnTo>
                  <a:lnTo>
                    <a:pt x="388" y="830"/>
                  </a:lnTo>
                  <a:lnTo>
                    <a:pt x="380" y="836"/>
                  </a:lnTo>
                  <a:lnTo>
                    <a:pt x="378" y="838"/>
                  </a:lnTo>
                  <a:lnTo>
                    <a:pt x="376" y="840"/>
                  </a:lnTo>
                  <a:lnTo>
                    <a:pt x="372" y="844"/>
                  </a:lnTo>
                  <a:lnTo>
                    <a:pt x="370" y="844"/>
                  </a:lnTo>
                  <a:lnTo>
                    <a:pt x="364" y="848"/>
                  </a:lnTo>
                  <a:lnTo>
                    <a:pt x="362" y="848"/>
                  </a:lnTo>
                  <a:lnTo>
                    <a:pt x="358" y="848"/>
                  </a:lnTo>
                  <a:lnTo>
                    <a:pt x="356" y="848"/>
                  </a:lnTo>
                  <a:lnTo>
                    <a:pt x="356" y="850"/>
                  </a:lnTo>
                  <a:lnTo>
                    <a:pt x="350" y="854"/>
                  </a:lnTo>
                  <a:lnTo>
                    <a:pt x="348" y="856"/>
                  </a:lnTo>
                  <a:lnTo>
                    <a:pt x="346" y="856"/>
                  </a:lnTo>
                  <a:lnTo>
                    <a:pt x="344" y="856"/>
                  </a:lnTo>
                  <a:lnTo>
                    <a:pt x="342" y="858"/>
                  </a:lnTo>
                  <a:lnTo>
                    <a:pt x="338" y="864"/>
                  </a:lnTo>
                  <a:lnTo>
                    <a:pt x="338" y="868"/>
                  </a:lnTo>
                  <a:lnTo>
                    <a:pt x="334" y="868"/>
                  </a:lnTo>
                  <a:lnTo>
                    <a:pt x="332" y="868"/>
                  </a:lnTo>
                  <a:lnTo>
                    <a:pt x="330" y="866"/>
                  </a:lnTo>
                  <a:lnTo>
                    <a:pt x="328" y="866"/>
                  </a:lnTo>
                  <a:lnTo>
                    <a:pt x="320" y="866"/>
                  </a:lnTo>
                  <a:lnTo>
                    <a:pt x="318" y="866"/>
                  </a:lnTo>
                  <a:lnTo>
                    <a:pt x="316" y="868"/>
                  </a:lnTo>
                  <a:lnTo>
                    <a:pt x="314" y="870"/>
                  </a:lnTo>
                  <a:lnTo>
                    <a:pt x="314" y="872"/>
                  </a:lnTo>
                  <a:lnTo>
                    <a:pt x="308" y="880"/>
                  </a:lnTo>
                  <a:lnTo>
                    <a:pt x="306" y="882"/>
                  </a:lnTo>
                  <a:lnTo>
                    <a:pt x="304" y="884"/>
                  </a:lnTo>
                  <a:lnTo>
                    <a:pt x="302" y="884"/>
                  </a:lnTo>
                  <a:lnTo>
                    <a:pt x="300" y="886"/>
                  </a:lnTo>
                  <a:lnTo>
                    <a:pt x="292" y="888"/>
                  </a:lnTo>
                  <a:lnTo>
                    <a:pt x="292" y="890"/>
                  </a:lnTo>
                  <a:lnTo>
                    <a:pt x="290" y="890"/>
                  </a:lnTo>
                  <a:lnTo>
                    <a:pt x="288" y="890"/>
                  </a:lnTo>
                  <a:lnTo>
                    <a:pt x="286" y="892"/>
                  </a:lnTo>
                  <a:lnTo>
                    <a:pt x="282" y="892"/>
                  </a:lnTo>
                  <a:lnTo>
                    <a:pt x="280" y="892"/>
                  </a:lnTo>
                  <a:lnTo>
                    <a:pt x="280" y="884"/>
                  </a:lnTo>
                  <a:lnTo>
                    <a:pt x="276" y="884"/>
                  </a:lnTo>
                  <a:lnTo>
                    <a:pt x="264" y="882"/>
                  </a:lnTo>
                  <a:lnTo>
                    <a:pt x="256" y="882"/>
                  </a:lnTo>
                  <a:lnTo>
                    <a:pt x="246" y="880"/>
                  </a:lnTo>
                  <a:lnTo>
                    <a:pt x="244" y="880"/>
                  </a:lnTo>
                  <a:lnTo>
                    <a:pt x="242" y="882"/>
                  </a:lnTo>
                  <a:lnTo>
                    <a:pt x="238" y="882"/>
                  </a:lnTo>
                  <a:lnTo>
                    <a:pt x="236" y="880"/>
                  </a:lnTo>
                  <a:lnTo>
                    <a:pt x="232" y="882"/>
                  </a:lnTo>
                  <a:lnTo>
                    <a:pt x="230" y="882"/>
                  </a:lnTo>
                  <a:lnTo>
                    <a:pt x="228" y="882"/>
                  </a:lnTo>
                  <a:lnTo>
                    <a:pt x="226" y="880"/>
                  </a:lnTo>
                  <a:lnTo>
                    <a:pt x="218" y="878"/>
                  </a:lnTo>
                  <a:lnTo>
                    <a:pt x="216" y="880"/>
                  </a:lnTo>
                  <a:lnTo>
                    <a:pt x="214" y="880"/>
                  </a:lnTo>
                  <a:lnTo>
                    <a:pt x="210" y="882"/>
                  </a:lnTo>
                  <a:lnTo>
                    <a:pt x="206" y="886"/>
                  </a:lnTo>
                  <a:lnTo>
                    <a:pt x="204" y="886"/>
                  </a:lnTo>
                  <a:lnTo>
                    <a:pt x="202" y="886"/>
                  </a:lnTo>
                  <a:lnTo>
                    <a:pt x="196" y="888"/>
                  </a:lnTo>
                  <a:lnTo>
                    <a:pt x="194" y="888"/>
                  </a:lnTo>
                  <a:lnTo>
                    <a:pt x="192" y="886"/>
                  </a:lnTo>
                  <a:lnTo>
                    <a:pt x="190" y="886"/>
                  </a:lnTo>
                  <a:lnTo>
                    <a:pt x="190" y="884"/>
                  </a:lnTo>
                  <a:lnTo>
                    <a:pt x="188" y="882"/>
                  </a:lnTo>
                  <a:lnTo>
                    <a:pt x="188" y="880"/>
                  </a:lnTo>
                  <a:lnTo>
                    <a:pt x="186" y="880"/>
                  </a:lnTo>
                  <a:lnTo>
                    <a:pt x="182" y="882"/>
                  </a:lnTo>
                  <a:lnTo>
                    <a:pt x="180" y="884"/>
                  </a:lnTo>
                  <a:lnTo>
                    <a:pt x="180" y="882"/>
                  </a:lnTo>
                  <a:lnTo>
                    <a:pt x="180" y="878"/>
                  </a:lnTo>
                  <a:lnTo>
                    <a:pt x="180" y="872"/>
                  </a:lnTo>
                  <a:lnTo>
                    <a:pt x="180" y="862"/>
                  </a:lnTo>
                  <a:lnTo>
                    <a:pt x="180" y="848"/>
                  </a:lnTo>
                  <a:lnTo>
                    <a:pt x="180" y="826"/>
                  </a:lnTo>
                  <a:lnTo>
                    <a:pt x="180" y="824"/>
                  </a:lnTo>
                  <a:lnTo>
                    <a:pt x="180" y="820"/>
                  </a:lnTo>
                  <a:lnTo>
                    <a:pt x="182" y="820"/>
                  </a:lnTo>
                  <a:lnTo>
                    <a:pt x="182" y="818"/>
                  </a:lnTo>
                  <a:lnTo>
                    <a:pt x="182" y="810"/>
                  </a:lnTo>
                  <a:lnTo>
                    <a:pt x="182" y="806"/>
                  </a:lnTo>
                  <a:lnTo>
                    <a:pt x="184" y="804"/>
                  </a:lnTo>
                  <a:lnTo>
                    <a:pt x="186" y="802"/>
                  </a:lnTo>
                  <a:lnTo>
                    <a:pt x="186" y="798"/>
                  </a:lnTo>
                  <a:lnTo>
                    <a:pt x="184" y="800"/>
                  </a:lnTo>
                  <a:lnTo>
                    <a:pt x="182" y="800"/>
                  </a:lnTo>
                  <a:lnTo>
                    <a:pt x="180" y="802"/>
                  </a:lnTo>
                  <a:lnTo>
                    <a:pt x="172" y="808"/>
                  </a:lnTo>
                  <a:lnTo>
                    <a:pt x="170" y="810"/>
                  </a:lnTo>
                  <a:lnTo>
                    <a:pt x="168" y="812"/>
                  </a:lnTo>
                  <a:lnTo>
                    <a:pt x="162" y="818"/>
                  </a:lnTo>
                  <a:lnTo>
                    <a:pt x="160" y="820"/>
                  </a:lnTo>
                  <a:lnTo>
                    <a:pt x="152" y="822"/>
                  </a:lnTo>
                  <a:lnTo>
                    <a:pt x="152" y="824"/>
                  </a:lnTo>
                  <a:lnTo>
                    <a:pt x="152" y="826"/>
                  </a:lnTo>
                  <a:lnTo>
                    <a:pt x="144" y="830"/>
                  </a:lnTo>
                  <a:lnTo>
                    <a:pt x="140" y="830"/>
                  </a:lnTo>
                  <a:lnTo>
                    <a:pt x="136" y="830"/>
                  </a:lnTo>
                  <a:lnTo>
                    <a:pt x="126" y="830"/>
                  </a:lnTo>
                  <a:lnTo>
                    <a:pt x="110" y="830"/>
                  </a:lnTo>
                  <a:lnTo>
                    <a:pt x="108" y="830"/>
                  </a:lnTo>
                  <a:lnTo>
                    <a:pt x="106" y="830"/>
                  </a:lnTo>
                  <a:lnTo>
                    <a:pt x="104" y="830"/>
                  </a:lnTo>
                  <a:lnTo>
                    <a:pt x="98" y="830"/>
                  </a:lnTo>
                  <a:lnTo>
                    <a:pt x="98" y="826"/>
                  </a:lnTo>
                  <a:lnTo>
                    <a:pt x="98" y="822"/>
                  </a:lnTo>
                  <a:lnTo>
                    <a:pt x="98" y="820"/>
                  </a:lnTo>
                  <a:lnTo>
                    <a:pt x="94" y="818"/>
                  </a:lnTo>
                  <a:lnTo>
                    <a:pt x="94" y="816"/>
                  </a:lnTo>
                  <a:lnTo>
                    <a:pt x="92" y="816"/>
                  </a:lnTo>
                  <a:lnTo>
                    <a:pt x="94" y="812"/>
                  </a:lnTo>
                  <a:lnTo>
                    <a:pt x="94" y="810"/>
                  </a:lnTo>
                  <a:lnTo>
                    <a:pt x="90" y="804"/>
                  </a:lnTo>
                  <a:lnTo>
                    <a:pt x="86" y="802"/>
                  </a:lnTo>
                  <a:lnTo>
                    <a:pt x="86" y="800"/>
                  </a:lnTo>
                  <a:lnTo>
                    <a:pt x="74" y="800"/>
                  </a:lnTo>
                  <a:lnTo>
                    <a:pt x="68" y="798"/>
                  </a:lnTo>
                  <a:lnTo>
                    <a:pt x="62" y="798"/>
                  </a:lnTo>
                  <a:lnTo>
                    <a:pt x="60" y="798"/>
                  </a:lnTo>
                  <a:lnTo>
                    <a:pt x="54" y="798"/>
                  </a:lnTo>
                  <a:lnTo>
                    <a:pt x="42" y="798"/>
                  </a:lnTo>
                  <a:lnTo>
                    <a:pt x="42" y="796"/>
                  </a:lnTo>
                  <a:lnTo>
                    <a:pt x="44" y="794"/>
                  </a:lnTo>
                  <a:lnTo>
                    <a:pt x="46" y="792"/>
                  </a:lnTo>
                  <a:lnTo>
                    <a:pt x="52" y="786"/>
                  </a:lnTo>
                  <a:lnTo>
                    <a:pt x="56" y="782"/>
                  </a:lnTo>
                  <a:lnTo>
                    <a:pt x="56" y="780"/>
                  </a:lnTo>
                  <a:lnTo>
                    <a:pt x="56" y="778"/>
                  </a:lnTo>
                  <a:lnTo>
                    <a:pt x="56" y="774"/>
                  </a:lnTo>
                  <a:lnTo>
                    <a:pt x="52" y="772"/>
                  </a:lnTo>
                  <a:lnTo>
                    <a:pt x="50" y="770"/>
                  </a:lnTo>
                  <a:lnTo>
                    <a:pt x="46" y="764"/>
                  </a:lnTo>
                  <a:lnTo>
                    <a:pt x="46" y="762"/>
                  </a:lnTo>
                  <a:lnTo>
                    <a:pt x="44" y="762"/>
                  </a:lnTo>
                  <a:lnTo>
                    <a:pt x="44" y="760"/>
                  </a:lnTo>
                  <a:lnTo>
                    <a:pt x="42" y="760"/>
                  </a:lnTo>
                  <a:lnTo>
                    <a:pt x="42" y="758"/>
                  </a:lnTo>
                  <a:lnTo>
                    <a:pt x="40" y="758"/>
                  </a:lnTo>
                  <a:lnTo>
                    <a:pt x="38" y="758"/>
                  </a:lnTo>
                  <a:lnTo>
                    <a:pt x="34" y="754"/>
                  </a:lnTo>
                  <a:lnTo>
                    <a:pt x="32" y="746"/>
                  </a:lnTo>
                  <a:lnTo>
                    <a:pt x="28" y="744"/>
                  </a:lnTo>
                  <a:lnTo>
                    <a:pt x="24" y="740"/>
                  </a:lnTo>
                  <a:lnTo>
                    <a:pt x="24" y="738"/>
                  </a:lnTo>
                  <a:lnTo>
                    <a:pt x="24" y="734"/>
                  </a:lnTo>
                  <a:lnTo>
                    <a:pt x="22" y="728"/>
                  </a:lnTo>
                  <a:lnTo>
                    <a:pt x="18" y="722"/>
                  </a:lnTo>
                  <a:lnTo>
                    <a:pt x="14" y="720"/>
                  </a:lnTo>
                  <a:lnTo>
                    <a:pt x="12" y="720"/>
                  </a:lnTo>
                  <a:lnTo>
                    <a:pt x="12" y="718"/>
                  </a:lnTo>
                  <a:lnTo>
                    <a:pt x="12" y="714"/>
                  </a:lnTo>
                  <a:lnTo>
                    <a:pt x="14" y="714"/>
                  </a:lnTo>
                  <a:lnTo>
                    <a:pt x="16" y="712"/>
                  </a:lnTo>
                  <a:lnTo>
                    <a:pt x="16" y="710"/>
                  </a:lnTo>
                  <a:lnTo>
                    <a:pt x="16" y="708"/>
                  </a:lnTo>
                  <a:lnTo>
                    <a:pt x="14" y="708"/>
                  </a:lnTo>
                  <a:lnTo>
                    <a:pt x="12" y="708"/>
                  </a:lnTo>
                  <a:lnTo>
                    <a:pt x="8" y="706"/>
                  </a:lnTo>
                  <a:lnTo>
                    <a:pt x="6" y="706"/>
                  </a:lnTo>
                  <a:lnTo>
                    <a:pt x="6" y="704"/>
                  </a:lnTo>
                  <a:lnTo>
                    <a:pt x="4" y="700"/>
                  </a:lnTo>
                  <a:lnTo>
                    <a:pt x="0" y="698"/>
                  </a:lnTo>
                  <a:lnTo>
                    <a:pt x="0" y="696"/>
                  </a:lnTo>
                  <a:lnTo>
                    <a:pt x="2" y="696"/>
                  </a:lnTo>
                  <a:lnTo>
                    <a:pt x="4" y="690"/>
                  </a:lnTo>
                  <a:lnTo>
                    <a:pt x="4" y="686"/>
                  </a:lnTo>
                  <a:lnTo>
                    <a:pt x="14" y="686"/>
                  </a:lnTo>
                  <a:lnTo>
                    <a:pt x="16" y="684"/>
                  </a:lnTo>
                  <a:lnTo>
                    <a:pt x="14" y="678"/>
                  </a:lnTo>
                  <a:lnTo>
                    <a:pt x="12" y="674"/>
                  </a:lnTo>
                  <a:lnTo>
                    <a:pt x="10" y="674"/>
                  </a:lnTo>
                  <a:lnTo>
                    <a:pt x="10" y="672"/>
                  </a:lnTo>
                  <a:lnTo>
                    <a:pt x="12" y="662"/>
                  </a:lnTo>
                  <a:lnTo>
                    <a:pt x="12" y="660"/>
                  </a:lnTo>
                  <a:lnTo>
                    <a:pt x="16" y="656"/>
                  </a:lnTo>
                  <a:lnTo>
                    <a:pt x="22" y="654"/>
                  </a:lnTo>
                  <a:lnTo>
                    <a:pt x="34" y="644"/>
                  </a:lnTo>
                  <a:lnTo>
                    <a:pt x="36" y="644"/>
                  </a:lnTo>
                  <a:lnTo>
                    <a:pt x="38" y="644"/>
                  </a:lnTo>
                  <a:lnTo>
                    <a:pt x="42" y="644"/>
                  </a:lnTo>
                  <a:lnTo>
                    <a:pt x="42" y="642"/>
                  </a:lnTo>
                  <a:lnTo>
                    <a:pt x="44" y="640"/>
                  </a:lnTo>
                  <a:lnTo>
                    <a:pt x="46" y="636"/>
                  </a:lnTo>
                  <a:lnTo>
                    <a:pt x="46" y="634"/>
                  </a:lnTo>
                  <a:lnTo>
                    <a:pt x="44" y="626"/>
                  </a:lnTo>
                  <a:lnTo>
                    <a:pt x="42" y="620"/>
                  </a:lnTo>
                  <a:lnTo>
                    <a:pt x="42" y="618"/>
                  </a:lnTo>
                  <a:lnTo>
                    <a:pt x="42" y="616"/>
                  </a:lnTo>
                  <a:lnTo>
                    <a:pt x="42" y="614"/>
                  </a:lnTo>
                  <a:lnTo>
                    <a:pt x="46" y="606"/>
                  </a:lnTo>
                  <a:lnTo>
                    <a:pt x="48" y="604"/>
                  </a:lnTo>
                  <a:lnTo>
                    <a:pt x="50" y="602"/>
                  </a:lnTo>
                  <a:lnTo>
                    <a:pt x="54" y="598"/>
                  </a:lnTo>
                  <a:lnTo>
                    <a:pt x="56" y="594"/>
                  </a:lnTo>
                  <a:lnTo>
                    <a:pt x="56" y="588"/>
                  </a:lnTo>
                  <a:lnTo>
                    <a:pt x="56" y="586"/>
                  </a:lnTo>
                  <a:lnTo>
                    <a:pt x="56" y="584"/>
                  </a:lnTo>
                  <a:lnTo>
                    <a:pt x="56" y="582"/>
                  </a:lnTo>
                  <a:lnTo>
                    <a:pt x="58" y="576"/>
                  </a:lnTo>
                  <a:lnTo>
                    <a:pt x="58" y="568"/>
                  </a:lnTo>
                  <a:lnTo>
                    <a:pt x="60" y="566"/>
                  </a:lnTo>
                  <a:lnTo>
                    <a:pt x="64" y="564"/>
                  </a:lnTo>
                  <a:lnTo>
                    <a:pt x="66" y="562"/>
                  </a:lnTo>
                  <a:lnTo>
                    <a:pt x="74" y="560"/>
                  </a:lnTo>
                  <a:lnTo>
                    <a:pt x="80" y="556"/>
                  </a:lnTo>
                  <a:lnTo>
                    <a:pt x="86" y="552"/>
                  </a:lnTo>
                  <a:lnTo>
                    <a:pt x="86" y="550"/>
                  </a:lnTo>
                  <a:lnTo>
                    <a:pt x="86" y="548"/>
                  </a:lnTo>
                  <a:lnTo>
                    <a:pt x="86" y="546"/>
                  </a:lnTo>
                  <a:lnTo>
                    <a:pt x="90" y="546"/>
                  </a:lnTo>
                  <a:lnTo>
                    <a:pt x="92" y="546"/>
                  </a:lnTo>
                  <a:lnTo>
                    <a:pt x="94" y="546"/>
                  </a:lnTo>
                  <a:lnTo>
                    <a:pt x="94" y="544"/>
                  </a:lnTo>
                  <a:lnTo>
                    <a:pt x="100" y="542"/>
                  </a:lnTo>
                  <a:lnTo>
                    <a:pt x="106" y="538"/>
                  </a:lnTo>
                  <a:lnTo>
                    <a:pt x="112" y="532"/>
                  </a:lnTo>
                  <a:lnTo>
                    <a:pt x="114" y="532"/>
                  </a:lnTo>
                  <a:lnTo>
                    <a:pt x="120" y="530"/>
                  </a:lnTo>
                  <a:lnTo>
                    <a:pt x="122" y="532"/>
                  </a:lnTo>
                  <a:lnTo>
                    <a:pt x="126" y="532"/>
                  </a:lnTo>
                  <a:lnTo>
                    <a:pt x="140" y="528"/>
                  </a:lnTo>
                  <a:lnTo>
                    <a:pt x="146" y="524"/>
                  </a:lnTo>
                  <a:lnTo>
                    <a:pt x="152" y="524"/>
                  </a:lnTo>
                  <a:lnTo>
                    <a:pt x="158" y="524"/>
                  </a:lnTo>
                  <a:lnTo>
                    <a:pt x="164" y="524"/>
                  </a:lnTo>
                  <a:lnTo>
                    <a:pt x="168" y="520"/>
                  </a:lnTo>
                  <a:lnTo>
                    <a:pt x="168" y="518"/>
                  </a:lnTo>
                  <a:lnTo>
                    <a:pt x="170" y="514"/>
                  </a:lnTo>
                  <a:lnTo>
                    <a:pt x="172" y="514"/>
                  </a:lnTo>
                  <a:lnTo>
                    <a:pt x="174" y="512"/>
                  </a:lnTo>
                  <a:lnTo>
                    <a:pt x="182" y="514"/>
                  </a:lnTo>
                  <a:lnTo>
                    <a:pt x="184" y="516"/>
                  </a:lnTo>
                  <a:lnTo>
                    <a:pt x="188" y="514"/>
                  </a:lnTo>
                  <a:lnTo>
                    <a:pt x="190" y="512"/>
                  </a:lnTo>
                  <a:lnTo>
                    <a:pt x="192" y="512"/>
                  </a:lnTo>
                  <a:lnTo>
                    <a:pt x="198" y="512"/>
                  </a:lnTo>
                  <a:lnTo>
                    <a:pt x="198" y="514"/>
                  </a:lnTo>
                  <a:lnTo>
                    <a:pt x="200" y="516"/>
                  </a:lnTo>
                  <a:lnTo>
                    <a:pt x="198" y="518"/>
                  </a:lnTo>
                  <a:lnTo>
                    <a:pt x="202" y="520"/>
                  </a:lnTo>
                  <a:lnTo>
                    <a:pt x="204" y="522"/>
                  </a:lnTo>
                  <a:lnTo>
                    <a:pt x="214" y="524"/>
                  </a:lnTo>
                  <a:lnTo>
                    <a:pt x="216" y="522"/>
                  </a:lnTo>
                  <a:lnTo>
                    <a:pt x="218" y="520"/>
                  </a:lnTo>
                  <a:lnTo>
                    <a:pt x="218" y="518"/>
                  </a:lnTo>
                  <a:lnTo>
                    <a:pt x="218" y="516"/>
                  </a:lnTo>
                  <a:lnTo>
                    <a:pt x="222" y="500"/>
                  </a:lnTo>
                  <a:lnTo>
                    <a:pt x="226" y="472"/>
                  </a:lnTo>
                  <a:lnTo>
                    <a:pt x="234" y="426"/>
                  </a:lnTo>
                  <a:lnTo>
                    <a:pt x="236" y="422"/>
                  </a:lnTo>
                  <a:lnTo>
                    <a:pt x="236" y="416"/>
                  </a:lnTo>
                  <a:lnTo>
                    <a:pt x="238" y="414"/>
                  </a:lnTo>
                  <a:lnTo>
                    <a:pt x="242" y="392"/>
                  </a:lnTo>
                  <a:lnTo>
                    <a:pt x="246" y="370"/>
                  </a:lnTo>
                  <a:lnTo>
                    <a:pt x="248" y="362"/>
                  </a:lnTo>
                  <a:lnTo>
                    <a:pt x="248" y="360"/>
                  </a:lnTo>
                  <a:lnTo>
                    <a:pt x="248" y="356"/>
                  </a:lnTo>
                  <a:lnTo>
                    <a:pt x="246" y="350"/>
                  </a:lnTo>
                  <a:lnTo>
                    <a:pt x="246" y="344"/>
                  </a:lnTo>
                  <a:lnTo>
                    <a:pt x="246" y="342"/>
                  </a:lnTo>
                  <a:lnTo>
                    <a:pt x="244" y="340"/>
                  </a:lnTo>
                  <a:lnTo>
                    <a:pt x="242" y="338"/>
                  </a:lnTo>
                  <a:lnTo>
                    <a:pt x="236" y="328"/>
                  </a:lnTo>
                  <a:lnTo>
                    <a:pt x="236" y="326"/>
                  </a:lnTo>
                  <a:lnTo>
                    <a:pt x="238" y="326"/>
                  </a:lnTo>
                  <a:lnTo>
                    <a:pt x="238" y="324"/>
                  </a:lnTo>
                  <a:lnTo>
                    <a:pt x="238" y="322"/>
                  </a:lnTo>
                  <a:lnTo>
                    <a:pt x="236" y="316"/>
                  </a:lnTo>
                  <a:lnTo>
                    <a:pt x="236" y="314"/>
                  </a:lnTo>
                  <a:lnTo>
                    <a:pt x="232" y="314"/>
                  </a:lnTo>
                  <a:lnTo>
                    <a:pt x="230" y="312"/>
                  </a:lnTo>
                  <a:lnTo>
                    <a:pt x="220" y="304"/>
                  </a:lnTo>
                  <a:lnTo>
                    <a:pt x="214" y="300"/>
                  </a:lnTo>
                  <a:lnTo>
                    <a:pt x="212" y="296"/>
                  </a:lnTo>
                  <a:lnTo>
                    <a:pt x="212" y="292"/>
                  </a:lnTo>
                  <a:lnTo>
                    <a:pt x="212" y="288"/>
                  </a:lnTo>
                  <a:lnTo>
                    <a:pt x="212" y="280"/>
                  </a:lnTo>
                  <a:lnTo>
                    <a:pt x="212" y="272"/>
                  </a:lnTo>
                  <a:lnTo>
                    <a:pt x="212" y="268"/>
                  </a:lnTo>
                  <a:lnTo>
                    <a:pt x="212" y="260"/>
                  </a:lnTo>
                  <a:lnTo>
                    <a:pt x="212" y="256"/>
                  </a:lnTo>
                  <a:lnTo>
                    <a:pt x="216" y="256"/>
                  </a:lnTo>
                  <a:lnTo>
                    <a:pt x="220" y="256"/>
                  </a:lnTo>
                  <a:lnTo>
                    <a:pt x="226" y="256"/>
                  </a:lnTo>
                  <a:lnTo>
                    <a:pt x="228" y="254"/>
                  </a:lnTo>
                  <a:lnTo>
                    <a:pt x="232" y="250"/>
                  </a:lnTo>
                  <a:lnTo>
                    <a:pt x="246" y="248"/>
                  </a:lnTo>
                  <a:lnTo>
                    <a:pt x="252" y="252"/>
                  </a:lnTo>
                  <a:lnTo>
                    <a:pt x="254" y="254"/>
                  </a:lnTo>
                  <a:lnTo>
                    <a:pt x="258" y="254"/>
                  </a:lnTo>
                  <a:lnTo>
                    <a:pt x="264" y="252"/>
                  </a:lnTo>
                  <a:lnTo>
                    <a:pt x="262" y="248"/>
                  </a:lnTo>
                  <a:lnTo>
                    <a:pt x="262" y="242"/>
                  </a:lnTo>
                  <a:lnTo>
                    <a:pt x="258" y="234"/>
                  </a:lnTo>
                  <a:lnTo>
                    <a:pt x="256" y="232"/>
                  </a:lnTo>
                  <a:lnTo>
                    <a:pt x="250" y="230"/>
                  </a:lnTo>
                  <a:lnTo>
                    <a:pt x="248" y="230"/>
                  </a:lnTo>
                  <a:lnTo>
                    <a:pt x="246" y="232"/>
                  </a:lnTo>
                  <a:lnTo>
                    <a:pt x="236" y="230"/>
                  </a:lnTo>
                  <a:lnTo>
                    <a:pt x="230" y="230"/>
                  </a:lnTo>
                  <a:lnTo>
                    <a:pt x="224" y="230"/>
                  </a:lnTo>
                  <a:lnTo>
                    <a:pt x="224" y="196"/>
                  </a:lnTo>
                  <a:lnTo>
                    <a:pt x="224" y="194"/>
                  </a:lnTo>
                  <a:lnTo>
                    <a:pt x="226" y="196"/>
                  </a:lnTo>
                  <a:lnTo>
                    <a:pt x="232" y="194"/>
                  </a:lnTo>
                  <a:lnTo>
                    <a:pt x="240" y="192"/>
                  </a:lnTo>
                  <a:lnTo>
                    <a:pt x="246" y="194"/>
                  </a:lnTo>
                  <a:lnTo>
                    <a:pt x="248" y="194"/>
                  </a:lnTo>
                  <a:lnTo>
                    <a:pt x="250" y="194"/>
                  </a:lnTo>
                  <a:lnTo>
                    <a:pt x="256" y="194"/>
                  </a:lnTo>
                  <a:lnTo>
                    <a:pt x="264" y="194"/>
                  </a:lnTo>
                  <a:lnTo>
                    <a:pt x="280" y="194"/>
                  </a:lnTo>
                  <a:lnTo>
                    <a:pt x="316" y="194"/>
                  </a:lnTo>
                  <a:lnTo>
                    <a:pt x="314" y="192"/>
                  </a:lnTo>
                  <a:lnTo>
                    <a:pt x="312" y="192"/>
                  </a:lnTo>
                  <a:lnTo>
                    <a:pt x="310" y="188"/>
                  </a:lnTo>
                  <a:lnTo>
                    <a:pt x="310" y="184"/>
                  </a:lnTo>
                  <a:lnTo>
                    <a:pt x="312" y="184"/>
                  </a:lnTo>
                  <a:lnTo>
                    <a:pt x="314" y="180"/>
                  </a:lnTo>
                  <a:lnTo>
                    <a:pt x="318" y="182"/>
                  </a:lnTo>
                  <a:lnTo>
                    <a:pt x="318" y="184"/>
                  </a:lnTo>
                  <a:lnTo>
                    <a:pt x="320" y="186"/>
                  </a:lnTo>
                  <a:lnTo>
                    <a:pt x="320" y="188"/>
                  </a:lnTo>
                  <a:lnTo>
                    <a:pt x="322" y="190"/>
                  </a:lnTo>
                  <a:lnTo>
                    <a:pt x="322" y="192"/>
                  </a:lnTo>
                  <a:lnTo>
                    <a:pt x="324" y="194"/>
                  </a:lnTo>
                  <a:lnTo>
                    <a:pt x="326" y="194"/>
                  </a:lnTo>
                  <a:lnTo>
                    <a:pt x="328" y="194"/>
                  </a:lnTo>
                  <a:lnTo>
                    <a:pt x="330" y="194"/>
                  </a:lnTo>
                  <a:lnTo>
                    <a:pt x="334" y="192"/>
                  </a:lnTo>
                  <a:lnTo>
                    <a:pt x="336" y="190"/>
                  </a:lnTo>
                  <a:lnTo>
                    <a:pt x="340" y="184"/>
                  </a:lnTo>
                  <a:lnTo>
                    <a:pt x="340" y="182"/>
                  </a:lnTo>
                  <a:lnTo>
                    <a:pt x="342" y="180"/>
                  </a:lnTo>
                  <a:lnTo>
                    <a:pt x="346" y="176"/>
                  </a:lnTo>
                  <a:lnTo>
                    <a:pt x="348" y="176"/>
                  </a:lnTo>
                  <a:lnTo>
                    <a:pt x="350" y="174"/>
                  </a:lnTo>
                  <a:lnTo>
                    <a:pt x="356" y="172"/>
                  </a:lnTo>
                  <a:lnTo>
                    <a:pt x="358" y="174"/>
                  </a:lnTo>
                  <a:lnTo>
                    <a:pt x="360" y="174"/>
                  </a:lnTo>
                  <a:lnTo>
                    <a:pt x="360" y="176"/>
                  </a:lnTo>
                  <a:lnTo>
                    <a:pt x="360" y="178"/>
                  </a:lnTo>
                  <a:lnTo>
                    <a:pt x="364" y="182"/>
                  </a:lnTo>
                  <a:lnTo>
                    <a:pt x="366" y="186"/>
                  </a:lnTo>
                  <a:lnTo>
                    <a:pt x="370" y="190"/>
                  </a:lnTo>
                  <a:lnTo>
                    <a:pt x="372" y="194"/>
                  </a:lnTo>
                  <a:lnTo>
                    <a:pt x="374" y="200"/>
                  </a:lnTo>
                  <a:lnTo>
                    <a:pt x="374" y="206"/>
                  </a:lnTo>
                  <a:lnTo>
                    <a:pt x="374" y="210"/>
                  </a:lnTo>
                  <a:lnTo>
                    <a:pt x="374" y="212"/>
                  </a:lnTo>
                  <a:lnTo>
                    <a:pt x="374" y="218"/>
                  </a:lnTo>
                  <a:lnTo>
                    <a:pt x="374" y="220"/>
                  </a:lnTo>
                  <a:lnTo>
                    <a:pt x="374" y="224"/>
                  </a:lnTo>
                  <a:lnTo>
                    <a:pt x="376" y="224"/>
                  </a:lnTo>
                  <a:lnTo>
                    <a:pt x="384" y="222"/>
                  </a:lnTo>
                  <a:lnTo>
                    <a:pt x="390" y="226"/>
                  </a:lnTo>
                  <a:lnTo>
                    <a:pt x="414" y="246"/>
                  </a:lnTo>
                  <a:lnTo>
                    <a:pt x="414" y="248"/>
                  </a:lnTo>
                  <a:lnTo>
                    <a:pt x="416" y="248"/>
                  </a:lnTo>
                  <a:lnTo>
                    <a:pt x="426" y="248"/>
                  </a:lnTo>
                  <a:lnTo>
                    <a:pt x="432" y="244"/>
                  </a:lnTo>
                  <a:lnTo>
                    <a:pt x="434" y="244"/>
                  </a:lnTo>
                  <a:lnTo>
                    <a:pt x="436" y="242"/>
                  </a:lnTo>
                  <a:lnTo>
                    <a:pt x="436" y="240"/>
                  </a:lnTo>
                  <a:lnTo>
                    <a:pt x="438" y="238"/>
                  </a:lnTo>
                  <a:lnTo>
                    <a:pt x="446" y="234"/>
                  </a:lnTo>
                  <a:lnTo>
                    <a:pt x="450" y="234"/>
                  </a:lnTo>
                  <a:lnTo>
                    <a:pt x="454" y="234"/>
                  </a:lnTo>
                  <a:lnTo>
                    <a:pt x="456" y="236"/>
                  </a:lnTo>
                  <a:lnTo>
                    <a:pt x="458" y="238"/>
                  </a:lnTo>
                  <a:lnTo>
                    <a:pt x="458" y="240"/>
                  </a:lnTo>
                  <a:lnTo>
                    <a:pt x="458" y="242"/>
                  </a:lnTo>
                  <a:lnTo>
                    <a:pt x="458" y="244"/>
                  </a:lnTo>
                  <a:lnTo>
                    <a:pt x="456" y="246"/>
                  </a:lnTo>
                  <a:lnTo>
                    <a:pt x="454" y="248"/>
                  </a:lnTo>
                  <a:lnTo>
                    <a:pt x="454" y="250"/>
                  </a:lnTo>
                  <a:lnTo>
                    <a:pt x="456" y="252"/>
                  </a:lnTo>
                  <a:lnTo>
                    <a:pt x="458" y="252"/>
                  </a:lnTo>
                  <a:lnTo>
                    <a:pt x="460" y="252"/>
                  </a:lnTo>
                  <a:lnTo>
                    <a:pt x="462" y="250"/>
                  </a:lnTo>
                  <a:lnTo>
                    <a:pt x="464" y="248"/>
                  </a:lnTo>
                  <a:lnTo>
                    <a:pt x="464" y="246"/>
                  </a:lnTo>
                  <a:lnTo>
                    <a:pt x="466" y="244"/>
                  </a:lnTo>
                  <a:lnTo>
                    <a:pt x="466" y="242"/>
                  </a:lnTo>
                  <a:lnTo>
                    <a:pt x="468" y="238"/>
                  </a:lnTo>
                  <a:lnTo>
                    <a:pt x="470" y="238"/>
                  </a:lnTo>
                  <a:lnTo>
                    <a:pt x="472" y="238"/>
                  </a:lnTo>
                  <a:lnTo>
                    <a:pt x="474" y="238"/>
                  </a:lnTo>
                  <a:lnTo>
                    <a:pt x="476" y="238"/>
                  </a:lnTo>
                  <a:lnTo>
                    <a:pt x="476" y="236"/>
                  </a:lnTo>
                  <a:lnTo>
                    <a:pt x="478" y="236"/>
                  </a:lnTo>
                  <a:lnTo>
                    <a:pt x="478" y="234"/>
                  </a:lnTo>
                  <a:lnTo>
                    <a:pt x="478" y="232"/>
                  </a:lnTo>
                  <a:lnTo>
                    <a:pt x="478" y="230"/>
                  </a:lnTo>
                  <a:lnTo>
                    <a:pt x="478" y="228"/>
                  </a:lnTo>
                  <a:lnTo>
                    <a:pt x="480" y="226"/>
                  </a:lnTo>
                  <a:lnTo>
                    <a:pt x="486" y="224"/>
                  </a:lnTo>
                  <a:lnTo>
                    <a:pt x="488" y="222"/>
                  </a:lnTo>
                  <a:lnTo>
                    <a:pt x="496" y="218"/>
                  </a:lnTo>
                  <a:lnTo>
                    <a:pt x="498" y="220"/>
                  </a:lnTo>
                  <a:lnTo>
                    <a:pt x="500" y="220"/>
                  </a:lnTo>
                  <a:lnTo>
                    <a:pt x="502" y="220"/>
                  </a:lnTo>
                  <a:lnTo>
                    <a:pt x="508" y="216"/>
                  </a:lnTo>
                  <a:lnTo>
                    <a:pt x="508" y="214"/>
                  </a:lnTo>
                  <a:lnTo>
                    <a:pt x="510" y="212"/>
                  </a:lnTo>
                  <a:lnTo>
                    <a:pt x="512" y="210"/>
                  </a:lnTo>
                  <a:lnTo>
                    <a:pt x="520" y="206"/>
                  </a:lnTo>
                  <a:lnTo>
                    <a:pt x="526" y="208"/>
                  </a:lnTo>
                  <a:lnTo>
                    <a:pt x="534" y="202"/>
                  </a:lnTo>
                  <a:lnTo>
                    <a:pt x="536" y="198"/>
                  </a:lnTo>
                  <a:lnTo>
                    <a:pt x="538" y="196"/>
                  </a:lnTo>
                  <a:lnTo>
                    <a:pt x="538" y="190"/>
                  </a:lnTo>
                  <a:lnTo>
                    <a:pt x="538" y="188"/>
                  </a:lnTo>
                  <a:lnTo>
                    <a:pt x="538" y="186"/>
                  </a:lnTo>
                  <a:lnTo>
                    <a:pt x="538" y="184"/>
                  </a:lnTo>
                  <a:lnTo>
                    <a:pt x="540" y="182"/>
                  </a:lnTo>
                  <a:lnTo>
                    <a:pt x="542" y="180"/>
                  </a:lnTo>
                  <a:lnTo>
                    <a:pt x="544" y="180"/>
                  </a:lnTo>
                  <a:lnTo>
                    <a:pt x="550" y="180"/>
                  </a:lnTo>
                  <a:lnTo>
                    <a:pt x="554" y="178"/>
                  </a:lnTo>
                  <a:lnTo>
                    <a:pt x="556" y="178"/>
                  </a:lnTo>
                  <a:lnTo>
                    <a:pt x="560" y="174"/>
                  </a:lnTo>
                  <a:lnTo>
                    <a:pt x="564" y="172"/>
                  </a:lnTo>
                  <a:lnTo>
                    <a:pt x="568" y="172"/>
                  </a:lnTo>
                  <a:lnTo>
                    <a:pt x="572" y="172"/>
                  </a:lnTo>
                  <a:lnTo>
                    <a:pt x="574" y="166"/>
                  </a:lnTo>
                  <a:lnTo>
                    <a:pt x="576" y="156"/>
                  </a:lnTo>
                  <a:lnTo>
                    <a:pt x="574" y="156"/>
                  </a:lnTo>
                  <a:lnTo>
                    <a:pt x="562" y="156"/>
                  </a:lnTo>
                  <a:lnTo>
                    <a:pt x="552" y="156"/>
                  </a:lnTo>
                  <a:lnTo>
                    <a:pt x="550" y="156"/>
                  </a:lnTo>
                  <a:lnTo>
                    <a:pt x="538" y="154"/>
                  </a:lnTo>
                  <a:lnTo>
                    <a:pt x="538" y="152"/>
                  </a:lnTo>
                  <a:lnTo>
                    <a:pt x="538" y="150"/>
                  </a:lnTo>
                  <a:lnTo>
                    <a:pt x="540" y="148"/>
                  </a:lnTo>
                  <a:lnTo>
                    <a:pt x="540" y="146"/>
                  </a:lnTo>
                  <a:lnTo>
                    <a:pt x="540" y="140"/>
                  </a:lnTo>
                  <a:lnTo>
                    <a:pt x="538" y="134"/>
                  </a:lnTo>
                  <a:lnTo>
                    <a:pt x="536" y="128"/>
                  </a:lnTo>
                  <a:lnTo>
                    <a:pt x="532" y="122"/>
                  </a:lnTo>
                  <a:lnTo>
                    <a:pt x="528" y="114"/>
                  </a:lnTo>
                  <a:lnTo>
                    <a:pt x="528" y="106"/>
                  </a:lnTo>
                  <a:lnTo>
                    <a:pt x="526" y="102"/>
                  </a:lnTo>
                  <a:lnTo>
                    <a:pt x="528" y="100"/>
                  </a:lnTo>
                  <a:lnTo>
                    <a:pt x="530" y="98"/>
                  </a:lnTo>
                  <a:lnTo>
                    <a:pt x="530" y="96"/>
                  </a:lnTo>
                  <a:lnTo>
                    <a:pt x="530" y="92"/>
                  </a:lnTo>
                  <a:lnTo>
                    <a:pt x="522" y="86"/>
                  </a:lnTo>
                  <a:lnTo>
                    <a:pt x="520" y="84"/>
                  </a:lnTo>
                  <a:lnTo>
                    <a:pt x="518" y="82"/>
                  </a:lnTo>
                  <a:lnTo>
                    <a:pt x="516" y="82"/>
                  </a:lnTo>
                  <a:lnTo>
                    <a:pt x="512" y="78"/>
                  </a:lnTo>
                  <a:lnTo>
                    <a:pt x="506" y="72"/>
                  </a:lnTo>
                  <a:lnTo>
                    <a:pt x="504" y="72"/>
                  </a:lnTo>
                  <a:lnTo>
                    <a:pt x="504" y="70"/>
                  </a:lnTo>
                  <a:lnTo>
                    <a:pt x="502" y="66"/>
                  </a:lnTo>
                  <a:lnTo>
                    <a:pt x="502" y="64"/>
                  </a:lnTo>
                  <a:lnTo>
                    <a:pt x="500" y="62"/>
                  </a:lnTo>
                  <a:lnTo>
                    <a:pt x="498" y="60"/>
                  </a:lnTo>
                  <a:lnTo>
                    <a:pt x="496" y="60"/>
                  </a:lnTo>
                  <a:lnTo>
                    <a:pt x="496" y="56"/>
                  </a:lnTo>
                  <a:lnTo>
                    <a:pt x="498" y="56"/>
                  </a:lnTo>
                  <a:lnTo>
                    <a:pt x="500" y="56"/>
                  </a:lnTo>
                  <a:lnTo>
                    <a:pt x="502" y="56"/>
                  </a:lnTo>
                  <a:lnTo>
                    <a:pt x="504" y="58"/>
                  </a:lnTo>
                  <a:lnTo>
                    <a:pt x="506" y="64"/>
                  </a:lnTo>
                  <a:lnTo>
                    <a:pt x="508" y="64"/>
                  </a:lnTo>
                  <a:lnTo>
                    <a:pt x="510" y="64"/>
                  </a:lnTo>
                  <a:lnTo>
                    <a:pt x="514" y="64"/>
                  </a:lnTo>
                  <a:lnTo>
                    <a:pt x="516" y="64"/>
                  </a:lnTo>
                  <a:lnTo>
                    <a:pt x="518" y="62"/>
                  </a:lnTo>
                  <a:lnTo>
                    <a:pt x="520" y="62"/>
                  </a:lnTo>
                  <a:lnTo>
                    <a:pt x="522" y="62"/>
                  </a:lnTo>
                  <a:lnTo>
                    <a:pt x="526" y="64"/>
                  </a:lnTo>
                  <a:lnTo>
                    <a:pt x="528" y="64"/>
                  </a:lnTo>
                  <a:lnTo>
                    <a:pt x="532" y="64"/>
                  </a:lnTo>
                  <a:lnTo>
                    <a:pt x="534" y="66"/>
                  </a:lnTo>
                  <a:lnTo>
                    <a:pt x="534" y="68"/>
                  </a:lnTo>
                  <a:lnTo>
                    <a:pt x="536" y="74"/>
                  </a:lnTo>
                  <a:lnTo>
                    <a:pt x="536" y="76"/>
                  </a:lnTo>
                  <a:lnTo>
                    <a:pt x="538" y="76"/>
                  </a:lnTo>
                  <a:lnTo>
                    <a:pt x="540" y="78"/>
                  </a:lnTo>
                  <a:lnTo>
                    <a:pt x="542" y="76"/>
                  </a:lnTo>
                  <a:lnTo>
                    <a:pt x="544" y="74"/>
                  </a:lnTo>
                  <a:lnTo>
                    <a:pt x="548" y="72"/>
                  </a:lnTo>
                  <a:lnTo>
                    <a:pt x="558" y="74"/>
                  </a:lnTo>
                  <a:lnTo>
                    <a:pt x="560" y="74"/>
                  </a:lnTo>
                  <a:lnTo>
                    <a:pt x="562" y="74"/>
                  </a:lnTo>
                  <a:lnTo>
                    <a:pt x="562" y="76"/>
                  </a:lnTo>
                  <a:lnTo>
                    <a:pt x="564" y="78"/>
                  </a:lnTo>
                  <a:lnTo>
                    <a:pt x="566" y="78"/>
                  </a:lnTo>
                  <a:lnTo>
                    <a:pt x="568" y="78"/>
                  </a:lnTo>
                  <a:lnTo>
                    <a:pt x="570" y="76"/>
                  </a:lnTo>
                  <a:lnTo>
                    <a:pt x="570" y="74"/>
                  </a:lnTo>
                  <a:lnTo>
                    <a:pt x="572" y="72"/>
                  </a:lnTo>
                  <a:lnTo>
                    <a:pt x="574" y="72"/>
                  </a:lnTo>
                  <a:lnTo>
                    <a:pt x="576" y="72"/>
                  </a:lnTo>
                  <a:lnTo>
                    <a:pt x="578" y="74"/>
                  </a:lnTo>
                  <a:lnTo>
                    <a:pt x="580" y="76"/>
                  </a:lnTo>
                  <a:lnTo>
                    <a:pt x="584" y="82"/>
                  </a:lnTo>
                  <a:lnTo>
                    <a:pt x="594" y="92"/>
                  </a:lnTo>
                  <a:lnTo>
                    <a:pt x="598" y="94"/>
                  </a:lnTo>
                  <a:lnTo>
                    <a:pt x="600" y="94"/>
                  </a:lnTo>
                  <a:lnTo>
                    <a:pt x="606" y="92"/>
                  </a:lnTo>
                  <a:lnTo>
                    <a:pt x="608" y="90"/>
                  </a:lnTo>
                  <a:lnTo>
                    <a:pt x="608" y="88"/>
                  </a:lnTo>
                  <a:lnTo>
                    <a:pt x="608" y="86"/>
                  </a:lnTo>
                  <a:lnTo>
                    <a:pt x="608" y="84"/>
                  </a:lnTo>
                  <a:lnTo>
                    <a:pt x="608" y="82"/>
                  </a:lnTo>
                  <a:lnTo>
                    <a:pt x="606" y="80"/>
                  </a:lnTo>
                  <a:lnTo>
                    <a:pt x="606" y="76"/>
                  </a:lnTo>
                  <a:lnTo>
                    <a:pt x="606" y="70"/>
                  </a:lnTo>
                  <a:lnTo>
                    <a:pt x="608" y="68"/>
                  </a:lnTo>
                  <a:lnTo>
                    <a:pt x="612" y="68"/>
                  </a:lnTo>
                  <a:lnTo>
                    <a:pt x="614" y="68"/>
                  </a:lnTo>
                  <a:lnTo>
                    <a:pt x="618" y="64"/>
                  </a:lnTo>
                  <a:lnTo>
                    <a:pt x="624" y="60"/>
                  </a:lnTo>
                  <a:lnTo>
                    <a:pt x="626" y="60"/>
                  </a:lnTo>
                  <a:lnTo>
                    <a:pt x="630" y="62"/>
                  </a:lnTo>
                  <a:lnTo>
                    <a:pt x="632" y="64"/>
                  </a:lnTo>
                  <a:lnTo>
                    <a:pt x="636" y="64"/>
                  </a:lnTo>
                  <a:lnTo>
                    <a:pt x="638" y="64"/>
                  </a:lnTo>
                  <a:lnTo>
                    <a:pt x="640" y="64"/>
                  </a:lnTo>
                  <a:lnTo>
                    <a:pt x="642" y="64"/>
                  </a:lnTo>
                  <a:lnTo>
                    <a:pt x="644" y="64"/>
                  </a:lnTo>
                  <a:lnTo>
                    <a:pt x="644" y="62"/>
                  </a:lnTo>
                  <a:lnTo>
                    <a:pt x="648" y="62"/>
                  </a:lnTo>
                  <a:lnTo>
                    <a:pt x="650" y="62"/>
                  </a:lnTo>
                  <a:lnTo>
                    <a:pt x="652" y="62"/>
                  </a:lnTo>
                  <a:lnTo>
                    <a:pt x="656" y="62"/>
                  </a:lnTo>
                  <a:lnTo>
                    <a:pt x="658" y="60"/>
                  </a:lnTo>
                  <a:lnTo>
                    <a:pt x="658" y="58"/>
                  </a:lnTo>
                  <a:lnTo>
                    <a:pt x="660" y="56"/>
                  </a:lnTo>
                  <a:lnTo>
                    <a:pt x="664" y="56"/>
                  </a:lnTo>
                  <a:lnTo>
                    <a:pt x="666" y="56"/>
                  </a:lnTo>
                  <a:lnTo>
                    <a:pt x="668" y="56"/>
                  </a:lnTo>
                  <a:lnTo>
                    <a:pt x="672" y="56"/>
                  </a:lnTo>
                  <a:lnTo>
                    <a:pt x="674" y="54"/>
                  </a:lnTo>
                  <a:lnTo>
                    <a:pt x="674" y="52"/>
                  </a:lnTo>
                  <a:lnTo>
                    <a:pt x="674" y="50"/>
                  </a:lnTo>
                  <a:lnTo>
                    <a:pt x="674" y="48"/>
                  </a:lnTo>
                  <a:lnTo>
                    <a:pt x="684" y="42"/>
                  </a:lnTo>
                  <a:lnTo>
                    <a:pt x="692" y="44"/>
                  </a:lnTo>
                  <a:lnTo>
                    <a:pt x="698" y="42"/>
                  </a:lnTo>
                  <a:lnTo>
                    <a:pt x="702" y="42"/>
                  </a:lnTo>
                  <a:lnTo>
                    <a:pt x="704" y="40"/>
                  </a:lnTo>
                  <a:lnTo>
                    <a:pt x="706" y="38"/>
                  </a:lnTo>
                  <a:lnTo>
                    <a:pt x="706" y="36"/>
                  </a:lnTo>
                  <a:lnTo>
                    <a:pt x="706" y="30"/>
                  </a:lnTo>
                  <a:lnTo>
                    <a:pt x="708" y="30"/>
                  </a:lnTo>
                  <a:lnTo>
                    <a:pt x="710" y="30"/>
                  </a:lnTo>
                  <a:lnTo>
                    <a:pt x="716" y="28"/>
                  </a:lnTo>
                  <a:lnTo>
                    <a:pt x="718" y="26"/>
                  </a:lnTo>
                  <a:lnTo>
                    <a:pt x="720" y="24"/>
                  </a:lnTo>
                  <a:lnTo>
                    <a:pt x="724" y="20"/>
                  </a:lnTo>
                  <a:lnTo>
                    <a:pt x="724" y="18"/>
                  </a:lnTo>
                  <a:lnTo>
                    <a:pt x="724" y="16"/>
                  </a:lnTo>
                  <a:lnTo>
                    <a:pt x="720" y="8"/>
                  </a:lnTo>
                  <a:lnTo>
                    <a:pt x="720" y="6"/>
                  </a:lnTo>
                  <a:lnTo>
                    <a:pt x="718" y="4"/>
                  </a:lnTo>
                  <a:lnTo>
                    <a:pt x="716" y="4"/>
                  </a:lnTo>
                  <a:lnTo>
                    <a:pt x="718" y="4"/>
                  </a:lnTo>
                  <a:lnTo>
                    <a:pt x="724" y="4"/>
                  </a:lnTo>
                  <a:lnTo>
                    <a:pt x="724" y="6"/>
                  </a:lnTo>
                  <a:lnTo>
                    <a:pt x="738" y="4"/>
                  </a:lnTo>
                  <a:lnTo>
                    <a:pt x="740" y="2"/>
                  </a:lnTo>
                  <a:lnTo>
                    <a:pt x="742" y="2"/>
                  </a:lnTo>
                  <a:lnTo>
                    <a:pt x="744" y="0"/>
                  </a:lnTo>
                  <a:lnTo>
                    <a:pt x="748" y="2"/>
                  </a:lnTo>
                  <a:lnTo>
                    <a:pt x="750" y="4"/>
                  </a:lnTo>
                  <a:lnTo>
                    <a:pt x="750" y="6"/>
                  </a:lnTo>
                  <a:lnTo>
                    <a:pt x="754" y="10"/>
                  </a:lnTo>
                  <a:lnTo>
                    <a:pt x="756" y="14"/>
                  </a:lnTo>
                  <a:lnTo>
                    <a:pt x="756" y="24"/>
                  </a:lnTo>
                  <a:lnTo>
                    <a:pt x="754" y="30"/>
                  </a:lnTo>
                  <a:lnTo>
                    <a:pt x="752" y="36"/>
                  </a:lnTo>
                  <a:lnTo>
                    <a:pt x="750" y="36"/>
                  </a:lnTo>
                  <a:lnTo>
                    <a:pt x="748" y="38"/>
                  </a:lnTo>
                  <a:lnTo>
                    <a:pt x="746" y="38"/>
                  </a:lnTo>
                  <a:lnTo>
                    <a:pt x="748" y="42"/>
                  </a:lnTo>
                  <a:lnTo>
                    <a:pt x="754" y="44"/>
                  </a:lnTo>
                  <a:lnTo>
                    <a:pt x="758" y="42"/>
                  </a:lnTo>
                  <a:lnTo>
                    <a:pt x="766" y="46"/>
                  </a:lnTo>
                  <a:lnTo>
                    <a:pt x="770" y="46"/>
                  </a:lnTo>
                  <a:lnTo>
                    <a:pt x="774" y="48"/>
                  </a:lnTo>
                  <a:lnTo>
                    <a:pt x="770" y="54"/>
                  </a:lnTo>
                  <a:lnTo>
                    <a:pt x="770" y="58"/>
                  </a:lnTo>
                  <a:lnTo>
                    <a:pt x="770" y="60"/>
                  </a:lnTo>
                  <a:lnTo>
                    <a:pt x="772" y="60"/>
                  </a:lnTo>
                  <a:lnTo>
                    <a:pt x="778" y="70"/>
                  </a:lnTo>
                  <a:lnTo>
                    <a:pt x="778" y="76"/>
                  </a:lnTo>
                  <a:lnTo>
                    <a:pt x="774" y="84"/>
                  </a:lnTo>
                  <a:lnTo>
                    <a:pt x="768" y="90"/>
                  </a:lnTo>
                  <a:lnTo>
                    <a:pt x="764" y="96"/>
                  </a:lnTo>
                  <a:lnTo>
                    <a:pt x="766" y="98"/>
                  </a:lnTo>
                  <a:lnTo>
                    <a:pt x="766" y="104"/>
                  </a:lnTo>
                  <a:lnTo>
                    <a:pt x="764" y="106"/>
                  </a:lnTo>
                  <a:lnTo>
                    <a:pt x="764" y="108"/>
                  </a:lnTo>
                  <a:lnTo>
                    <a:pt x="762" y="110"/>
                  </a:lnTo>
                  <a:lnTo>
                    <a:pt x="760" y="114"/>
                  </a:lnTo>
                  <a:lnTo>
                    <a:pt x="760" y="120"/>
                  </a:lnTo>
                  <a:lnTo>
                    <a:pt x="758" y="122"/>
                  </a:lnTo>
                  <a:lnTo>
                    <a:pt x="758" y="130"/>
                  </a:lnTo>
                  <a:lnTo>
                    <a:pt x="758" y="132"/>
                  </a:lnTo>
                  <a:lnTo>
                    <a:pt x="758" y="140"/>
                  </a:lnTo>
                  <a:lnTo>
                    <a:pt x="760" y="146"/>
                  </a:lnTo>
                  <a:lnTo>
                    <a:pt x="760" y="148"/>
                  </a:lnTo>
                  <a:lnTo>
                    <a:pt x="762" y="154"/>
                  </a:lnTo>
                  <a:lnTo>
                    <a:pt x="762" y="156"/>
                  </a:lnTo>
                  <a:lnTo>
                    <a:pt x="762" y="158"/>
                  </a:lnTo>
                  <a:lnTo>
                    <a:pt x="764" y="160"/>
                  </a:lnTo>
                  <a:lnTo>
                    <a:pt x="768" y="162"/>
                  </a:lnTo>
                  <a:lnTo>
                    <a:pt x="770" y="164"/>
                  </a:lnTo>
                  <a:lnTo>
                    <a:pt x="772" y="166"/>
                  </a:lnTo>
                  <a:lnTo>
                    <a:pt x="770" y="174"/>
                  </a:lnTo>
                  <a:lnTo>
                    <a:pt x="770" y="184"/>
                  </a:lnTo>
                  <a:lnTo>
                    <a:pt x="770" y="186"/>
                  </a:lnTo>
                  <a:lnTo>
                    <a:pt x="772" y="186"/>
                  </a:lnTo>
                  <a:lnTo>
                    <a:pt x="776" y="188"/>
                  </a:lnTo>
                  <a:lnTo>
                    <a:pt x="776" y="190"/>
                  </a:lnTo>
                  <a:lnTo>
                    <a:pt x="774" y="192"/>
                  </a:lnTo>
                  <a:lnTo>
                    <a:pt x="776" y="194"/>
                  </a:lnTo>
                  <a:lnTo>
                    <a:pt x="778" y="194"/>
                  </a:lnTo>
                  <a:lnTo>
                    <a:pt x="782" y="196"/>
                  </a:lnTo>
                  <a:lnTo>
                    <a:pt x="784" y="198"/>
                  </a:lnTo>
                  <a:lnTo>
                    <a:pt x="788" y="202"/>
                  </a:lnTo>
                  <a:lnTo>
                    <a:pt x="798" y="212"/>
                  </a:lnTo>
                  <a:lnTo>
                    <a:pt x="806" y="214"/>
                  </a:lnTo>
                  <a:lnTo>
                    <a:pt x="812" y="216"/>
                  </a:lnTo>
                  <a:lnTo>
                    <a:pt x="814" y="216"/>
                  </a:lnTo>
                  <a:lnTo>
                    <a:pt x="816" y="216"/>
                  </a:lnTo>
                  <a:lnTo>
                    <a:pt x="816" y="218"/>
                  </a:lnTo>
                  <a:lnTo>
                    <a:pt x="816" y="220"/>
                  </a:lnTo>
                  <a:lnTo>
                    <a:pt x="818" y="222"/>
                  </a:lnTo>
                  <a:lnTo>
                    <a:pt x="820" y="224"/>
                  </a:lnTo>
                  <a:lnTo>
                    <a:pt x="824" y="222"/>
                  </a:lnTo>
                  <a:lnTo>
                    <a:pt x="826" y="220"/>
                  </a:lnTo>
                  <a:lnTo>
                    <a:pt x="826" y="218"/>
                  </a:lnTo>
                  <a:lnTo>
                    <a:pt x="828" y="218"/>
                  </a:lnTo>
                  <a:lnTo>
                    <a:pt x="834" y="218"/>
                  </a:lnTo>
                  <a:lnTo>
                    <a:pt x="836" y="218"/>
                  </a:lnTo>
                  <a:lnTo>
                    <a:pt x="838" y="216"/>
                  </a:lnTo>
                  <a:lnTo>
                    <a:pt x="840" y="214"/>
                  </a:lnTo>
                  <a:lnTo>
                    <a:pt x="838" y="208"/>
                  </a:lnTo>
                  <a:lnTo>
                    <a:pt x="844" y="208"/>
                  </a:lnTo>
                  <a:lnTo>
                    <a:pt x="850" y="202"/>
                  </a:lnTo>
                  <a:lnTo>
                    <a:pt x="858" y="206"/>
                  </a:lnTo>
                  <a:lnTo>
                    <a:pt x="864" y="206"/>
                  </a:lnTo>
                  <a:lnTo>
                    <a:pt x="866" y="202"/>
                  </a:lnTo>
                  <a:lnTo>
                    <a:pt x="866" y="200"/>
                  </a:lnTo>
                  <a:lnTo>
                    <a:pt x="872" y="196"/>
                  </a:lnTo>
                  <a:lnTo>
                    <a:pt x="878" y="194"/>
                  </a:lnTo>
                  <a:lnTo>
                    <a:pt x="880" y="194"/>
                  </a:lnTo>
                  <a:lnTo>
                    <a:pt x="882" y="194"/>
                  </a:lnTo>
                  <a:lnTo>
                    <a:pt x="884" y="194"/>
                  </a:lnTo>
                  <a:lnTo>
                    <a:pt x="890" y="194"/>
                  </a:lnTo>
                  <a:lnTo>
                    <a:pt x="894" y="190"/>
                  </a:lnTo>
                  <a:lnTo>
                    <a:pt x="896" y="186"/>
                  </a:lnTo>
                  <a:lnTo>
                    <a:pt x="896" y="184"/>
                  </a:lnTo>
                  <a:lnTo>
                    <a:pt x="902" y="180"/>
                  </a:lnTo>
                  <a:lnTo>
                    <a:pt x="904" y="180"/>
                  </a:lnTo>
                  <a:lnTo>
                    <a:pt x="906" y="180"/>
                  </a:lnTo>
                  <a:lnTo>
                    <a:pt x="908" y="180"/>
                  </a:lnTo>
                  <a:lnTo>
                    <a:pt x="910" y="178"/>
                  </a:lnTo>
                  <a:lnTo>
                    <a:pt x="914" y="176"/>
                  </a:lnTo>
                  <a:lnTo>
                    <a:pt x="914" y="178"/>
                  </a:lnTo>
                  <a:lnTo>
                    <a:pt x="916" y="178"/>
                  </a:lnTo>
                  <a:lnTo>
                    <a:pt x="916" y="180"/>
                  </a:lnTo>
                  <a:lnTo>
                    <a:pt x="918" y="182"/>
                  </a:lnTo>
                  <a:lnTo>
                    <a:pt x="926" y="184"/>
                  </a:lnTo>
                  <a:lnTo>
                    <a:pt x="932" y="186"/>
                  </a:lnTo>
                  <a:lnTo>
                    <a:pt x="932" y="184"/>
                  </a:lnTo>
                  <a:lnTo>
                    <a:pt x="934" y="182"/>
                  </a:lnTo>
                  <a:lnTo>
                    <a:pt x="940" y="182"/>
                  </a:lnTo>
                  <a:lnTo>
                    <a:pt x="942" y="182"/>
                  </a:lnTo>
                  <a:lnTo>
                    <a:pt x="944" y="182"/>
                  </a:lnTo>
                  <a:lnTo>
                    <a:pt x="948" y="182"/>
                  </a:lnTo>
                  <a:lnTo>
                    <a:pt x="950" y="182"/>
                  </a:lnTo>
                  <a:lnTo>
                    <a:pt x="956" y="182"/>
                  </a:lnTo>
                  <a:lnTo>
                    <a:pt x="962" y="184"/>
                  </a:lnTo>
                  <a:lnTo>
                    <a:pt x="966" y="186"/>
                  </a:lnTo>
                  <a:lnTo>
                    <a:pt x="970" y="186"/>
                  </a:lnTo>
                  <a:lnTo>
                    <a:pt x="972" y="188"/>
                  </a:lnTo>
                  <a:lnTo>
                    <a:pt x="974" y="188"/>
                  </a:lnTo>
                  <a:lnTo>
                    <a:pt x="976" y="186"/>
                  </a:lnTo>
                  <a:lnTo>
                    <a:pt x="978" y="184"/>
                  </a:lnTo>
                  <a:lnTo>
                    <a:pt x="978" y="176"/>
                  </a:lnTo>
                  <a:lnTo>
                    <a:pt x="970" y="166"/>
                  </a:lnTo>
                  <a:lnTo>
                    <a:pt x="966" y="164"/>
                  </a:lnTo>
                  <a:lnTo>
                    <a:pt x="968" y="158"/>
                  </a:lnTo>
                  <a:lnTo>
                    <a:pt x="972" y="154"/>
                  </a:lnTo>
                  <a:lnTo>
                    <a:pt x="974" y="150"/>
                  </a:lnTo>
                  <a:lnTo>
                    <a:pt x="974" y="148"/>
                  </a:lnTo>
                  <a:lnTo>
                    <a:pt x="976" y="150"/>
                  </a:lnTo>
                  <a:lnTo>
                    <a:pt x="978" y="150"/>
                  </a:lnTo>
                  <a:lnTo>
                    <a:pt x="980" y="152"/>
                  </a:lnTo>
                  <a:lnTo>
                    <a:pt x="988" y="156"/>
                  </a:lnTo>
                  <a:lnTo>
                    <a:pt x="1000" y="154"/>
                  </a:lnTo>
                  <a:lnTo>
                    <a:pt x="1020" y="150"/>
                  </a:lnTo>
                  <a:lnTo>
                    <a:pt x="1022" y="148"/>
                  </a:lnTo>
                  <a:lnTo>
                    <a:pt x="1028" y="148"/>
                  </a:lnTo>
                  <a:lnTo>
                    <a:pt x="1034" y="154"/>
                  </a:lnTo>
                  <a:lnTo>
                    <a:pt x="1036" y="154"/>
                  </a:lnTo>
                  <a:lnTo>
                    <a:pt x="1038" y="154"/>
                  </a:lnTo>
                  <a:lnTo>
                    <a:pt x="1040" y="152"/>
                  </a:lnTo>
                  <a:lnTo>
                    <a:pt x="1044" y="154"/>
                  </a:lnTo>
                  <a:lnTo>
                    <a:pt x="1044" y="156"/>
                  </a:lnTo>
                  <a:lnTo>
                    <a:pt x="1042" y="156"/>
                  </a:lnTo>
                  <a:lnTo>
                    <a:pt x="1044" y="160"/>
                  </a:lnTo>
                  <a:lnTo>
                    <a:pt x="1046" y="160"/>
                  </a:lnTo>
                  <a:lnTo>
                    <a:pt x="1048" y="160"/>
                  </a:lnTo>
                  <a:lnTo>
                    <a:pt x="1050" y="160"/>
                  </a:lnTo>
                  <a:lnTo>
                    <a:pt x="1052" y="160"/>
                  </a:lnTo>
                  <a:lnTo>
                    <a:pt x="1052" y="162"/>
                  </a:lnTo>
                  <a:lnTo>
                    <a:pt x="1054" y="164"/>
                  </a:lnTo>
                  <a:lnTo>
                    <a:pt x="1056" y="166"/>
                  </a:lnTo>
                  <a:lnTo>
                    <a:pt x="1064" y="170"/>
                  </a:lnTo>
                  <a:lnTo>
                    <a:pt x="1074" y="172"/>
                  </a:lnTo>
                  <a:lnTo>
                    <a:pt x="1084" y="166"/>
                  </a:lnTo>
                  <a:lnTo>
                    <a:pt x="1086" y="164"/>
                  </a:lnTo>
                  <a:lnTo>
                    <a:pt x="1086" y="162"/>
                  </a:lnTo>
                  <a:lnTo>
                    <a:pt x="1092" y="158"/>
                  </a:lnTo>
                  <a:lnTo>
                    <a:pt x="1094" y="156"/>
                  </a:lnTo>
                  <a:lnTo>
                    <a:pt x="1096" y="158"/>
                  </a:lnTo>
                  <a:lnTo>
                    <a:pt x="1096" y="160"/>
                  </a:lnTo>
                  <a:lnTo>
                    <a:pt x="1106" y="164"/>
                  </a:lnTo>
                  <a:lnTo>
                    <a:pt x="1110" y="164"/>
                  </a:lnTo>
                  <a:lnTo>
                    <a:pt x="1116" y="160"/>
                  </a:lnTo>
                  <a:lnTo>
                    <a:pt x="1116" y="158"/>
                  </a:lnTo>
                  <a:lnTo>
                    <a:pt x="1118" y="158"/>
                  </a:lnTo>
                  <a:lnTo>
                    <a:pt x="1120" y="160"/>
                  </a:lnTo>
                  <a:lnTo>
                    <a:pt x="1124" y="162"/>
                  </a:lnTo>
                  <a:lnTo>
                    <a:pt x="1122" y="166"/>
                  </a:lnTo>
                  <a:lnTo>
                    <a:pt x="1124" y="166"/>
                  </a:lnTo>
                  <a:lnTo>
                    <a:pt x="1128" y="166"/>
                  </a:lnTo>
                  <a:lnTo>
                    <a:pt x="1130" y="166"/>
                  </a:lnTo>
                  <a:lnTo>
                    <a:pt x="1132" y="166"/>
                  </a:lnTo>
                  <a:lnTo>
                    <a:pt x="1132" y="168"/>
                  </a:lnTo>
                  <a:lnTo>
                    <a:pt x="1136" y="168"/>
                  </a:lnTo>
                  <a:lnTo>
                    <a:pt x="1138" y="168"/>
                  </a:lnTo>
                  <a:lnTo>
                    <a:pt x="1140" y="166"/>
                  </a:lnTo>
                  <a:lnTo>
                    <a:pt x="1142" y="166"/>
                  </a:lnTo>
                  <a:lnTo>
                    <a:pt x="1148" y="160"/>
                  </a:lnTo>
                  <a:lnTo>
                    <a:pt x="1152" y="156"/>
                  </a:lnTo>
                  <a:lnTo>
                    <a:pt x="1158" y="152"/>
                  </a:lnTo>
                  <a:lnTo>
                    <a:pt x="1158" y="148"/>
                  </a:lnTo>
                  <a:lnTo>
                    <a:pt x="1160" y="146"/>
                  </a:lnTo>
                  <a:lnTo>
                    <a:pt x="1160" y="144"/>
                  </a:lnTo>
                  <a:lnTo>
                    <a:pt x="1160" y="142"/>
                  </a:lnTo>
                  <a:lnTo>
                    <a:pt x="1162" y="138"/>
                  </a:lnTo>
                  <a:lnTo>
                    <a:pt x="1164" y="132"/>
                  </a:lnTo>
                  <a:lnTo>
                    <a:pt x="1166" y="126"/>
                  </a:lnTo>
                  <a:lnTo>
                    <a:pt x="1168" y="124"/>
                  </a:lnTo>
                  <a:lnTo>
                    <a:pt x="1170" y="120"/>
                  </a:lnTo>
                  <a:lnTo>
                    <a:pt x="1170" y="118"/>
                  </a:lnTo>
                  <a:lnTo>
                    <a:pt x="1170" y="116"/>
                  </a:lnTo>
                  <a:lnTo>
                    <a:pt x="1170" y="114"/>
                  </a:lnTo>
                  <a:lnTo>
                    <a:pt x="1174" y="108"/>
                  </a:lnTo>
                  <a:lnTo>
                    <a:pt x="1176" y="108"/>
                  </a:lnTo>
                  <a:lnTo>
                    <a:pt x="1180" y="102"/>
                  </a:lnTo>
                  <a:lnTo>
                    <a:pt x="1184" y="98"/>
                  </a:lnTo>
                  <a:lnTo>
                    <a:pt x="1188" y="88"/>
                  </a:lnTo>
                  <a:lnTo>
                    <a:pt x="1188" y="86"/>
                  </a:lnTo>
                  <a:lnTo>
                    <a:pt x="1190" y="82"/>
                  </a:lnTo>
                  <a:lnTo>
                    <a:pt x="1192" y="80"/>
                  </a:lnTo>
                  <a:lnTo>
                    <a:pt x="1194" y="78"/>
                  </a:lnTo>
                  <a:lnTo>
                    <a:pt x="1198" y="74"/>
                  </a:lnTo>
                  <a:lnTo>
                    <a:pt x="1200" y="72"/>
                  </a:lnTo>
                  <a:lnTo>
                    <a:pt x="1200" y="68"/>
                  </a:lnTo>
                  <a:lnTo>
                    <a:pt x="1202" y="66"/>
                  </a:lnTo>
                  <a:lnTo>
                    <a:pt x="1204" y="64"/>
                  </a:lnTo>
                  <a:lnTo>
                    <a:pt x="1206" y="64"/>
                  </a:lnTo>
                  <a:lnTo>
                    <a:pt x="1208" y="64"/>
                  </a:lnTo>
                  <a:lnTo>
                    <a:pt x="1208" y="62"/>
                  </a:lnTo>
                  <a:lnTo>
                    <a:pt x="1210" y="60"/>
                  </a:lnTo>
                  <a:lnTo>
                    <a:pt x="1212" y="58"/>
                  </a:lnTo>
                  <a:lnTo>
                    <a:pt x="1214" y="64"/>
                  </a:lnTo>
                  <a:lnTo>
                    <a:pt x="1218" y="68"/>
                  </a:lnTo>
                  <a:lnTo>
                    <a:pt x="1218" y="64"/>
                  </a:lnTo>
                  <a:lnTo>
                    <a:pt x="1216" y="64"/>
                  </a:lnTo>
                  <a:lnTo>
                    <a:pt x="1214" y="60"/>
                  </a:lnTo>
                  <a:lnTo>
                    <a:pt x="1212" y="52"/>
                  </a:lnTo>
                  <a:lnTo>
                    <a:pt x="1212" y="50"/>
                  </a:lnTo>
                  <a:lnTo>
                    <a:pt x="1212" y="48"/>
                  </a:lnTo>
                  <a:lnTo>
                    <a:pt x="1212" y="46"/>
                  </a:lnTo>
                  <a:lnTo>
                    <a:pt x="1224" y="54"/>
                  </a:lnTo>
                  <a:lnTo>
                    <a:pt x="1228" y="58"/>
                  </a:lnTo>
                  <a:lnTo>
                    <a:pt x="1232" y="62"/>
                  </a:lnTo>
                  <a:lnTo>
                    <a:pt x="1232" y="64"/>
                  </a:lnTo>
                  <a:lnTo>
                    <a:pt x="1234" y="66"/>
                  </a:lnTo>
                  <a:lnTo>
                    <a:pt x="1234" y="72"/>
                  </a:lnTo>
                  <a:lnTo>
                    <a:pt x="1236" y="74"/>
                  </a:lnTo>
                  <a:lnTo>
                    <a:pt x="1236" y="72"/>
                  </a:lnTo>
                  <a:lnTo>
                    <a:pt x="1238" y="70"/>
                  </a:lnTo>
                  <a:lnTo>
                    <a:pt x="1238" y="72"/>
                  </a:lnTo>
                  <a:lnTo>
                    <a:pt x="1238" y="82"/>
                  </a:lnTo>
                  <a:lnTo>
                    <a:pt x="1238" y="86"/>
                  </a:lnTo>
                  <a:lnTo>
                    <a:pt x="1238" y="90"/>
                  </a:lnTo>
                  <a:lnTo>
                    <a:pt x="1240" y="102"/>
                  </a:lnTo>
                  <a:lnTo>
                    <a:pt x="1240" y="106"/>
                  </a:lnTo>
                  <a:lnTo>
                    <a:pt x="1240" y="108"/>
                  </a:lnTo>
                  <a:lnTo>
                    <a:pt x="1242" y="114"/>
                  </a:lnTo>
                  <a:lnTo>
                    <a:pt x="1242" y="116"/>
                  </a:lnTo>
                  <a:lnTo>
                    <a:pt x="1244" y="120"/>
                  </a:lnTo>
                  <a:lnTo>
                    <a:pt x="1248" y="128"/>
                  </a:lnTo>
                  <a:lnTo>
                    <a:pt x="1252" y="136"/>
                  </a:lnTo>
                  <a:lnTo>
                    <a:pt x="1252" y="140"/>
                  </a:lnTo>
                  <a:lnTo>
                    <a:pt x="1254" y="142"/>
                  </a:lnTo>
                  <a:lnTo>
                    <a:pt x="1256" y="150"/>
                  </a:lnTo>
                  <a:lnTo>
                    <a:pt x="1260" y="168"/>
                  </a:lnTo>
                  <a:lnTo>
                    <a:pt x="1266" y="174"/>
                  </a:lnTo>
                  <a:lnTo>
                    <a:pt x="1270" y="184"/>
                  </a:lnTo>
                  <a:lnTo>
                    <a:pt x="1272" y="184"/>
                  </a:lnTo>
                  <a:lnTo>
                    <a:pt x="1272" y="186"/>
                  </a:lnTo>
                  <a:lnTo>
                    <a:pt x="1274" y="186"/>
                  </a:lnTo>
                  <a:lnTo>
                    <a:pt x="1276" y="188"/>
                  </a:lnTo>
                  <a:lnTo>
                    <a:pt x="1280" y="186"/>
                  </a:lnTo>
                  <a:lnTo>
                    <a:pt x="1288" y="186"/>
                  </a:lnTo>
                  <a:lnTo>
                    <a:pt x="1294" y="190"/>
                  </a:lnTo>
                  <a:lnTo>
                    <a:pt x="1296" y="190"/>
                  </a:lnTo>
                  <a:lnTo>
                    <a:pt x="1302" y="194"/>
                  </a:lnTo>
                  <a:lnTo>
                    <a:pt x="1304" y="200"/>
                  </a:lnTo>
                  <a:lnTo>
                    <a:pt x="1304" y="202"/>
                  </a:lnTo>
                  <a:lnTo>
                    <a:pt x="1304" y="204"/>
                  </a:lnTo>
                  <a:lnTo>
                    <a:pt x="1304" y="208"/>
                  </a:lnTo>
                  <a:lnTo>
                    <a:pt x="1304" y="214"/>
                  </a:lnTo>
                  <a:lnTo>
                    <a:pt x="1300" y="218"/>
                  </a:lnTo>
                  <a:lnTo>
                    <a:pt x="1296" y="218"/>
                  </a:lnTo>
                  <a:lnTo>
                    <a:pt x="1294" y="220"/>
                  </a:lnTo>
                  <a:lnTo>
                    <a:pt x="1292" y="220"/>
                  </a:lnTo>
                  <a:lnTo>
                    <a:pt x="1294" y="220"/>
                  </a:lnTo>
                  <a:lnTo>
                    <a:pt x="1298" y="220"/>
                  </a:lnTo>
                  <a:lnTo>
                    <a:pt x="1300" y="220"/>
                  </a:lnTo>
                  <a:lnTo>
                    <a:pt x="1302" y="218"/>
                  </a:lnTo>
                  <a:lnTo>
                    <a:pt x="1302" y="220"/>
                  </a:lnTo>
                  <a:lnTo>
                    <a:pt x="1304" y="222"/>
                  </a:lnTo>
                  <a:lnTo>
                    <a:pt x="1302" y="224"/>
                  </a:lnTo>
                  <a:lnTo>
                    <a:pt x="1302" y="226"/>
                  </a:lnTo>
                  <a:lnTo>
                    <a:pt x="1298" y="228"/>
                  </a:lnTo>
                  <a:lnTo>
                    <a:pt x="1286" y="238"/>
                  </a:lnTo>
                  <a:lnTo>
                    <a:pt x="1280" y="246"/>
                  </a:lnTo>
                  <a:lnTo>
                    <a:pt x="1278" y="248"/>
                  </a:lnTo>
                  <a:lnTo>
                    <a:pt x="1276" y="250"/>
                  </a:lnTo>
                  <a:lnTo>
                    <a:pt x="1274" y="250"/>
                  </a:lnTo>
                  <a:lnTo>
                    <a:pt x="1272" y="254"/>
                  </a:lnTo>
                  <a:lnTo>
                    <a:pt x="1272" y="256"/>
                  </a:lnTo>
                  <a:lnTo>
                    <a:pt x="1270" y="258"/>
                  </a:lnTo>
                  <a:lnTo>
                    <a:pt x="1268" y="264"/>
                  </a:lnTo>
                  <a:lnTo>
                    <a:pt x="1266" y="266"/>
                  </a:lnTo>
                  <a:lnTo>
                    <a:pt x="1264" y="268"/>
                  </a:lnTo>
                  <a:lnTo>
                    <a:pt x="1258" y="278"/>
                  </a:lnTo>
                  <a:lnTo>
                    <a:pt x="1256" y="278"/>
                  </a:lnTo>
                  <a:lnTo>
                    <a:pt x="1254" y="278"/>
                  </a:lnTo>
                  <a:lnTo>
                    <a:pt x="1252" y="278"/>
                  </a:lnTo>
                  <a:lnTo>
                    <a:pt x="1248" y="280"/>
                  </a:lnTo>
                  <a:lnTo>
                    <a:pt x="1246" y="280"/>
                  </a:lnTo>
                  <a:lnTo>
                    <a:pt x="1244" y="282"/>
                  </a:lnTo>
                  <a:lnTo>
                    <a:pt x="1244" y="284"/>
                  </a:lnTo>
                  <a:lnTo>
                    <a:pt x="1242" y="286"/>
                  </a:lnTo>
                  <a:lnTo>
                    <a:pt x="1240" y="288"/>
                  </a:lnTo>
                  <a:lnTo>
                    <a:pt x="1240" y="290"/>
                  </a:lnTo>
                  <a:lnTo>
                    <a:pt x="1238" y="292"/>
                  </a:lnTo>
                  <a:lnTo>
                    <a:pt x="1236" y="292"/>
                  </a:lnTo>
                  <a:lnTo>
                    <a:pt x="1236" y="294"/>
                  </a:lnTo>
                  <a:lnTo>
                    <a:pt x="1234" y="294"/>
                  </a:lnTo>
                  <a:lnTo>
                    <a:pt x="1232" y="294"/>
                  </a:lnTo>
                  <a:lnTo>
                    <a:pt x="1230" y="296"/>
                  </a:lnTo>
                  <a:lnTo>
                    <a:pt x="1228" y="298"/>
                  </a:lnTo>
                  <a:lnTo>
                    <a:pt x="1226" y="300"/>
                  </a:lnTo>
                  <a:lnTo>
                    <a:pt x="1224" y="304"/>
                  </a:lnTo>
                  <a:lnTo>
                    <a:pt x="1224" y="306"/>
                  </a:lnTo>
                  <a:lnTo>
                    <a:pt x="1224" y="308"/>
                  </a:lnTo>
                  <a:lnTo>
                    <a:pt x="1222" y="310"/>
                  </a:lnTo>
                  <a:lnTo>
                    <a:pt x="1220" y="316"/>
                  </a:lnTo>
                  <a:lnTo>
                    <a:pt x="1218" y="316"/>
                  </a:lnTo>
                  <a:lnTo>
                    <a:pt x="1216" y="318"/>
                  </a:lnTo>
                  <a:lnTo>
                    <a:pt x="1212" y="322"/>
                  </a:lnTo>
                  <a:lnTo>
                    <a:pt x="1206" y="330"/>
                  </a:lnTo>
                  <a:lnTo>
                    <a:pt x="1204" y="332"/>
                  </a:lnTo>
                  <a:lnTo>
                    <a:pt x="1204" y="336"/>
                  </a:lnTo>
                  <a:lnTo>
                    <a:pt x="1204" y="338"/>
                  </a:lnTo>
                  <a:lnTo>
                    <a:pt x="1204" y="340"/>
                  </a:lnTo>
                  <a:lnTo>
                    <a:pt x="1204" y="342"/>
                  </a:lnTo>
                  <a:lnTo>
                    <a:pt x="1206" y="344"/>
                  </a:lnTo>
                  <a:lnTo>
                    <a:pt x="1198" y="352"/>
                  </a:lnTo>
                  <a:lnTo>
                    <a:pt x="1196" y="352"/>
                  </a:lnTo>
                  <a:lnTo>
                    <a:pt x="1194" y="352"/>
                  </a:lnTo>
                  <a:lnTo>
                    <a:pt x="1194" y="354"/>
                  </a:lnTo>
                  <a:lnTo>
                    <a:pt x="1194" y="358"/>
                  </a:lnTo>
                  <a:lnTo>
                    <a:pt x="1194" y="360"/>
                  </a:lnTo>
                  <a:lnTo>
                    <a:pt x="1194" y="362"/>
                  </a:lnTo>
                  <a:lnTo>
                    <a:pt x="1188" y="366"/>
                  </a:lnTo>
                  <a:lnTo>
                    <a:pt x="1186" y="366"/>
                  </a:lnTo>
                  <a:lnTo>
                    <a:pt x="1184" y="366"/>
                  </a:lnTo>
                  <a:lnTo>
                    <a:pt x="1182" y="366"/>
                  </a:lnTo>
                  <a:lnTo>
                    <a:pt x="1182" y="364"/>
                  </a:lnTo>
                  <a:lnTo>
                    <a:pt x="1180" y="362"/>
                  </a:lnTo>
                  <a:lnTo>
                    <a:pt x="1178" y="362"/>
                  </a:lnTo>
                  <a:lnTo>
                    <a:pt x="1166" y="368"/>
                  </a:lnTo>
                  <a:lnTo>
                    <a:pt x="1164" y="370"/>
                  </a:lnTo>
                  <a:lnTo>
                    <a:pt x="1158" y="372"/>
                  </a:lnTo>
                  <a:lnTo>
                    <a:pt x="1156" y="372"/>
                  </a:lnTo>
                  <a:lnTo>
                    <a:pt x="1156" y="374"/>
                  </a:lnTo>
                  <a:lnTo>
                    <a:pt x="1150" y="374"/>
                  </a:lnTo>
                  <a:lnTo>
                    <a:pt x="1152" y="376"/>
                  </a:lnTo>
                  <a:lnTo>
                    <a:pt x="1162" y="376"/>
                  </a:lnTo>
                  <a:lnTo>
                    <a:pt x="1174" y="374"/>
                  </a:lnTo>
                  <a:lnTo>
                    <a:pt x="1176" y="376"/>
                  </a:lnTo>
                  <a:lnTo>
                    <a:pt x="1178" y="378"/>
                  </a:lnTo>
                  <a:lnTo>
                    <a:pt x="1176" y="380"/>
                  </a:lnTo>
                  <a:lnTo>
                    <a:pt x="1176" y="382"/>
                  </a:lnTo>
                  <a:lnTo>
                    <a:pt x="1178" y="382"/>
                  </a:lnTo>
                  <a:lnTo>
                    <a:pt x="1180" y="380"/>
                  </a:lnTo>
                  <a:lnTo>
                    <a:pt x="1180" y="378"/>
                  </a:lnTo>
                  <a:lnTo>
                    <a:pt x="1182" y="378"/>
                  </a:lnTo>
                  <a:lnTo>
                    <a:pt x="1184" y="378"/>
                  </a:lnTo>
                  <a:lnTo>
                    <a:pt x="1186" y="378"/>
                  </a:lnTo>
                  <a:lnTo>
                    <a:pt x="1188" y="378"/>
                  </a:lnTo>
                  <a:lnTo>
                    <a:pt x="1192" y="376"/>
                  </a:lnTo>
                  <a:lnTo>
                    <a:pt x="1196" y="374"/>
                  </a:lnTo>
                  <a:lnTo>
                    <a:pt x="1198" y="372"/>
                  </a:lnTo>
                  <a:lnTo>
                    <a:pt x="1200" y="372"/>
                  </a:lnTo>
                  <a:lnTo>
                    <a:pt x="1208" y="366"/>
                  </a:lnTo>
                  <a:lnTo>
                    <a:pt x="1210" y="364"/>
                  </a:lnTo>
                  <a:lnTo>
                    <a:pt x="1214" y="364"/>
                  </a:lnTo>
                  <a:lnTo>
                    <a:pt x="1218" y="362"/>
                  </a:lnTo>
                  <a:lnTo>
                    <a:pt x="1220" y="362"/>
                  </a:lnTo>
                  <a:lnTo>
                    <a:pt x="1230" y="356"/>
                  </a:lnTo>
                  <a:lnTo>
                    <a:pt x="1232" y="352"/>
                  </a:lnTo>
                  <a:lnTo>
                    <a:pt x="1234" y="350"/>
                  </a:lnTo>
                  <a:lnTo>
                    <a:pt x="1238" y="348"/>
                  </a:lnTo>
                  <a:lnTo>
                    <a:pt x="1240" y="346"/>
                  </a:lnTo>
                  <a:lnTo>
                    <a:pt x="1242" y="346"/>
                  </a:lnTo>
                  <a:lnTo>
                    <a:pt x="1244" y="342"/>
                  </a:lnTo>
                  <a:lnTo>
                    <a:pt x="1244" y="340"/>
                  </a:lnTo>
                  <a:lnTo>
                    <a:pt x="1248" y="338"/>
                  </a:lnTo>
                  <a:lnTo>
                    <a:pt x="1252" y="340"/>
                  </a:lnTo>
                  <a:lnTo>
                    <a:pt x="1254" y="340"/>
                  </a:lnTo>
                  <a:lnTo>
                    <a:pt x="1254" y="354"/>
                  </a:lnTo>
                  <a:lnTo>
                    <a:pt x="1254" y="356"/>
                  </a:lnTo>
                  <a:lnTo>
                    <a:pt x="1254" y="358"/>
                  </a:lnTo>
                  <a:lnTo>
                    <a:pt x="1254" y="360"/>
                  </a:lnTo>
                  <a:lnTo>
                    <a:pt x="1252" y="362"/>
                  </a:lnTo>
                  <a:lnTo>
                    <a:pt x="1254" y="368"/>
                  </a:lnTo>
                  <a:lnTo>
                    <a:pt x="1258" y="374"/>
                  </a:lnTo>
                  <a:lnTo>
                    <a:pt x="1258" y="376"/>
                  </a:lnTo>
                  <a:lnTo>
                    <a:pt x="1260" y="378"/>
                  </a:lnTo>
                  <a:lnTo>
                    <a:pt x="1262" y="384"/>
                  </a:lnTo>
                  <a:lnTo>
                    <a:pt x="1262" y="386"/>
                  </a:lnTo>
                  <a:lnTo>
                    <a:pt x="1256" y="394"/>
                  </a:lnTo>
                  <a:lnTo>
                    <a:pt x="1254" y="394"/>
                  </a:lnTo>
                  <a:lnTo>
                    <a:pt x="1250" y="392"/>
                  </a:lnTo>
                  <a:lnTo>
                    <a:pt x="1244" y="390"/>
                  </a:lnTo>
                  <a:lnTo>
                    <a:pt x="1240" y="388"/>
                  </a:lnTo>
                  <a:lnTo>
                    <a:pt x="1238" y="388"/>
                  </a:lnTo>
                  <a:lnTo>
                    <a:pt x="1230" y="386"/>
                  </a:lnTo>
                  <a:lnTo>
                    <a:pt x="1228" y="382"/>
                  </a:lnTo>
                  <a:lnTo>
                    <a:pt x="1228" y="380"/>
                  </a:lnTo>
                  <a:lnTo>
                    <a:pt x="1226" y="378"/>
                  </a:lnTo>
                  <a:lnTo>
                    <a:pt x="1220" y="386"/>
                  </a:lnTo>
                  <a:lnTo>
                    <a:pt x="1218" y="394"/>
                  </a:lnTo>
                  <a:lnTo>
                    <a:pt x="1216" y="396"/>
                  </a:lnTo>
                  <a:lnTo>
                    <a:pt x="1216" y="400"/>
                  </a:lnTo>
                  <a:lnTo>
                    <a:pt x="1216" y="402"/>
                  </a:lnTo>
                  <a:lnTo>
                    <a:pt x="1218" y="412"/>
                  </a:lnTo>
                  <a:lnTo>
                    <a:pt x="1220" y="414"/>
                  </a:lnTo>
                  <a:lnTo>
                    <a:pt x="1222" y="416"/>
                  </a:lnTo>
                  <a:lnTo>
                    <a:pt x="1220" y="414"/>
                  </a:lnTo>
                  <a:lnTo>
                    <a:pt x="1220" y="412"/>
                  </a:lnTo>
                  <a:lnTo>
                    <a:pt x="1218" y="402"/>
                  </a:lnTo>
                  <a:lnTo>
                    <a:pt x="1218" y="400"/>
                  </a:lnTo>
                  <a:lnTo>
                    <a:pt x="1222" y="392"/>
                  </a:lnTo>
                  <a:lnTo>
                    <a:pt x="1226" y="386"/>
                  </a:lnTo>
                  <a:lnTo>
                    <a:pt x="1234" y="390"/>
                  </a:lnTo>
                  <a:lnTo>
                    <a:pt x="1236" y="390"/>
                  </a:lnTo>
                  <a:lnTo>
                    <a:pt x="1236" y="392"/>
                  </a:lnTo>
                  <a:lnTo>
                    <a:pt x="1240" y="396"/>
                  </a:lnTo>
                  <a:lnTo>
                    <a:pt x="1244" y="400"/>
                  </a:lnTo>
                  <a:lnTo>
                    <a:pt x="1244" y="404"/>
                  </a:lnTo>
                  <a:lnTo>
                    <a:pt x="1242" y="408"/>
                  </a:lnTo>
                  <a:lnTo>
                    <a:pt x="1242" y="410"/>
                  </a:lnTo>
                  <a:lnTo>
                    <a:pt x="1240" y="410"/>
                  </a:lnTo>
                  <a:lnTo>
                    <a:pt x="1242" y="418"/>
                  </a:lnTo>
                  <a:lnTo>
                    <a:pt x="1242" y="420"/>
                  </a:lnTo>
                  <a:lnTo>
                    <a:pt x="1244" y="422"/>
                  </a:lnTo>
                  <a:lnTo>
                    <a:pt x="1246" y="424"/>
                  </a:lnTo>
                  <a:lnTo>
                    <a:pt x="1248" y="424"/>
                  </a:lnTo>
                  <a:lnTo>
                    <a:pt x="1250" y="426"/>
                  </a:lnTo>
                  <a:lnTo>
                    <a:pt x="1252" y="428"/>
                  </a:lnTo>
                  <a:lnTo>
                    <a:pt x="1250" y="424"/>
                  </a:lnTo>
                  <a:lnTo>
                    <a:pt x="1248" y="424"/>
                  </a:lnTo>
                  <a:lnTo>
                    <a:pt x="1244" y="420"/>
                  </a:lnTo>
                  <a:lnTo>
                    <a:pt x="1242" y="418"/>
                  </a:lnTo>
                  <a:lnTo>
                    <a:pt x="1242" y="416"/>
                  </a:lnTo>
                  <a:lnTo>
                    <a:pt x="1244" y="410"/>
                  </a:lnTo>
                  <a:lnTo>
                    <a:pt x="1244" y="402"/>
                  </a:lnTo>
                  <a:lnTo>
                    <a:pt x="1248" y="398"/>
                  </a:lnTo>
                  <a:lnTo>
                    <a:pt x="1252" y="400"/>
                  </a:lnTo>
                  <a:lnTo>
                    <a:pt x="1256" y="406"/>
                  </a:lnTo>
                  <a:lnTo>
                    <a:pt x="1254" y="408"/>
                  </a:lnTo>
                  <a:lnTo>
                    <a:pt x="1258" y="412"/>
                  </a:lnTo>
                  <a:lnTo>
                    <a:pt x="1260" y="410"/>
                  </a:lnTo>
                  <a:lnTo>
                    <a:pt x="1258" y="408"/>
                  </a:lnTo>
                  <a:lnTo>
                    <a:pt x="1256" y="406"/>
                  </a:lnTo>
                  <a:lnTo>
                    <a:pt x="1254" y="400"/>
                  </a:lnTo>
                  <a:lnTo>
                    <a:pt x="1254" y="398"/>
                  </a:lnTo>
                  <a:lnTo>
                    <a:pt x="1254" y="396"/>
                  </a:lnTo>
                  <a:lnTo>
                    <a:pt x="1260" y="388"/>
                  </a:lnTo>
                  <a:lnTo>
                    <a:pt x="1266" y="388"/>
                  </a:lnTo>
                  <a:lnTo>
                    <a:pt x="1274" y="392"/>
                  </a:lnTo>
                  <a:lnTo>
                    <a:pt x="1274" y="394"/>
                  </a:lnTo>
                  <a:lnTo>
                    <a:pt x="1272" y="396"/>
                  </a:lnTo>
                  <a:lnTo>
                    <a:pt x="1274" y="396"/>
                  </a:lnTo>
                  <a:lnTo>
                    <a:pt x="1276" y="396"/>
                  </a:lnTo>
                  <a:lnTo>
                    <a:pt x="1278" y="396"/>
                  </a:lnTo>
                  <a:lnTo>
                    <a:pt x="1280" y="394"/>
                  </a:lnTo>
                  <a:lnTo>
                    <a:pt x="1282" y="394"/>
                  </a:lnTo>
                  <a:lnTo>
                    <a:pt x="1284" y="392"/>
                  </a:lnTo>
                  <a:lnTo>
                    <a:pt x="1298" y="390"/>
                  </a:lnTo>
                  <a:lnTo>
                    <a:pt x="1300" y="390"/>
                  </a:lnTo>
                  <a:lnTo>
                    <a:pt x="1304" y="392"/>
                  </a:lnTo>
                  <a:lnTo>
                    <a:pt x="1306" y="394"/>
                  </a:lnTo>
                  <a:lnTo>
                    <a:pt x="1318" y="392"/>
                  </a:lnTo>
                  <a:lnTo>
                    <a:pt x="1320" y="392"/>
                  </a:lnTo>
                  <a:lnTo>
                    <a:pt x="1324" y="390"/>
                  </a:lnTo>
                  <a:lnTo>
                    <a:pt x="1324" y="388"/>
                  </a:lnTo>
                  <a:lnTo>
                    <a:pt x="1326" y="386"/>
                  </a:lnTo>
                  <a:lnTo>
                    <a:pt x="1328" y="386"/>
                  </a:lnTo>
                  <a:lnTo>
                    <a:pt x="1334" y="384"/>
                  </a:lnTo>
                  <a:lnTo>
                    <a:pt x="1336" y="384"/>
                  </a:lnTo>
                  <a:lnTo>
                    <a:pt x="1336" y="386"/>
                  </a:lnTo>
                  <a:lnTo>
                    <a:pt x="1336" y="388"/>
                  </a:lnTo>
                  <a:lnTo>
                    <a:pt x="1332" y="396"/>
                  </a:lnTo>
                  <a:lnTo>
                    <a:pt x="1330" y="400"/>
                  </a:lnTo>
                  <a:lnTo>
                    <a:pt x="1330" y="406"/>
                  </a:lnTo>
                  <a:lnTo>
                    <a:pt x="1328" y="410"/>
                  </a:lnTo>
                  <a:lnTo>
                    <a:pt x="1326" y="412"/>
                  </a:lnTo>
                  <a:lnTo>
                    <a:pt x="1324" y="414"/>
                  </a:lnTo>
                  <a:lnTo>
                    <a:pt x="1324" y="416"/>
                  </a:lnTo>
                  <a:lnTo>
                    <a:pt x="1326" y="418"/>
                  </a:lnTo>
                  <a:lnTo>
                    <a:pt x="1326" y="420"/>
                  </a:lnTo>
                  <a:lnTo>
                    <a:pt x="1326" y="422"/>
                  </a:lnTo>
                  <a:lnTo>
                    <a:pt x="1326" y="424"/>
                  </a:lnTo>
                  <a:lnTo>
                    <a:pt x="1326" y="426"/>
                  </a:lnTo>
                  <a:lnTo>
                    <a:pt x="1326" y="432"/>
                  </a:lnTo>
                  <a:lnTo>
                    <a:pt x="1328" y="428"/>
                  </a:lnTo>
                  <a:lnTo>
                    <a:pt x="1328" y="426"/>
                  </a:lnTo>
                  <a:lnTo>
                    <a:pt x="1328" y="424"/>
                  </a:lnTo>
                  <a:lnTo>
                    <a:pt x="1328" y="422"/>
                  </a:lnTo>
                  <a:lnTo>
                    <a:pt x="1330" y="418"/>
                  </a:lnTo>
                  <a:lnTo>
                    <a:pt x="1332" y="414"/>
                  </a:lnTo>
                  <a:lnTo>
                    <a:pt x="1334" y="410"/>
                  </a:lnTo>
                  <a:lnTo>
                    <a:pt x="1334" y="408"/>
                  </a:lnTo>
                  <a:lnTo>
                    <a:pt x="1336" y="404"/>
                  </a:lnTo>
                  <a:lnTo>
                    <a:pt x="1338" y="398"/>
                  </a:lnTo>
                  <a:lnTo>
                    <a:pt x="1342" y="394"/>
                  </a:lnTo>
                  <a:lnTo>
                    <a:pt x="1346" y="392"/>
                  </a:lnTo>
                  <a:lnTo>
                    <a:pt x="1348" y="392"/>
                  </a:lnTo>
                  <a:lnTo>
                    <a:pt x="1350" y="392"/>
                  </a:lnTo>
                  <a:lnTo>
                    <a:pt x="1352" y="392"/>
                  </a:lnTo>
                  <a:lnTo>
                    <a:pt x="1354" y="390"/>
                  </a:lnTo>
                  <a:lnTo>
                    <a:pt x="1356" y="386"/>
                  </a:lnTo>
                  <a:lnTo>
                    <a:pt x="1362" y="380"/>
                  </a:lnTo>
                  <a:lnTo>
                    <a:pt x="1364" y="376"/>
                  </a:lnTo>
                  <a:lnTo>
                    <a:pt x="1368" y="372"/>
                  </a:lnTo>
                  <a:lnTo>
                    <a:pt x="1368" y="370"/>
                  </a:lnTo>
                  <a:lnTo>
                    <a:pt x="1370" y="370"/>
                  </a:lnTo>
                  <a:lnTo>
                    <a:pt x="1370" y="372"/>
                  </a:lnTo>
                  <a:lnTo>
                    <a:pt x="1372" y="372"/>
                  </a:lnTo>
                  <a:lnTo>
                    <a:pt x="1374" y="370"/>
                  </a:lnTo>
                  <a:lnTo>
                    <a:pt x="1376" y="374"/>
                  </a:lnTo>
                  <a:lnTo>
                    <a:pt x="1376" y="376"/>
                  </a:lnTo>
                  <a:lnTo>
                    <a:pt x="1378" y="378"/>
                  </a:lnTo>
                  <a:lnTo>
                    <a:pt x="1384" y="380"/>
                  </a:lnTo>
                  <a:lnTo>
                    <a:pt x="1384" y="378"/>
                  </a:lnTo>
                  <a:lnTo>
                    <a:pt x="1382" y="378"/>
                  </a:lnTo>
                  <a:lnTo>
                    <a:pt x="1382" y="376"/>
                  </a:lnTo>
                  <a:lnTo>
                    <a:pt x="1384" y="372"/>
                  </a:lnTo>
                  <a:lnTo>
                    <a:pt x="1386" y="372"/>
                  </a:lnTo>
                  <a:lnTo>
                    <a:pt x="1396" y="370"/>
                  </a:lnTo>
                  <a:lnTo>
                    <a:pt x="1394" y="368"/>
                  </a:lnTo>
                  <a:lnTo>
                    <a:pt x="1392" y="368"/>
                  </a:lnTo>
                  <a:lnTo>
                    <a:pt x="1390" y="368"/>
                  </a:lnTo>
                  <a:lnTo>
                    <a:pt x="1388" y="368"/>
                  </a:lnTo>
                  <a:lnTo>
                    <a:pt x="1386" y="370"/>
                  </a:lnTo>
                  <a:lnTo>
                    <a:pt x="1384" y="370"/>
                  </a:lnTo>
                  <a:lnTo>
                    <a:pt x="1382" y="370"/>
                  </a:lnTo>
                  <a:lnTo>
                    <a:pt x="1380" y="370"/>
                  </a:lnTo>
                  <a:lnTo>
                    <a:pt x="1380" y="366"/>
                  </a:lnTo>
                  <a:lnTo>
                    <a:pt x="1380" y="360"/>
                  </a:lnTo>
                  <a:lnTo>
                    <a:pt x="1382" y="360"/>
                  </a:lnTo>
                  <a:lnTo>
                    <a:pt x="1384" y="360"/>
                  </a:lnTo>
                  <a:lnTo>
                    <a:pt x="1388" y="362"/>
                  </a:lnTo>
                  <a:lnTo>
                    <a:pt x="1390" y="352"/>
                  </a:lnTo>
                  <a:lnTo>
                    <a:pt x="1392" y="350"/>
                  </a:lnTo>
                  <a:lnTo>
                    <a:pt x="1390" y="346"/>
                  </a:lnTo>
                  <a:lnTo>
                    <a:pt x="1388" y="346"/>
                  </a:lnTo>
                  <a:lnTo>
                    <a:pt x="1388" y="344"/>
                  </a:lnTo>
                  <a:lnTo>
                    <a:pt x="1390" y="342"/>
                  </a:lnTo>
                  <a:lnTo>
                    <a:pt x="1390" y="340"/>
                  </a:lnTo>
                  <a:lnTo>
                    <a:pt x="1394" y="336"/>
                  </a:lnTo>
                  <a:lnTo>
                    <a:pt x="1404" y="328"/>
                  </a:lnTo>
                  <a:lnTo>
                    <a:pt x="1404" y="326"/>
                  </a:lnTo>
                  <a:lnTo>
                    <a:pt x="1406" y="330"/>
                  </a:lnTo>
                  <a:lnTo>
                    <a:pt x="1408" y="332"/>
                  </a:lnTo>
                  <a:lnTo>
                    <a:pt x="1412" y="328"/>
                  </a:lnTo>
                  <a:lnTo>
                    <a:pt x="1414" y="326"/>
                  </a:lnTo>
                  <a:lnTo>
                    <a:pt x="1418" y="324"/>
                  </a:lnTo>
                  <a:lnTo>
                    <a:pt x="1420" y="324"/>
                  </a:lnTo>
                  <a:lnTo>
                    <a:pt x="1422" y="324"/>
                  </a:lnTo>
                  <a:lnTo>
                    <a:pt x="1422" y="328"/>
                  </a:lnTo>
                  <a:lnTo>
                    <a:pt x="1422" y="330"/>
                  </a:lnTo>
                  <a:lnTo>
                    <a:pt x="1424" y="328"/>
                  </a:lnTo>
                  <a:lnTo>
                    <a:pt x="1426" y="328"/>
                  </a:lnTo>
                  <a:lnTo>
                    <a:pt x="1428" y="326"/>
                  </a:lnTo>
                  <a:lnTo>
                    <a:pt x="1428" y="324"/>
                  </a:lnTo>
                  <a:lnTo>
                    <a:pt x="1430" y="324"/>
                  </a:lnTo>
                  <a:lnTo>
                    <a:pt x="1432" y="324"/>
                  </a:lnTo>
                  <a:lnTo>
                    <a:pt x="1434" y="328"/>
                  </a:lnTo>
                  <a:lnTo>
                    <a:pt x="1440" y="334"/>
                  </a:lnTo>
                  <a:lnTo>
                    <a:pt x="1440" y="332"/>
                  </a:lnTo>
                  <a:lnTo>
                    <a:pt x="1440" y="330"/>
                  </a:lnTo>
                  <a:lnTo>
                    <a:pt x="1438" y="328"/>
                  </a:lnTo>
                  <a:lnTo>
                    <a:pt x="1436" y="328"/>
                  </a:lnTo>
                  <a:lnTo>
                    <a:pt x="1436" y="326"/>
                  </a:lnTo>
                  <a:lnTo>
                    <a:pt x="1436" y="322"/>
                  </a:lnTo>
                  <a:lnTo>
                    <a:pt x="1438" y="320"/>
                  </a:lnTo>
                  <a:lnTo>
                    <a:pt x="1444" y="322"/>
                  </a:lnTo>
                  <a:lnTo>
                    <a:pt x="1450" y="324"/>
                  </a:lnTo>
                  <a:lnTo>
                    <a:pt x="1452" y="328"/>
                  </a:lnTo>
                  <a:lnTo>
                    <a:pt x="1458" y="330"/>
                  </a:lnTo>
                  <a:lnTo>
                    <a:pt x="1462" y="328"/>
                  </a:lnTo>
                  <a:lnTo>
                    <a:pt x="1464" y="336"/>
                  </a:lnTo>
                  <a:lnTo>
                    <a:pt x="1462" y="336"/>
                  </a:lnTo>
                  <a:lnTo>
                    <a:pt x="1462" y="338"/>
                  </a:lnTo>
                  <a:lnTo>
                    <a:pt x="1466" y="336"/>
                  </a:lnTo>
                  <a:lnTo>
                    <a:pt x="1468" y="332"/>
                  </a:lnTo>
                  <a:lnTo>
                    <a:pt x="1470" y="328"/>
                  </a:lnTo>
                  <a:lnTo>
                    <a:pt x="1472" y="328"/>
                  </a:lnTo>
                  <a:lnTo>
                    <a:pt x="1472" y="330"/>
                  </a:lnTo>
                  <a:lnTo>
                    <a:pt x="1470" y="334"/>
                  </a:lnTo>
                  <a:lnTo>
                    <a:pt x="1472" y="336"/>
                  </a:lnTo>
                  <a:lnTo>
                    <a:pt x="1474" y="334"/>
                  </a:lnTo>
                  <a:lnTo>
                    <a:pt x="1480" y="334"/>
                  </a:lnTo>
                  <a:lnTo>
                    <a:pt x="1482" y="336"/>
                  </a:lnTo>
                  <a:lnTo>
                    <a:pt x="1484" y="342"/>
                  </a:lnTo>
                  <a:lnTo>
                    <a:pt x="1482" y="346"/>
                  </a:lnTo>
                  <a:lnTo>
                    <a:pt x="1484" y="344"/>
                  </a:lnTo>
                  <a:lnTo>
                    <a:pt x="1486" y="346"/>
                  </a:lnTo>
                  <a:lnTo>
                    <a:pt x="1490" y="346"/>
                  </a:lnTo>
                  <a:lnTo>
                    <a:pt x="1492" y="346"/>
                  </a:lnTo>
                  <a:lnTo>
                    <a:pt x="1500" y="344"/>
                  </a:lnTo>
                  <a:lnTo>
                    <a:pt x="1504" y="342"/>
                  </a:lnTo>
                  <a:lnTo>
                    <a:pt x="1502" y="348"/>
                  </a:lnTo>
                  <a:lnTo>
                    <a:pt x="1500" y="352"/>
                  </a:lnTo>
                  <a:lnTo>
                    <a:pt x="1500" y="354"/>
                  </a:lnTo>
                  <a:lnTo>
                    <a:pt x="1506" y="352"/>
                  </a:lnTo>
                  <a:lnTo>
                    <a:pt x="1508" y="350"/>
                  </a:lnTo>
                  <a:lnTo>
                    <a:pt x="1510" y="354"/>
                  </a:lnTo>
                  <a:lnTo>
                    <a:pt x="1510" y="356"/>
                  </a:lnTo>
                  <a:lnTo>
                    <a:pt x="1512" y="356"/>
                  </a:lnTo>
                  <a:lnTo>
                    <a:pt x="1514" y="356"/>
                  </a:lnTo>
                  <a:lnTo>
                    <a:pt x="1512" y="354"/>
                  </a:lnTo>
                  <a:lnTo>
                    <a:pt x="1514" y="350"/>
                  </a:lnTo>
                  <a:lnTo>
                    <a:pt x="1516" y="348"/>
                  </a:lnTo>
                  <a:lnTo>
                    <a:pt x="1520" y="352"/>
                  </a:lnTo>
                  <a:lnTo>
                    <a:pt x="1522" y="354"/>
                  </a:lnTo>
                  <a:lnTo>
                    <a:pt x="1522" y="358"/>
                  </a:lnTo>
                  <a:lnTo>
                    <a:pt x="1522" y="360"/>
                  </a:lnTo>
                  <a:lnTo>
                    <a:pt x="1526" y="360"/>
                  </a:lnTo>
                  <a:lnTo>
                    <a:pt x="1530" y="354"/>
                  </a:lnTo>
                  <a:lnTo>
                    <a:pt x="1530" y="356"/>
                  </a:lnTo>
                  <a:lnTo>
                    <a:pt x="1532" y="364"/>
                  </a:lnTo>
                  <a:lnTo>
                    <a:pt x="1534" y="364"/>
                  </a:lnTo>
                  <a:lnTo>
                    <a:pt x="1534" y="362"/>
                  </a:lnTo>
                  <a:lnTo>
                    <a:pt x="1536" y="360"/>
                  </a:lnTo>
                  <a:lnTo>
                    <a:pt x="1538" y="360"/>
                  </a:lnTo>
                  <a:lnTo>
                    <a:pt x="1544" y="362"/>
                  </a:lnTo>
                  <a:lnTo>
                    <a:pt x="1546" y="364"/>
                  </a:lnTo>
                  <a:lnTo>
                    <a:pt x="1542" y="370"/>
                  </a:lnTo>
                  <a:lnTo>
                    <a:pt x="1544" y="374"/>
                  </a:lnTo>
                  <a:lnTo>
                    <a:pt x="1544" y="376"/>
                  </a:lnTo>
                  <a:lnTo>
                    <a:pt x="1548" y="368"/>
                  </a:lnTo>
                  <a:lnTo>
                    <a:pt x="1550" y="362"/>
                  </a:lnTo>
                  <a:lnTo>
                    <a:pt x="1552" y="362"/>
                  </a:lnTo>
                  <a:lnTo>
                    <a:pt x="1552" y="366"/>
                  </a:lnTo>
                  <a:lnTo>
                    <a:pt x="1552" y="368"/>
                  </a:lnTo>
                  <a:lnTo>
                    <a:pt x="1552" y="370"/>
                  </a:lnTo>
                  <a:lnTo>
                    <a:pt x="1550" y="372"/>
                  </a:lnTo>
                  <a:lnTo>
                    <a:pt x="1548" y="374"/>
                  </a:lnTo>
                  <a:lnTo>
                    <a:pt x="1548" y="384"/>
                  </a:lnTo>
                  <a:lnTo>
                    <a:pt x="1550" y="386"/>
                  </a:lnTo>
                  <a:lnTo>
                    <a:pt x="1552" y="386"/>
                  </a:lnTo>
                  <a:lnTo>
                    <a:pt x="1556" y="382"/>
                  </a:lnTo>
                  <a:lnTo>
                    <a:pt x="1556" y="380"/>
                  </a:lnTo>
                  <a:lnTo>
                    <a:pt x="1554" y="378"/>
                  </a:lnTo>
                  <a:lnTo>
                    <a:pt x="1554" y="376"/>
                  </a:lnTo>
                  <a:lnTo>
                    <a:pt x="1558" y="374"/>
                  </a:lnTo>
                  <a:lnTo>
                    <a:pt x="1560" y="372"/>
                  </a:lnTo>
                  <a:lnTo>
                    <a:pt x="1564" y="370"/>
                  </a:lnTo>
                  <a:lnTo>
                    <a:pt x="1568" y="372"/>
                  </a:lnTo>
                  <a:lnTo>
                    <a:pt x="1570" y="372"/>
                  </a:lnTo>
                  <a:lnTo>
                    <a:pt x="1576" y="368"/>
                  </a:lnTo>
                  <a:lnTo>
                    <a:pt x="1576" y="370"/>
                  </a:lnTo>
                  <a:lnTo>
                    <a:pt x="1576" y="372"/>
                  </a:lnTo>
                  <a:lnTo>
                    <a:pt x="1574" y="372"/>
                  </a:lnTo>
                  <a:lnTo>
                    <a:pt x="1572" y="376"/>
                  </a:lnTo>
                  <a:lnTo>
                    <a:pt x="1570" y="378"/>
                  </a:lnTo>
                  <a:lnTo>
                    <a:pt x="1572" y="378"/>
                  </a:lnTo>
                  <a:lnTo>
                    <a:pt x="1572" y="380"/>
                  </a:lnTo>
                  <a:lnTo>
                    <a:pt x="1574" y="378"/>
                  </a:lnTo>
                  <a:lnTo>
                    <a:pt x="1578" y="378"/>
                  </a:lnTo>
                  <a:lnTo>
                    <a:pt x="1580" y="378"/>
                  </a:lnTo>
                  <a:lnTo>
                    <a:pt x="1580" y="380"/>
                  </a:lnTo>
                  <a:lnTo>
                    <a:pt x="1580" y="384"/>
                  </a:lnTo>
                  <a:lnTo>
                    <a:pt x="1584" y="390"/>
                  </a:lnTo>
                  <a:lnTo>
                    <a:pt x="1586" y="390"/>
                  </a:lnTo>
                  <a:lnTo>
                    <a:pt x="1588" y="388"/>
                  </a:lnTo>
                  <a:lnTo>
                    <a:pt x="1592" y="390"/>
                  </a:lnTo>
                  <a:lnTo>
                    <a:pt x="1594" y="392"/>
                  </a:lnTo>
                  <a:lnTo>
                    <a:pt x="1594" y="394"/>
                  </a:lnTo>
                  <a:lnTo>
                    <a:pt x="1594" y="396"/>
                  </a:lnTo>
                  <a:lnTo>
                    <a:pt x="1596" y="400"/>
                  </a:lnTo>
                  <a:lnTo>
                    <a:pt x="1596" y="404"/>
                  </a:lnTo>
                  <a:lnTo>
                    <a:pt x="1590" y="410"/>
                  </a:lnTo>
                  <a:lnTo>
                    <a:pt x="1588" y="414"/>
                  </a:lnTo>
                  <a:lnTo>
                    <a:pt x="1586" y="416"/>
                  </a:lnTo>
                  <a:lnTo>
                    <a:pt x="1588" y="418"/>
                  </a:lnTo>
                  <a:lnTo>
                    <a:pt x="1588" y="416"/>
                  </a:lnTo>
                  <a:lnTo>
                    <a:pt x="1588" y="414"/>
                  </a:lnTo>
                  <a:lnTo>
                    <a:pt x="1594" y="410"/>
                  </a:lnTo>
                  <a:lnTo>
                    <a:pt x="1598" y="410"/>
                  </a:lnTo>
                  <a:lnTo>
                    <a:pt x="1600" y="410"/>
                  </a:lnTo>
                  <a:lnTo>
                    <a:pt x="1600" y="412"/>
                  </a:lnTo>
                  <a:lnTo>
                    <a:pt x="1602" y="418"/>
                  </a:lnTo>
                  <a:lnTo>
                    <a:pt x="1602" y="420"/>
                  </a:lnTo>
                  <a:lnTo>
                    <a:pt x="1602" y="424"/>
                  </a:lnTo>
                  <a:lnTo>
                    <a:pt x="1600" y="424"/>
                  </a:lnTo>
                  <a:lnTo>
                    <a:pt x="1598" y="424"/>
                  </a:lnTo>
                  <a:lnTo>
                    <a:pt x="1594" y="428"/>
                  </a:lnTo>
                  <a:lnTo>
                    <a:pt x="1590" y="432"/>
                  </a:lnTo>
                  <a:lnTo>
                    <a:pt x="1590" y="436"/>
                  </a:lnTo>
                  <a:lnTo>
                    <a:pt x="1588" y="438"/>
                  </a:lnTo>
                  <a:lnTo>
                    <a:pt x="1586" y="444"/>
                  </a:lnTo>
                  <a:lnTo>
                    <a:pt x="1584" y="452"/>
                  </a:lnTo>
                  <a:lnTo>
                    <a:pt x="1584" y="456"/>
                  </a:lnTo>
                  <a:lnTo>
                    <a:pt x="1586" y="458"/>
                  </a:lnTo>
                  <a:lnTo>
                    <a:pt x="1588" y="458"/>
                  </a:lnTo>
                  <a:lnTo>
                    <a:pt x="1588" y="460"/>
                  </a:lnTo>
                  <a:lnTo>
                    <a:pt x="1580" y="468"/>
                  </a:lnTo>
                  <a:lnTo>
                    <a:pt x="1578" y="468"/>
                  </a:lnTo>
                  <a:lnTo>
                    <a:pt x="1578" y="474"/>
                  </a:lnTo>
                  <a:lnTo>
                    <a:pt x="1580" y="472"/>
                  </a:lnTo>
                  <a:lnTo>
                    <a:pt x="1586" y="468"/>
                  </a:lnTo>
                  <a:lnTo>
                    <a:pt x="1588" y="464"/>
                  </a:lnTo>
                  <a:lnTo>
                    <a:pt x="1592" y="460"/>
                  </a:lnTo>
                  <a:lnTo>
                    <a:pt x="1596" y="458"/>
                  </a:lnTo>
                  <a:lnTo>
                    <a:pt x="1596" y="456"/>
                  </a:lnTo>
                  <a:lnTo>
                    <a:pt x="1598" y="454"/>
                  </a:lnTo>
                  <a:lnTo>
                    <a:pt x="1600" y="452"/>
                  </a:lnTo>
                  <a:lnTo>
                    <a:pt x="1600" y="450"/>
                  </a:lnTo>
                  <a:lnTo>
                    <a:pt x="1602" y="440"/>
                  </a:lnTo>
                  <a:lnTo>
                    <a:pt x="1602" y="432"/>
                  </a:lnTo>
                  <a:lnTo>
                    <a:pt x="1602" y="430"/>
                  </a:lnTo>
                  <a:lnTo>
                    <a:pt x="1608" y="428"/>
                  </a:lnTo>
                  <a:lnTo>
                    <a:pt x="1610" y="428"/>
                  </a:lnTo>
                  <a:lnTo>
                    <a:pt x="1612" y="426"/>
                  </a:lnTo>
                  <a:lnTo>
                    <a:pt x="1616" y="424"/>
                  </a:lnTo>
                  <a:lnTo>
                    <a:pt x="1618" y="424"/>
                  </a:lnTo>
                  <a:lnTo>
                    <a:pt x="1620" y="424"/>
                  </a:lnTo>
                  <a:lnTo>
                    <a:pt x="1620" y="430"/>
                  </a:lnTo>
                  <a:lnTo>
                    <a:pt x="1620" y="432"/>
                  </a:lnTo>
                  <a:lnTo>
                    <a:pt x="1614" y="438"/>
                  </a:lnTo>
                  <a:lnTo>
                    <a:pt x="1612" y="440"/>
                  </a:lnTo>
                  <a:lnTo>
                    <a:pt x="1608" y="440"/>
                  </a:lnTo>
                  <a:lnTo>
                    <a:pt x="1608" y="442"/>
                  </a:lnTo>
                  <a:lnTo>
                    <a:pt x="1604" y="444"/>
                  </a:lnTo>
                  <a:lnTo>
                    <a:pt x="1604" y="448"/>
                  </a:lnTo>
                  <a:lnTo>
                    <a:pt x="1606" y="448"/>
                  </a:lnTo>
                  <a:lnTo>
                    <a:pt x="1608" y="446"/>
                  </a:lnTo>
                  <a:lnTo>
                    <a:pt x="1612" y="444"/>
                  </a:lnTo>
                  <a:lnTo>
                    <a:pt x="1612" y="448"/>
                  </a:lnTo>
                  <a:lnTo>
                    <a:pt x="1610" y="450"/>
                  </a:lnTo>
                  <a:lnTo>
                    <a:pt x="1612" y="450"/>
                  </a:lnTo>
                  <a:lnTo>
                    <a:pt x="1616" y="444"/>
                  </a:lnTo>
                  <a:lnTo>
                    <a:pt x="1620" y="438"/>
                  </a:lnTo>
                  <a:lnTo>
                    <a:pt x="1622" y="436"/>
                  </a:lnTo>
                  <a:lnTo>
                    <a:pt x="1626" y="432"/>
                  </a:lnTo>
                  <a:lnTo>
                    <a:pt x="1628" y="432"/>
                  </a:lnTo>
                  <a:lnTo>
                    <a:pt x="1632" y="432"/>
                  </a:lnTo>
                  <a:lnTo>
                    <a:pt x="1638" y="430"/>
                  </a:lnTo>
                  <a:lnTo>
                    <a:pt x="1646" y="430"/>
                  </a:lnTo>
                  <a:lnTo>
                    <a:pt x="1652" y="432"/>
                  </a:lnTo>
                  <a:lnTo>
                    <a:pt x="1652" y="428"/>
                  </a:lnTo>
                  <a:lnTo>
                    <a:pt x="1650" y="424"/>
                  </a:lnTo>
                  <a:lnTo>
                    <a:pt x="1650" y="422"/>
                  </a:lnTo>
                  <a:lnTo>
                    <a:pt x="1652" y="422"/>
                  </a:lnTo>
                  <a:lnTo>
                    <a:pt x="1658" y="422"/>
                  </a:lnTo>
                  <a:lnTo>
                    <a:pt x="1660" y="422"/>
                  </a:lnTo>
                  <a:lnTo>
                    <a:pt x="1662" y="422"/>
                  </a:lnTo>
                  <a:lnTo>
                    <a:pt x="1666" y="424"/>
                  </a:lnTo>
                  <a:lnTo>
                    <a:pt x="1670" y="426"/>
                  </a:lnTo>
                  <a:lnTo>
                    <a:pt x="1674" y="428"/>
                  </a:lnTo>
                  <a:lnTo>
                    <a:pt x="1676" y="428"/>
                  </a:lnTo>
                  <a:lnTo>
                    <a:pt x="1678" y="428"/>
                  </a:lnTo>
                  <a:lnTo>
                    <a:pt x="1680" y="428"/>
                  </a:lnTo>
                  <a:lnTo>
                    <a:pt x="1682" y="430"/>
                  </a:lnTo>
                  <a:lnTo>
                    <a:pt x="1686" y="432"/>
                  </a:lnTo>
                  <a:lnTo>
                    <a:pt x="1690" y="432"/>
                  </a:lnTo>
                  <a:lnTo>
                    <a:pt x="1692" y="432"/>
                  </a:lnTo>
                  <a:lnTo>
                    <a:pt x="1694" y="434"/>
                  </a:lnTo>
                  <a:lnTo>
                    <a:pt x="1696" y="438"/>
                  </a:lnTo>
                  <a:lnTo>
                    <a:pt x="1702" y="442"/>
                  </a:lnTo>
                  <a:lnTo>
                    <a:pt x="1706" y="444"/>
                  </a:lnTo>
                  <a:lnTo>
                    <a:pt x="1712" y="446"/>
                  </a:lnTo>
                  <a:lnTo>
                    <a:pt x="1714" y="444"/>
                  </a:lnTo>
                  <a:lnTo>
                    <a:pt x="1716" y="444"/>
                  </a:lnTo>
                  <a:lnTo>
                    <a:pt x="1718" y="448"/>
                  </a:lnTo>
                  <a:lnTo>
                    <a:pt x="1718" y="450"/>
                  </a:lnTo>
                  <a:lnTo>
                    <a:pt x="1718" y="448"/>
                  </a:lnTo>
                  <a:lnTo>
                    <a:pt x="1724" y="448"/>
                  </a:lnTo>
                  <a:lnTo>
                    <a:pt x="1726" y="448"/>
                  </a:lnTo>
                  <a:lnTo>
                    <a:pt x="1728" y="450"/>
                  </a:lnTo>
                  <a:lnTo>
                    <a:pt x="1732" y="450"/>
                  </a:lnTo>
                  <a:lnTo>
                    <a:pt x="1734" y="448"/>
                  </a:lnTo>
                  <a:lnTo>
                    <a:pt x="1734" y="446"/>
                  </a:lnTo>
                  <a:lnTo>
                    <a:pt x="1732" y="444"/>
                  </a:lnTo>
                  <a:lnTo>
                    <a:pt x="1734" y="444"/>
                  </a:lnTo>
                  <a:lnTo>
                    <a:pt x="1736" y="444"/>
                  </a:lnTo>
                  <a:lnTo>
                    <a:pt x="1738" y="444"/>
                  </a:lnTo>
                  <a:lnTo>
                    <a:pt x="1738" y="446"/>
                  </a:lnTo>
                  <a:lnTo>
                    <a:pt x="1740" y="446"/>
                  </a:lnTo>
                  <a:lnTo>
                    <a:pt x="1744" y="448"/>
                  </a:lnTo>
                  <a:lnTo>
                    <a:pt x="1746" y="450"/>
                  </a:lnTo>
                  <a:lnTo>
                    <a:pt x="1748" y="450"/>
                  </a:lnTo>
                  <a:lnTo>
                    <a:pt x="1748" y="452"/>
                  </a:lnTo>
                  <a:lnTo>
                    <a:pt x="1746" y="452"/>
                  </a:lnTo>
                  <a:lnTo>
                    <a:pt x="1748" y="452"/>
                  </a:lnTo>
                  <a:lnTo>
                    <a:pt x="1752" y="452"/>
                  </a:lnTo>
                  <a:lnTo>
                    <a:pt x="1756" y="454"/>
                  </a:lnTo>
                  <a:lnTo>
                    <a:pt x="1756" y="452"/>
                  </a:lnTo>
                  <a:lnTo>
                    <a:pt x="1758" y="452"/>
                  </a:lnTo>
                  <a:lnTo>
                    <a:pt x="1762" y="454"/>
                  </a:lnTo>
                  <a:lnTo>
                    <a:pt x="1766" y="454"/>
                  </a:lnTo>
                  <a:lnTo>
                    <a:pt x="1770" y="458"/>
                  </a:lnTo>
                  <a:lnTo>
                    <a:pt x="1770" y="460"/>
                  </a:lnTo>
                  <a:lnTo>
                    <a:pt x="1772" y="460"/>
                  </a:lnTo>
                  <a:lnTo>
                    <a:pt x="1772" y="458"/>
                  </a:lnTo>
                  <a:lnTo>
                    <a:pt x="1770" y="454"/>
                  </a:lnTo>
                  <a:lnTo>
                    <a:pt x="1772" y="452"/>
                  </a:lnTo>
                  <a:lnTo>
                    <a:pt x="1790" y="452"/>
                  </a:lnTo>
                  <a:lnTo>
                    <a:pt x="1794" y="452"/>
                  </a:lnTo>
                  <a:lnTo>
                    <a:pt x="1802" y="450"/>
                  </a:lnTo>
                  <a:lnTo>
                    <a:pt x="1804" y="450"/>
                  </a:lnTo>
                  <a:lnTo>
                    <a:pt x="1806" y="450"/>
                  </a:lnTo>
                  <a:lnTo>
                    <a:pt x="1808" y="450"/>
                  </a:lnTo>
                  <a:lnTo>
                    <a:pt x="1810" y="448"/>
                  </a:lnTo>
                  <a:lnTo>
                    <a:pt x="1812" y="448"/>
                  </a:lnTo>
                  <a:lnTo>
                    <a:pt x="1820" y="448"/>
                  </a:lnTo>
                  <a:lnTo>
                    <a:pt x="1828" y="450"/>
                  </a:lnTo>
                  <a:lnTo>
                    <a:pt x="1838" y="452"/>
                  </a:lnTo>
                  <a:lnTo>
                    <a:pt x="1846" y="454"/>
                  </a:lnTo>
                  <a:lnTo>
                    <a:pt x="1846" y="456"/>
                  </a:lnTo>
                  <a:lnTo>
                    <a:pt x="1852" y="460"/>
                  </a:lnTo>
                  <a:lnTo>
                    <a:pt x="1852" y="462"/>
                  </a:lnTo>
                  <a:lnTo>
                    <a:pt x="1862" y="466"/>
                  </a:lnTo>
                  <a:lnTo>
                    <a:pt x="1866" y="470"/>
                  </a:lnTo>
                  <a:lnTo>
                    <a:pt x="1870" y="470"/>
                  </a:lnTo>
                  <a:lnTo>
                    <a:pt x="1880" y="476"/>
                  </a:lnTo>
                  <a:lnTo>
                    <a:pt x="1888" y="482"/>
                  </a:lnTo>
                  <a:lnTo>
                    <a:pt x="1890" y="482"/>
                  </a:lnTo>
                  <a:lnTo>
                    <a:pt x="1892" y="482"/>
                  </a:lnTo>
                  <a:lnTo>
                    <a:pt x="1894" y="484"/>
                  </a:lnTo>
                  <a:lnTo>
                    <a:pt x="1896" y="488"/>
                  </a:lnTo>
                  <a:lnTo>
                    <a:pt x="1900" y="490"/>
                  </a:lnTo>
                  <a:lnTo>
                    <a:pt x="1910" y="500"/>
                  </a:lnTo>
                  <a:lnTo>
                    <a:pt x="1916" y="502"/>
                  </a:lnTo>
                  <a:lnTo>
                    <a:pt x="1918" y="502"/>
                  </a:lnTo>
                  <a:lnTo>
                    <a:pt x="1926" y="512"/>
                  </a:lnTo>
                  <a:lnTo>
                    <a:pt x="1928" y="514"/>
                  </a:lnTo>
                  <a:lnTo>
                    <a:pt x="1930" y="516"/>
                  </a:lnTo>
                  <a:lnTo>
                    <a:pt x="1936" y="522"/>
                  </a:lnTo>
                  <a:lnTo>
                    <a:pt x="1936" y="524"/>
                  </a:lnTo>
                  <a:lnTo>
                    <a:pt x="1938" y="524"/>
                  </a:lnTo>
                  <a:lnTo>
                    <a:pt x="1938" y="526"/>
                  </a:lnTo>
                  <a:lnTo>
                    <a:pt x="1940" y="530"/>
                  </a:lnTo>
                  <a:lnTo>
                    <a:pt x="1944" y="532"/>
                  </a:lnTo>
                  <a:lnTo>
                    <a:pt x="1948" y="536"/>
                  </a:lnTo>
                  <a:lnTo>
                    <a:pt x="1954" y="542"/>
                  </a:lnTo>
                  <a:lnTo>
                    <a:pt x="1958" y="546"/>
                  </a:lnTo>
                  <a:lnTo>
                    <a:pt x="1958" y="548"/>
                  </a:lnTo>
                  <a:lnTo>
                    <a:pt x="1962" y="552"/>
                  </a:lnTo>
                  <a:lnTo>
                    <a:pt x="1966" y="554"/>
                  </a:lnTo>
                  <a:lnTo>
                    <a:pt x="1968" y="556"/>
                  </a:lnTo>
                  <a:lnTo>
                    <a:pt x="1972" y="556"/>
                  </a:lnTo>
                  <a:lnTo>
                    <a:pt x="1976" y="556"/>
                  </a:lnTo>
                  <a:lnTo>
                    <a:pt x="1978" y="558"/>
                  </a:lnTo>
                  <a:lnTo>
                    <a:pt x="1980" y="560"/>
                  </a:lnTo>
                  <a:lnTo>
                    <a:pt x="1982" y="562"/>
                  </a:lnTo>
                  <a:lnTo>
                    <a:pt x="1984" y="566"/>
                  </a:lnTo>
                  <a:lnTo>
                    <a:pt x="1984" y="568"/>
                  </a:lnTo>
                  <a:lnTo>
                    <a:pt x="1986" y="570"/>
                  </a:lnTo>
                  <a:lnTo>
                    <a:pt x="1988" y="572"/>
                  </a:lnTo>
                  <a:lnTo>
                    <a:pt x="1990" y="572"/>
                  </a:lnTo>
                  <a:lnTo>
                    <a:pt x="1994" y="572"/>
                  </a:lnTo>
                  <a:lnTo>
                    <a:pt x="2000" y="572"/>
                  </a:lnTo>
                  <a:lnTo>
                    <a:pt x="2004" y="574"/>
                  </a:lnTo>
                  <a:lnTo>
                    <a:pt x="2006" y="578"/>
                  </a:lnTo>
                  <a:lnTo>
                    <a:pt x="2008" y="580"/>
                  </a:lnTo>
                  <a:lnTo>
                    <a:pt x="2010" y="580"/>
                  </a:lnTo>
                  <a:lnTo>
                    <a:pt x="2014" y="582"/>
                  </a:lnTo>
                  <a:lnTo>
                    <a:pt x="2018" y="582"/>
                  </a:lnTo>
                  <a:lnTo>
                    <a:pt x="2020" y="582"/>
                  </a:lnTo>
                  <a:lnTo>
                    <a:pt x="2026" y="582"/>
                  </a:lnTo>
                  <a:lnTo>
                    <a:pt x="2028" y="582"/>
                  </a:lnTo>
                  <a:lnTo>
                    <a:pt x="2032" y="582"/>
                  </a:lnTo>
                  <a:lnTo>
                    <a:pt x="2034" y="584"/>
                  </a:lnTo>
                  <a:lnTo>
                    <a:pt x="2044" y="582"/>
                  </a:lnTo>
                  <a:lnTo>
                    <a:pt x="2048" y="582"/>
                  </a:lnTo>
                  <a:lnTo>
                    <a:pt x="2050" y="580"/>
                  </a:lnTo>
                  <a:lnTo>
                    <a:pt x="2052" y="580"/>
                  </a:lnTo>
                  <a:lnTo>
                    <a:pt x="2054" y="580"/>
                  </a:lnTo>
                  <a:lnTo>
                    <a:pt x="2058" y="582"/>
                  </a:lnTo>
                  <a:lnTo>
                    <a:pt x="2068" y="584"/>
                  </a:lnTo>
                  <a:lnTo>
                    <a:pt x="2070" y="584"/>
                  </a:lnTo>
                  <a:lnTo>
                    <a:pt x="2072" y="584"/>
                  </a:lnTo>
                  <a:lnTo>
                    <a:pt x="2076" y="588"/>
                  </a:lnTo>
                  <a:lnTo>
                    <a:pt x="2078" y="588"/>
                  </a:lnTo>
                  <a:lnTo>
                    <a:pt x="2082" y="592"/>
                  </a:lnTo>
                  <a:lnTo>
                    <a:pt x="2084" y="596"/>
                  </a:lnTo>
                  <a:lnTo>
                    <a:pt x="2086" y="600"/>
                  </a:lnTo>
                  <a:lnTo>
                    <a:pt x="2092" y="612"/>
                  </a:lnTo>
                  <a:lnTo>
                    <a:pt x="2092" y="620"/>
                  </a:lnTo>
                  <a:lnTo>
                    <a:pt x="2092" y="622"/>
                  </a:lnTo>
                  <a:lnTo>
                    <a:pt x="2094" y="634"/>
                  </a:lnTo>
                  <a:lnTo>
                    <a:pt x="2096" y="636"/>
                  </a:lnTo>
                  <a:lnTo>
                    <a:pt x="2096" y="642"/>
                  </a:lnTo>
                  <a:lnTo>
                    <a:pt x="2096" y="648"/>
                  </a:lnTo>
                  <a:lnTo>
                    <a:pt x="2098" y="648"/>
                  </a:lnTo>
                  <a:lnTo>
                    <a:pt x="2100" y="652"/>
                  </a:lnTo>
                  <a:lnTo>
                    <a:pt x="2102" y="660"/>
                  </a:lnTo>
                  <a:lnTo>
                    <a:pt x="2104" y="662"/>
                  </a:lnTo>
                  <a:lnTo>
                    <a:pt x="2104" y="666"/>
                  </a:lnTo>
                  <a:lnTo>
                    <a:pt x="2104" y="670"/>
                  </a:lnTo>
                  <a:lnTo>
                    <a:pt x="2104" y="672"/>
                  </a:lnTo>
                  <a:lnTo>
                    <a:pt x="2102" y="674"/>
                  </a:lnTo>
                  <a:lnTo>
                    <a:pt x="2104" y="676"/>
                  </a:lnTo>
                  <a:lnTo>
                    <a:pt x="2106" y="690"/>
                  </a:lnTo>
                  <a:lnTo>
                    <a:pt x="2106" y="692"/>
                  </a:lnTo>
                  <a:lnTo>
                    <a:pt x="2106" y="694"/>
                  </a:lnTo>
                  <a:lnTo>
                    <a:pt x="2106" y="698"/>
                  </a:lnTo>
                  <a:lnTo>
                    <a:pt x="2104" y="700"/>
                  </a:lnTo>
                  <a:lnTo>
                    <a:pt x="2104" y="702"/>
                  </a:lnTo>
                  <a:lnTo>
                    <a:pt x="2106" y="700"/>
                  </a:lnTo>
                  <a:lnTo>
                    <a:pt x="2108" y="696"/>
                  </a:lnTo>
                  <a:lnTo>
                    <a:pt x="2108" y="694"/>
                  </a:lnTo>
                  <a:lnTo>
                    <a:pt x="2108" y="698"/>
                  </a:lnTo>
                  <a:lnTo>
                    <a:pt x="2108" y="700"/>
                  </a:lnTo>
                  <a:lnTo>
                    <a:pt x="2108" y="702"/>
                  </a:lnTo>
                  <a:lnTo>
                    <a:pt x="2110" y="706"/>
                  </a:lnTo>
                  <a:lnTo>
                    <a:pt x="2110" y="716"/>
                  </a:lnTo>
                  <a:lnTo>
                    <a:pt x="2108" y="718"/>
                  </a:lnTo>
                  <a:lnTo>
                    <a:pt x="2108" y="726"/>
                  </a:lnTo>
                  <a:lnTo>
                    <a:pt x="2106" y="728"/>
                  </a:lnTo>
                  <a:lnTo>
                    <a:pt x="2104" y="728"/>
                  </a:lnTo>
                  <a:lnTo>
                    <a:pt x="2106" y="728"/>
                  </a:lnTo>
                  <a:lnTo>
                    <a:pt x="2108" y="730"/>
                  </a:lnTo>
                  <a:lnTo>
                    <a:pt x="2108" y="732"/>
                  </a:lnTo>
                  <a:lnTo>
                    <a:pt x="2106" y="736"/>
                  </a:lnTo>
                  <a:lnTo>
                    <a:pt x="2104" y="736"/>
                  </a:lnTo>
                  <a:lnTo>
                    <a:pt x="2104" y="740"/>
                  </a:lnTo>
                  <a:lnTo>
                    <a:pt x="2104" y="742"/>
                  </a:lnTo>
                  <a:lnTo>
                    <a:pt x="2104" y="744"/>
                  </a:lnTo>
                  <a:lnTo>
                    <a:pt x="2106" y="746"/>
                  </a:lnTo>
                  <a:lnTo>
                    <a:pt x="2106" y="748"/>
                  </a:lnTo>
                  <a:lnTo>
                    <a:pt x="2106" y="750"/>
                  </a:lnTo>
                  <a:lnTo>
                    <a:pt x="2104" y="754"/>
                  </a:lnTo>
                  <a:lnTo>
                    <a:pt x="2104" y="758"/>
                  </a:lnTo>
                  <a:lnTo>
                    <a:pt x="2100" y="764"/>
                  </a:lnTo>
                  <a:lnTo>
                    <a:pt x="2098" y="774"/>
                  </a:lnTo>
                  <a:lnTo>
                    <a:pt x="2092" y="790"/>
                  </a:lnTo>
                  <a:lnTo>
                    <a:pt x="2090" y="792"/>
                  </a:lnTo>
                  <a:lnTo>
                    <a:pt x="2088" y="798"/>
                  </a:lnTo>
                  <a:lnTo>
                    <a:pt x="2086" y="804"/>
                  </a:lnTo>
                  <a:lnTo>
                    <a:pt x="2086" y="806"/>
                  </a:lnTo>
                  <a:lnTo>
                    <a:pt x="2084" y="808"/>
                  </a:lnTo>
                  <a:lnTo>
                    <a:pt x="2084" y="810"/>
                  </a:lnTo>
                  <a:lnTo>
                    <a:pt x="2082" y="812"/>
                  </a:lnTo>
                  <a:lnTo>
                    <a:pt x="2080" y="814"/>
                  </a:lnTo>
                  <a:lnTo>
                    <a:pt x="2076" y="820"/>
                  </a:lnTo>
                  <a:lnTo>
                    <a:pt x="2074" y="824"/>
                  </a:lnTo>
                  <a:lnTo>
                    <a:pt x="2070" y="828"/>
                  </a:lnTo>
                  <a:lnTo>
                    <a:pt x="2070" y="830"/>
                  </a:lnTo>
                  <a:lnTo>
                    <a:pt x="2058" y="842"/>
                  </a:lnTo>
                  <a:lnTo>
                    <a:pt x="2054" y="846"/>
                  </a:lnTo>
                  <a:lnTo>
                    <a:pt x="2048" y="852"/>
                  </a:lnTo>
                  <a:lnTo>
                    <a:pt x="2044" y="856"/>
                  </a:lnTo>
                  <a:lnTo>
                    <a:pt x="2042" y="858"/>
                  </a:lnTo>
                  <a:lnTo>
                    <a:pt x="2040" y="860"/>
                  </a:lnTo>
                  <a:lnTo>
                    <a:pt x="2032" y="872"/>
                  </a:lnTo>
                  <a:lnTo>
                    <a:pt x="2028" y="876"/>
                  </a:lnTo>
                  <a:lnTo>
                    <a:pt x="2026" y="878"/>
                  </a:lnTo>
                  <a:lnTo>
                    <a:pt x="2022" y="880"/>
                  </a:lnTo>
                  <a:lnTo>
                    <a:pt x="2020" y="882"/>
                  </a:lnTo>
                  <a:lnTo>
                    <a:pt x="2018" y="884"/>
                  </a:lnTo>
                  <a:lnTo>
                    <a:pt x="2016" y="890"/>
                  </a:lnTo>
                  <a:lnTo>
                    <a:pt x="2012" y="894"/>
                  </a:lnTo>
                  <a:lnTo>
                    <a:pt x="2012" y="896"/>
                  </a:lnTo>
                  <a:lnTo>
                    <a:pt x="2008" y="896"/>
                  </a:lnTo>
                  <a:lnTo>
                    <a:pt x="2004" y="896"/>
                  </a:lnTo>
                  <a:lnTo>
                    <a:pt x="2002" y="898"/>
                  </a:lnTo>
                  <a:lnTo>
                    <a:pt x="1996" y="902"/>
                  </a:lnTo>
                  <a:lnTo>
                    <a:pt x="1994" y="902"/>
                  </a:lnTo>
                  <a:lnTo>
                    <a:pt x="1986" y="908"/>
                  </a:lnTo>
                  <a:lnTo>
                    <a:pt x="1982" y="912"/>
                  </a:lnTo>
                  <a:lnTo>
                    <a:pt x="1980" y="914"/>
                  </a:lnTo>
                  <a:lnTo>
                    <a:pt x="1978" y="918"/>
                  </a:lnTo>
                  <a:lnTo>
                    <a:pt x="1976" y="918"/>
                  </a:lnTo>
                  <a:lnTo>
                    <a:pt x="1976" y="916"/>
                  </a:lnTo>
                  <a:lnTo>
                    <a:pt x="1976" y="914"/>
                  </a:lnTo>
                  <a:lnTo>
                    <a:pt x="1976" y="912"/>
                  </a:lnTo>
                  <a:lnTo>
                    <a:pt x="1974" y="908"/>
                  </a:lnTo>
                  <a:lnTo>
                    <a:pt x="1970" y="908"/>
                  </a:lnTo>
                  <a:lnTo>
                    <a:pt x="1970" y="912"/>
                  </a:lnTo>
                  <a:lnTo>
                    <a:pt x="1974" y="912"/>
                  </a:lnTo>
                  <a:lnTo>
                    <a:pt x="1976" y="912"/>
                  </a:lnTo>
                  <a:lnTo>
                    <a:pt x="1976" y="914"/>
                  </a:lnTo>
                  <a:lnTo>
                    <a:pt x="1974" y="922"/>
                  </a:lnTo>
                  <a:lnTo>
                    <a:pt x="1968" y="928"/>
                  </a:lnTo>
                  <a:lnTo>
                    <a:pt x="1966" y="928"/>
                  </a:lnTo>
                  <a:lnTo>
                    <a:pt x="1966" y="926"/>
                  </a:lnTo>
                  <a:lnTo>
                    <a:pt x="1966" y="924"/>
                  </a:lnTo>
                  <a:lnTo>
                    <a:pt x="1964" y="924"/>
                  </a:lnTo>
                  <a:lnTo>
                    <a:pt x="1962" y="924"/>
                  </a:lnTo>
                  <a:lnTo>
                    <a:pt x="1962" y="926"/>
                  </a:lnTo>
                  <a:lnTo>
                    <a:pt x="1964" y="928"/>
                  </a:lnTo>
                  <a:lnTo>
                    <a:pt x="1966" y="930"/>
                  </a:lnTo>
                  <a:lnTo>
                    <a:pt x="1964" y="936"/>
                  </a:lnTo>
                  <a:lnTo>
                    <a:pt x="1962" y="940"/>
                  </a:lnTo>
                  <a:lnTo>
                    <a:pt x="1960" y="940"/>
                  </a:lnTo>
                  <a:lnTo>
                    <a:pt x="1958" y="944"/>
                  </a:lnTo>
                  <a:lnTo>
                    <a:pt x="1958" y="946"/>
                  </a:lnTo>
                  <a:lnTo>
                    <a:pt x="1956" y="948"/>
                  </a:lnTo>
                  <a:lnTo>
                    <a:pt x="1954" y="946"/>
                  </a:lnTo>
                  <a:lnTo>
                    <a:pt x="1956" y="940"/>
                  </a:lnTo>
                  <a:lnTo>
                    <a:pt x="1958" y="940"/>
                  </a:lnTo>
                  <a:lnTo>
                    <a:pt x="1958" y="938"/>
                  </a:lnTo>
                  <a:lnTo>
                    <a:pt x="1960" y="936"/>
                  </a:lnTo>
                  <a:lnTo>
                    <a:pt x="1960" y="934"/>
                  </a:lnTo>
                  <a:lnTo>
                    <a:pt x="1958" y="932"/>
                  </a:lnTo>
                  <a:lnTo>
                    <a:pt x="1958" y="936"/>
                  </a:lnTo>
                  <a:lnTo>
                    <a:pt x="1956" y="940"/>
                  </a:lnTo>
                  <a:lnTo>
                    <a:pt x="1954" y="942"/>
                  </a:lnTo>
                  <a:lnTo>
                    <a:pt x="1954" y="946"/>
                  </a:lnTo>
                  <a:lnTo>
                    <a:pt x="1954" y="948"/>
                  </a:lnTo>
                  <a:lnTo>
                    <a:pt x="1954" y="950"/>
                  </a:lnTo>
                  <a:lnTo>
                    <a:pt x="1950" y="950"/>
                  </a:lnTo>
                  <a:lnTo>
                    <a:pt x="1950" y="952"/>
                  </a:lnTo>
                  <a:lnTo>
                    <a:pt x="1948" y="952"/>
                  </a:lnTo>
                  <a:lnTo>
                    <a:pt x="1950" y="952"/>
                  </a:lnTo>
                  <a:lnTo>
                    <a:pt x="1952" y="954"/>
                  </a:lnTo>
                  <a:lnTo>
                    <a:pt x="1950" y="958"/>
                  </a:lnTo>
                  <a:lnTo>
                    <a:pt x="1942" y="970"/>
                  </a:lnTo>
                  <a:lnTo>
                    <a:pt x="1942" y="972"/>
                  </a:lnTo>
                  <a:lnTo>
                    <a:pt x="1940" y="976"/>
                  </a:lnTo>
                  <a:lnTo>
                    <a:pt x="1940" y="978"/>
                  </a:lnTo>
                  <a:lnTo>
                    <a:pt x="1938" y="980"/>
                  </a:lnTo>
                  <a:lnTo>
                    <a:pt x="1938" y="982"/>
                  </a:lnTo>
                  <a:lnTo>
                    <a:pt x="1936" y="984"/>
                  </a:lnTo>
                  <a:lnTo>
                    <a:pt x="1934" y="986"/>
                  </a:lnTo>
                  <a:lnTo>
                    <a:pt x="1928" y="994"/>
                  </a:lnTo>
                  <a:lnTo>
                    <a:pt x="1924" y="1000"/>
                  </a:lnTo>
                  <a:lnTo>
                    <a:pt x="1920" y="1004"/>
                  </a:lnTo>
                  <a:lnTo>
                    <a:pt x="1920" y="1006"/>
                  </a:lnTo>
                  <a:lnTo>
                    <a:pt x="1916" y="1012"/>
                  </a:lnTo>
                  <a:lnTo>
                    <a:pt x="1914" y="1014"/>
                  </a:lnTo>
                  <a:lnTo>
                    <a:pt x="1898" y="1032"/>
                  </a:lnTo>
                  <a:lnTo>
                    <a:pt x="1896" y="1032"/>
                  </a:lnTo>
                  <a:lnTo>
                    <a:pt x="1888" y="1036"/>
                  </a:lnTo>
                  <a:lnTo>
                    <a:pt x="1886" y="1036"/>
                  </a:lnTo>
                  <a:lnTo>
                    <a:pt x="1886" y="1030"/>
                  </a:lnTo>
                  <a:lnTo>
                    <a:pt x="1888" y="1030"/>
                  </a:lnTo>
                  <a:lnTo>
                    <a:pt x="1890" y="1026"/>
                  </a:lnTo>
                  <a:lnTo>
                    <a:pt x="1888" y="1018"/>
                  </a:lnTo>
                  <a:lnTo>
                    <a:pt x="1886" y="1018"/>
                  </a:lnTo>
                  <a:lnTo>
                    <a:pt x="1884" y="1018"/>
                  </a:lnTo>
                  <a:lnTo>
                    <a:pt x="1882" y="1018"/>
                  </a:lnTo>
                  <a:lnTo>
                    <a:pt x="1882" y="1016"/>
                  </a:lnTo>
                  <a:lnTo>
                    <a:pt x="1882" y="1012"/>
                  </a:lnTo>
                  <a:lnTo>
                    <a:pt x="1880" y="1010"/>
                  </a:lnTo>
                  <a:lnTo>
                    <a:pt x="1878" y="1012"/>
                  </a:lnTo>
                  <a:lnTo>
                    <a:pt x="1876" y="1018"/>
                  </a:lnTo>
                  <a:lnTo>
                    <a:pt x="1876" y="1020"/>
                  </a:lnTo>
                  <a:lnTo>
                    <a:pt x="1874" y="1022"/>
                  </a:lnTo>
                  <a:lnTo>
                    <a:pt x="1872" y="1024"/>
                  </a:lnTo>
                  <a:lnTo>
                    <a:pt x="1870" y="1022"/>
                  </a:lnTo>
                  <a:lnTo>
                    <a:pt x="1868" y="1020"/>
                  </a:lnTo>
                  <a:lnTo>
                    <a:pt x="1868" y="1018"/>
                  </a:lnTo>
                  <a:lnTo>
                    <a:pt x="1868" y="1016"/>
                  </a:lnTo>
                  <a:lnTo>
                    <a:pt x="1870" y="1016"/>
                  </a:lnTo>
                  <a:lnTo>
                    <a:pt x="1870" y="1014"/>
                  </a:lnTo>
                  <a:lnTo>
                    <a:pt x="1868" y="1016"/>
                  </a:lnTo>
                  <a:lnTo>
                    <a:pt x="1866" y="1018"/>
                  </a:lnTo>
                  <a:lnTo>
                    <a:pt x="1868" y="1022"/>
                  </a:lnTo>
                  <a:lnTo>
                    <a:pt x="1868" y="1024"/>
                  </a:lnTo>
                  <a:lnTo>
                    <a:pt x="1870" y="1026"/>
                  </a:lnTo>
                  <a:lnTo>
                    <a:pt x="1872" y="1024"/>
                  </a:lnTo>
                  <a:lnTo>
                    <a:pt x="1876" y="1026"/>
                  </a:lnTo>
                  <a:lnTo>
                    <a:pt x="1874" y="1032"/>
                  </a:lnTo>
                  <a:lnTo>
                    <a:pt x="1872" y="1034"/>
                  </a:lnTo>
                  <a:lnTo>
                    <a:pt x="1870" y="1038"/>
                  </a:lnTo>
                  <a:lnTo>
                    <a:pt x="1868" y="1042"/>
                  </a:lnTo>
                  <a:lnTo>
                    <a:pt x="1864" y="1046"/>
                  </a:lnTo>
                  <a:lnTo>
                    <a:pt x="1862" y="1048"/>
                  </a:lnTo>
                  <a:lnTo>
                    <a:pt x="1862" y="1050"/>
                  </a:lnTo>
                  <a:lnTo>
                    <a:pt x="1862" y="1052"/>
                  </a:lnTo>
                  <a:lnTo>
                    <a:pt x="1862" y="1056"/>
                  </a:lnTo>
                  <a:lnTo>
                    <a:pt x="1860" y="1054"/>
                  </a:lnTo>
                  <a:lnTo>
                    <a:pt x="1856" y="1054"/>
                  </a:lnTo>
                  <a:lnTo>
                    <a:pt x="1854" y="1064"/>
                  </a:lnTo>
                  <a:lnTo>
                    <a:pt x="1856" y="1060"/>
                  </a:lnTo>
                  <a:lnTo>
                    <a:pt x="1858" y="1062"/>
                  </a:lnTo>
                  <a:lnTo>
                    <a:pt x="1858" y="1064"/>
                  </a:lnTo>
                  <a:lnTo>
                    <a:pt x="1858" y="1066"/>
                  </a:lnTo>
                  <a:lnTo>
                    <a:pt x="1858" y="1068"/>
                  </a:lnTo>
                  <a:lnTo>
                    <a:pt x="1860" y="1072"/>
                  </a:lnTo>
                  <a:lnTo>
                    <a:pt x="1856" y="1078"/>
                  </a:lnTo>
                  <a:lnTo>
                    <a:pt x="1854" y="1080"/>
                  </a:lnTo>
                  <a:lnTo>
                    <a:pt x="1856" y="1088"/>
                  </a:lnTo>
                  <a:lnTo>
                    <a:pt x="1856" y="1092"/>
                  </a:lnTo>
                  <a:lnTo>
                    <a:pt x="1856" y="1094"/>
                  </a:lnTo>
                  <a:lnTo>
                    <a:pt x="1854" y="1096"/>
                  </a:lnTo>
                  <a:lnTo>
                    <a:pt x="1852" y="1094"/>
                  </a:lnTo>
                  <a:lnTo>
                    <a:pt x="1850" y="1098"/>
                  </a:lnTo>
                  <a:lnTo>
                    <a:pt x="1852" y="1100"/>
                  </a:lnTo>
                  <a:lnTo>
                    <a:pt x="1858" y="1094"/>
                  </a:lnTo>
                  <a:lnTo>
                    <a:pt x="1858" y="1090"/>
                  </a:lnTo>
                  <a:lnTo>
                    <a:pt x="1858" y="1088"/>
                  </a:lnTo>
                  <a:lnTo>
                    <a:pt x="1856" y="1086"/>
                  </a:lnTo>
                  <a:lnTo>
                    <a:pt x="1860" y="1084"/>
                  </a:lnTo>
                  <a:lnTo>
                    <a:pt x="1860" y="1086"/>
                  </a:lnTo>
                  <a:lnTo>
                    <a:pt x="1860" y="1092"/>
                  </a:lnTo>
                  <a:lnTo>
                    <a:pt x="1858" y="1096"/>
                  </a:lnTo>
                  <a:lnTo>
                    <a:pt x="1856" y="1102"/>
                  </a:lnTo>
                  <a:lnTo>
                    <a:pt x="1854" y="1104"/>
                  </a:lnTo>
                  <a:lnTo>
                    <a:pt x="1854" y="1110"/>
                  </a:lnTo>
                  <a:lnTo>
                    <a:pt x="1850" y="1120"/>
                  </a:lnTo>
                  <a:lnTo>
                    <a:pt x="1848" y="1126"/>
                  </a:lnTo>
                  <a:lnTo>
                    <a:pt x="1848" y="1128"/>
                  </a:lnTo>
                  <a:lnTo>
                    <a:pt x="1848" y="1132"/>
                  </a:lnTo>
                  <a:lnTo>
                    <a:pt x="1848" y="1136"/>
                  </a:lnTo>
                  <a:lnTo>
                    <a:pt x="1850" y="1146"/>
                  </a:lnTo>
                  <a:lnTo>
                    <a:pt x="1850" y="1150"/>
                  </a:lnTo>
                  <a:lnTo>
                    <a:pt x="1848" y="1162"/>
                  </a:lnTo>
                  <a:lnTo>
                    <a:pt x="1848" y="1178"/>
                  </a:lnTo>
                  <a:lnTo>
                    <a:pt x="1850" y="1186"/>
                  </a:lnTo>
                  <a:lnTo>
                    <a:pt x="1850" y="1190"/>
                  </a:lnTo>
                  <a:lnTo>
                    <a:pt x="1852" y="1194"/>
                  </a:lnTo>
                  <a:lnTo>
                    <a:pt x="1852" y="1198"/>
                  </a:lnTo>
                  <a:lnTo>
                    <a:pt x="1846" y="1208"/>
                  </a:lnTo>
                  <a:lnTo>
                    <a:pt x="1842" y="1222"/>
                  </a:lnTo>
                  <a:lnTo>
                    <a:pt x="1838" y="1228"/>
                  </a:lnTo>
                  <a:lnTo>
                    <a:pt x="1838" y="1232"/>
                  </a:lnTo>
                  <a:lnTo>
                    <a:pt x="1836" y="1236"/>
                  </a:lnTo>
                  <a:lnTo>
                    <a:pt x="1836" y="1240"/>
                  </a:lnTo>
                  <a:lnTo>
                    <a:pt x="1834" y="1244"/>
                  </a:lnTo>
                  <a:lnTo>
                    <a:pt x="1832" y="1246"/>
                  </a:lnTo>
                  <a:lnTo>
                    <a:pt x="1832" y="1248"/>
                  </a:lnTo>
                  <a:lnTo>
                    <a:pt x="1832" y="1250"/>
                  </a:lnTo>
                  <a:lnTo>
                    <a:pt x="1832" y="1252"/>
                  </a:lnTo>
                  <a:lnTo>
                    <a:pt x="1832" y="1254"/>
                  </a:lnTo>
                  <a:lnTo>
                    <a:pt x="1830" y="1258"/>
                  </a:lnTo>
                  <a:lnTo>
                    <a:pt x="1828" y="1264"/>
                  </a:lnTo>
                  <a:lnTo>
                    <a:pt x="1826" y="1268"/>
                  </a:lnTo>
                  <a:lnTo>
                    <a:pt x="1826" y="1270"/>
                  </a:lnTo>
                  <a:lnTo>
                    <a:pt x="1826" y="1276"/>
                  </a:lnTo>
                  <a:lnTo>
                    <a:pt x="1824" y="1280"/>
                  </a:lnTo>
                  <a:lnTo>
                    <a:pt x="1824" y="1282"/>
                  </a:lnTo>
                  <a:lnTo>
                    <a:pt x="1824" y="1292"/>
                  </a:lnTo>
                  <a:lnTo>
                    <a:pt x="1824" y="1294"/>
                  </a:lnTo>
                  <a:lnTo>
                    <a:pt x="1824" y="1296"/>
                  </a:lnTo>
                  <a:lnTo>
                    <a:pt x="1826" y="1298"/>
                  </a:lnTo>
                  <a:lnTo>
                    <a:pt x="1826" y="1300"/>
                  </a:lnTo>
                  <a:lnTo>
                    <a:pt x="1818" y="1310"/>
                  </a:lnTo>
                  <a:lnTo>
                    <a:pt x="1816" y="1312"/>
                  </a:lnTo>
                  <a:lnTo>
                    <a:pt x="1814" y="1312"/>
                  </a:lnTo>
                  <a:lnTo>
                    <a:pt x="1810" y="1312"/>
                  </a:lnTo>
                  <a:lnTo>
                    <a:pt x="1810" y="1314"/>
                  </a:lnTo>
                  <a:lnTo>
                    <a:pt x="1808" y="1314"/>
                  </a:lnTo>
                  <a:lnTo>
                    <a:pt x="1804" y="1318"/>
                  </a:lnTo>
                  <a:lnTo>
                    <a:pt x="1796" y="1328"/>
                  </a:lnTo>
                  <a:lnTo>
                    <a:pt x="1796" y="1330"/>
                  </a:lnTo>
                  <a:lnTo>
                    <a:pt x="1794" y="1332"/>
                  </a:lnTo>
                  <a:lnTo>
                    <a:pt x="1794" y="1334"/>
                  </a:lnTo>
                  <a:lnTo>
                    <a:pt x="1792" y="1336"/>
                  </a:lnTo>
                  <a:lnTo>
                    <a:pt x="1790" y="1342"/>
                  </a:lnTo>
                  <a:lnTo>
                    <a:pt x="1790" y="1346"/>
                  </a:lnTo>
                  <a:lnTo>
                    <a:pt x="1788" y="1354"/>
                  </a:lnTo>
                  <a:lnTo>
                    <a:pt x="1788" y="1356"/>
                  </a:lnTo>
                  <a:lnTo>
                    <a:pt x="1786" y="1362"/>
                  </a:lnTo>
                  <a:lnTo>
                    <a:pt x="1786" y="1370"/>
                  </a:lnTo>
                  <a:lnTo>
                    <a:pt x="1786" y="1374"/>
                  </a:lnTo>
                  <a:lnTo>
                    <a:pt x="1786" y="1378"/>
                  </a:lnTo>
                  <a:lnTo>
                    <a:pt x="1786" y="1380"/>
                  </a:lnTo>
                  <a:lnTo>
                    <a:pt x="1786" y="1384"/>
                  </a:lnTo>
                  <a:lnTo>
                    <a:pt x="1786" y="1390"/>
                  </a:lnTo>
                  <a:lnTo>
                    <a:pt x="1786" y="1392"/>
                  </a:lnTo>
                  <a:lnTo>
                    <a:pt x="1784" y="1396"/>
                  </a:lnTo>
                  <a:lnTo>
                    <a:pt x="1784" y="1398"/>
                  </a:lnTo>
                  <a:lnTo>
                    <a:pt x="1778" y="1408"/>
                  </a:lnTo>
                  <a:lnTo>
                    <a:pt x="1776" y="1410"/>
                  </a:lnTo>
                  <a:lnTo>
                    <a:pt x="1772" y="1410"/>
                  </a:lnTo>
                  <a:lnTo>
                    <a:pt x="1772" y="1412"/>
                  </a:lnTo>
                  <a:lnTo>
                    <a:pt x="1770" y="1412"/>
                  </a:lnTo>
                  <a:lnTo>
                    <a:pt x="1768" y="1414"/>
                  </a:lnTo>
                  <a:lnTo>
                    <a:pt x="1766" y="1414"/>
                  </a:lnTo>
                  <a:lnTo>
                    <a:pt x="1766" y="1416"/>
                  </a:lnTo>
                  <a:lnTo>
                    <a:pt x="1758" y="1426"/>
                  </a:lnTo>
                  <a:lnTo>
                    <a:pt x="1756" y="1430"/>
                  </a:lnTo>
                  <a:lnTo>
                    <a:pt x="1754" y="1436"/>
                  </a:lnTo>
                  <a:lnTo>
                    <a:pt x="1754" y="1440"/>
                  </a:lnTo>
                  <a:lnTo>
                    <a:pt x="1750" y="1444"/>
                  </a:lnTo>
                  <a:lnTo>
                    <a:pt x="1748" y="1442"/>
                  </a:lnTo>
                  <a:lnTo>
                    <a:pt x="1744" y="1442"/>
                  </a:lnTo>
                  <a:lnTo>
                    <a:pt x="1744" y="1444"/>
                  </a:lnTo>
                  <a:lnTo>
                    <a:pt x="1742" y="1446"/>
                  </a:lnTo>
                  <a:lnTo>
                    <a:pt x="1744" y="1446"/>
                  </a:lnTo>
                  <a:lnTo>
                    <a:pt x="1748" y="1448"/>
                  </a:lnTo>
                  <a:lnTo>
                    <a:pt x="1744" y="1454"/>
                  </a:lnTo>
                  <a:lnTo>
                    <a:pt x="1742" y="1456"/>
                  </a:lnTo>
                  <a:lnTo>
                    <a:pt x="1738" y="1462"/>
                  </a:lnTo>
                  <a:lnTo>
                    <a:pt x="1738" y="1464"/>
                  </a:lnTo>
                  <a:lnTo>
                    <a:pt x="1726" y="1474"/>
                  </a:lnTo>
                  <a:lnTo>
                    <a:pt x="1724" y="1472"/>
                  </a:lnTo>
                  <a:lnTo>
                    <a:pt x="1720" y="1474"/>
                  </a:lnTo>
                  <a:lnTo>
                    <a:pt x="1718" y="1474"/>
                  </a:lnTo>
                  <a:lnTo>
                    <a:pt x="1716" y="1480"/>
                  </a:lnTo>
                  <a:lnTo>
                    <a:pt x="1714" y="1482"/>
                  </a:lnTo>
                  <a:lnTo>
                    <a:pt x="1714" y="1484"/>
                  </a:lnTo>
                  <a:lnTo>
                    <a:pt x="1714" y="1486"/>
                  </a:lnTo>
                  <a:lnTo>
                    <a:pt x="1712" y="1488"/>
                  </a:lnTo>
                  <a:lnTo>
                    <a:pt x="1712" y="1490"/>
                  </a:lnTo>
                  <a:lnTo>
                    <a:pt x="1710" y="1490"/>
                  </a:lnTo>
                  <a:lnTo>
                    <a:pt x="1706" y="1494"/>
                  </a:lnTo>
                  <a:lnTo>
                    <a:pt x="1706" y="1496"/>
                  </a:lnTo>
                  <a:lnTo>
                    <a:pt x="1704" y="1498"/>
                  </a:lnTo>
                  <a:lnTo>
                    <a:pt x="1704" y="1502"/>
                  </a:lnTo>
                  <a:lnTo>
                    <a:pt x="1700" y="1506"/>
                  </a:lnTo>
                  <a:lnTo>
                    <a:pt x="1700" y="1508"/>
                  </a:lnTo>
                  <a:lnTo>
                    <a:pt x="1698" y="1514"/>
                  </a:lnTo>
                  <a:lnTo>
                    <a:pt x="1700" y="1520"/>
                  </a:lnTo>
                  <a:lnTo>
                    <a:pt x="1700" y="1536"/>
                  </a:lnTo>
                  <a:lnTo>
                    <a:pt x="1700" y="1538"/>
                  </a:lnTo>
                  <a:lnTo>
                    <a:pt x="1698" y="1538"/>
                  </a:lnTo>
                  <a:lnTo>
                    <a:pt x="1698" y="1540"/>
                  </a:lnTo>
                  <a:lnTo>
                    <a:pt x="1696" y="1540"/>
                  </a:lnTo>
                  <a:lnTo>
                    <a:pt x="1686" y="1546"/>
                  </a:lnTo>
                  <a:lnTo>
                    <a:pt x="1684" y="1546"/>
                  </a:lnTo>
                  <a:lnTo>
                    <a:pt x="1682" y="1546"/>
                  </a:lnTo>
                  <a:lnTo>
                    <a:pt x="1678" y="1548"/>
                  </a:lnTo>
                  <a:lnTo>
                    <a:pt x="1676" y="1548"/>
                  </a:lnTo>
                  <a:lnTo>
                    <a:pt x="1668" y="1550"/>
                  </a:lnTo>
                  <a:lnTo>
                    <a:pt x="1666" y="1550"/>
                  </a:lnTo>
                  <a:lnTo>
                    <a:pt x="1664" y="1550"/>
                  </a:lnTo>
                  <a:lnTo>
                    <a:pt x="1662" y="1552"/>
                  </a:lnTo>
                  <a:lnTo>
                    <a:pt x="1660" y="1554"/>
                  </a:lnTo>
                  <a:lnTo>
                    <a:pt x="1656" y="1556"/>
                  </a:lnTo>
                  <a:lnTo>
                    <a:pt x="1650" y="1560"/>
                  </a:lnTo>
                  <a:lnTo>
                    <a:pt x="1644" y="1566"/>
                  </a:lnTo>
                  <a:lnTo>
                    <a:pt x="1642" y="1566"/>
                  </a:lnTo>
                  <a:lnTo>
                    <a:pt x="1642" y="1570"/>
                  </a:lnTo>
                  <a:lnTo>
                    <a:pt x="1642" y="1572"/>
                  </a:lnTo>
                  <a:lnTo>
                    <a:pt x="1642" y="1574"/>
                  </a:lnTo>
                  <a:lnTo>
                    <a:pt x="1642" y="1576"/>
                  </a:lnTo>
                  <a:lnTo>
                    <a:pt x="1640" y="1582"/>
                  </a:lnTo>
                  <a:lnTo>
                    <a:pt x="1638" y="1586"/>
                  </a:lnTo>
                  <a:lnTo>
                    <a:pt x="1630" y="1588"/>
                  </a:lnTo>
                  <a:lnTo>
                    <a:pt x="1616" y="1586"/>
                  </a:lnTo>
                  <a:lnTo>
                    <a:pt x="1610" y="1586"/>
                  </a:lnTo>
                  <a:lnTo>
                    <a:pt x="1608" y="1586"/>
                  </a:lnTo>
                  <a:lnTo>
                    <a:pt x="1606" y="1586"/>
                  </a:lnTo>
                  <a:lnTo>
                    <a:pt x="1604" y="1586"/>
                  </a:lnTo>
                  <a:lnTo>
                    <a:pt x="1590" y="1586"/>
                  </a:lnTo>
                  <a:lnTo>
                    <a:pt x="1584" y="1584"/>
                  </a:lnTo>
                  <a:lnTo>
                    <a:pt x="1582" y="1584"/>
                  </a:lnTo>
                  <a:lnTo>
                    <a:pt x="1582" y="1580"/>
                  </a:lnTo>
                  <a:lnTo>
                    <a:pt x="1584" y="1578"/>
                  </a:lnTo>
                  <a:lnTo>
                    <a:pt x="1586" y="1576"/>
                  </a:lnTo>
                  <a:lnTo>
                    <a:pt x="1588" y="1574"/>
                  </a:lnTo>
                  <a:lnTo>
                    <a:pt x="1588" y="1572"/>
                  </a:lnTo>
                  <a:lnTo>
                    <a:pt x="1588" y="1570"/>
                  </a:lnTo>
                  <a:lnTo>
                    <a:pt x="1586" y="1568"/>
                  </a:lnTo>
                  <a:lnTo>
                    <a:pt x="1576" y="1572"/>
                  </a:lnTo>
                  <a:lnTo>
                    <a:pt x="1574" y="1574"/>
                  </a:lnTo>
                  <a:lnTo>
                    <a:pt x="1576" y="1576"/>
                  </a:lnTo>
                  <a:lnTo>
                    <a:pt x="1576" y="1578"/>
                  </a:lnTo>
                  <a:lnTo>
                    <a:pt x="1580" y="1580"/>
                  </a:lnTo>
                  <a:lnTo>
                    <a:pt x="1580" y="1584"/>
                  </a:lnTo>
                  <a:lnTo>
                    <a:pt x="1578" y="1586"/>
                  </a:lnTo>
                  <a:lnTo>
                    <a:pt x="1576" y="1586"/>
                  </a:lnTo>
                  <a:lnTo>
                    <a:pt x="1572" y="1588"/>
                  </a:lnTo>
                  <a:lnTo>
                    <a:pt x="1570" y="1586"/>
                  </a:lnTo>
                  <a:lnTo>
                    <a:pt x="1568" y="1586"/>
                  </a:lnTo>
                  <a:lnTo>
                    <a:pt x="1554" y="1588"/>
                  </a:lnTo>
                  <a:lnTo>
                    <a:pt x="1540" y="1588"/>
                  </a:lnTo>
                  <a:lnTo>
                    <a:pt x="1538" y="1588"/>
                  </a:lnTo>
                  <a:lnTo>
                    <a:pt x="1536" y="1590"/>
                  </a:lnTo>
                  <a:lnTo>
                    <a:pt x="1534" y="1590"/>
                  </a:lnTo>
                  <a:lnTo>
                    <a:pt x="1536" y="1588"/>
                  </a:lnTo>
                  <a:lnTo>
                    <a:pt x="1536" y="1586"/>
                  </a:lnTo>
                  <a:lnTo>
                    <a:pt x="1542" y="1588"/>
                  </a:lnTo>
                  <a:lnTo>
                    <a:pt x="1546" y="1588"/>
                  </a:lnTo>
                  <a:lnTo>
                    <a:pt x="1548" y="1588"/>
                  </a:lnTo>
                  <a:lnTo>
                    <a:pt x="1552" y="1588"/>
                  </a:lnTo>
                  <a:lnTo>
                    <a:pt x="1556" y="1586"/>
                  </a:lnTo>
                  <a:lnTo>
                    <a:pt x="1550" y="1580"/>
                  </a:lnTo>
                  <a:lnTo>
                    <a:pt x="1544" y="1578"/>
                  </a:lnTo>
                  <a:lnTo>
                    <a:pt x="1534" y="1580"/>
                  </a:lnTo>
                  <a:lnTo>
                    <a:pt x="1534" y="1582"/>
                  </a:lnTo>
                  <a:lnTo>
                    <a:pt x="1532" y="1584"/>
                  </a:lnTo>
                  <a:lnTo>
                    <a:pt x="1530" y="1586"/>
                  </a:lnTo>
                  <a:lnTo>
                    <a:pt x="1526" y="1586"/>
                  </a:lnTo>
                  <a:lnTo>
                    <a:pt x="1524" y="1586"/>
                  </a:lnTo>
                  <a:lnTo>
                    <a:pt x="1520" y="1578"/>
                  </a:lnTo>
                  <a:lnTo>
                    <a:pt x="1518" y="1578"/>
                  </a:lnTo>
                  <a:lnTo>
                    <a:pt x="1516" y="1578"/>
                  </a:lnTo>
                  <a:lnTo>
                    <a:pt x="1516" y="1580"/>
                  </a:lnTo>
                  <a:lnTo>
                    <a:pt x="1512" y="1582"/>
                  </a:lnTo>
                  <a:lnTo>
                    <a:pt x="1510" y="1584"/>
                  </a:lnTo>
                  <a:lnTo>
                    <a:pt x="1506" y="1584"/>
                  </a:lnTo>
                  <a:lnTo>
                    <a:pt x="1504" y="1584"/>
                  </a:lnTo>
                  <a:lnTo>
                    <a:pt x="1502" y="1584"/>
                  </a:lnTo>
                  <a:lnTo>
                    <a:pt x="1500" y="1588"/>
                  </a:lnTo>
                  <a:lnTo>
                    <a:pt x="1498" y="1592"/>
                  </a:lnTo>
                  <a:lnTo>
                    <a:pt x="1498" y="1594"/>
                  </a:lnTo>
                  <a:lnTo>
                    <a:pt x="1502" y="1594"/>
                  </a:lnTo>
                  <a:lnTo>
                    <a:pt x="1506" y="1594"/>
                  </a:lnTo>
                  <a:lnTo>
                    <a:pt x="1508" y="1598"/>
                  </a:lnTo>
                  <a:lnTo>
                    <a:pt x="1504" y="1602"/>
                  </a:lnTo>
                  <a:lnTo>
                    <a:pt x="1502" y="1602"/>
                  </a:lnTo>
                  <a:lnTo>
                    <a:pt x="1502" y="1600"/>
                  </a:lnTo>
                  <a:lnTo>
                    <a:pt x="1496" y="1600"/>
                  </a:lnTo>
                  <a:lnTo>
                    <a:pt x="1496" y="1602"/>
                  </a:lnTo>
                  <a:lnTo>
                    <a:pt x="1490" y="1602"/>
                  </a:lnTo>
                  <a:lnTo>
                    <a:pt x="1488" y="1600"/>
                  </a:lnTo>
                  <a:lnTo>
                    <a:pt x="1486" y="1600"/>
                  </a:lnTo>
                  <a:lnTo>
                    <a:pt x="1482" y="1604"/>
                  </a:lnTo>
                  <a:lnTo>
                    <a:pt x="1480" y="1606"/>
                  </a:lnTo>
                  <a:lnTo>
                    <a:pt x="1482" y="1606"/>
                  </a:lnTo>
                  <a:lnTo>
                    <a:pt x="1478" y="1608"/>
                  </a:lnTo>
                  <a:lnTo>
                    <a:pt x="1468" y="1612"/>
                  </a:lnTo>
                  <a:lnTo>
                    <a:pt x="1460" y="1614"/>
                  </a:lnTo>
                  <a:lnTo>
                    <a:pt x="1460" y="1616"/>
                  </a:lnTo>
                  <a:lnTo>
                    <a:pt x="1458" y="1618"/>
                  </a:lnTo>
                  <a:lnTo>
                    <a:pt x="1460" y="1622"/>
                  </a:lnTo>
                  <a:lnTo>
                    <a:pt x="1460" y="1624"/>
                  </a:lnTo>
                  <a:lnTo>
                    <a:pt x="1458" y="1626"/>
                  </a:lnTo>
                  <a:lnTo>
                    <a:pt x="1454" y="1626"/>
                  </a:lnTo>
                  <a:lnTo>
                    <a:pt x="1452" y="1624"/>
                  </a:lnTo>
                  <a:lnTo>
                    <a:pt x="1448" y="1622"/>
                  </a:lnTo>
                  <a:lnTo>
                    <a:pt x="1446" y="1622"/>
                  </a:lnTo>
                  <a:lnTo>
                    <a:pt x="1438" y="1620"/>
                  </a:lnTo>
                  <a:lnTo>
                    <a:pt x="1434" y="1620"/>
                  </a:lnTo>
                  <a:lnTo>
                    <a:pt x="1430" y="1620"/>
                  </a:lnTo>
                  <a:lnTo>
                    <a:pt x="1424" y="1624"/>
                  </a:lnTo>
                  <a:lnTo>
                    <a:pt x="1422" y="1624"/>
                  </a:lnTo>
                  <a:lnTo>
                    <a:pt x="1416" y="1628"/>
                  </a:lnTo>
                  <a:lnTo>
                    <a:pt x="1418" y="1628"/>
                  </a:lnTo>
                  <a:lnTo>
                    <a:pt x="1420" y="1626"/>
                  </a:lnTo>
                  <a:lnTo>
                    <a:pt x="1422" y="1624"/>
                  </a:lnTo>
                  <a:lnTo>
                    <a:pt x="1420" y="1630"/>
                  </a:lnTo>
                  <a:lnTo>
                    <a:pt x="1418" y="1632"/>
                  </a:lnTo>
                  <a:lnTo>
                    <a:pt x="1412" y="1632"/>
                  </a:lnTo>
                  <a:lnTo>
                    <a:pt x="1414" y="1630"/>
                  </a:lnTo>
                  <a:lnTo>
                    <a:pt x="1412" y="1628"/>
                  </a:lnTo>
                  <a:lnTo>
                    <a:pt x="1408" y="1624"/>
                  </a:lnTo>
                  <a:lnTo>
                    <a:pt x="1406" y="1628"/>
                  </a:lnTo>
                  <a:lnTo>
                    <a:pt x="1406" y="1630"/>
                  </a:lnTo>
                  <a:lnTo>
                    <a:pt x="1404" y="1632"/>
                  </a:lnTo>
                  <a:lnTo>
                    <a:pt x="1396" y="1636"/>
                  </a:lnTo>
                  <a:lnTo>
                    <a:pt x="1384" y="1642"/>
                  </a:lnTo>
                  <a:lnTo>
                    <a:pt x="1380" y="1644"/>
                  </a:lnTo>
                  <a:lnTo>
                    <a:pt x="1378" y="1644"/>
                  </a:lnTo>
                  <a:lnTo>
                    <a:pt x="1378" y="1646"/>
                  </a:lnTo>
                  <a:lnTo>
                    <a:pt x="1376" y="1646"/>
                  </a:lnTo>
                  <a:lnTo>
                    <a:pt x="1376" y="1648"/>
                  </a:lnTo>
                  <a:lnTo>
                    <a:pt x="1374" y="1650"/>
                  </a:lnTo>
                  <a:lnTo>
                    <a:pt x="1362" y="1660"/>
                  </a:lnTo>
                  <a:lnTo>
                    <a:pt x="1356" y="1664"/>
                  </a:lnTo>
                  <a:lnTo>
                    <a:pt x="1350" y="1666"/>
                  </a:lnTo>
                  <a:lnTo>
                    <a:pt x="1348" y="1666"/>
                  </a:lnTo>
                  <a:lnTo>
                    <a:pt x="1344" y="1666"/>
                  </a:lnTo>
                  <a:lnTo>
                    <a:pt x="1342" y="1668"/>
                  </a:lnTo>
                  <a:lnTo>
                    <a:pt x="1334" y="1672"/>
                  </a:lnTo>
                  <a:lnTo>
                    <a:pt x="1330" y="1676"/>
                  </a:lnTo>
                  <a:lnTo>
                    <a:pt x="1328" y="1676"/>
                  </a:lnTo>
                  <a:lnTo>
                    <a:pt x="1320" y="1682"/>
                  </a:lnTo>
                  <a:lnTo>
                    <a:pt x="1318" y="1682"/>
                  </a:lnTo>
                  <a:lnTo>
                    <a:pt x="1316" y="1684"/>
                  </a:lnTo>
                  <a:lnTo>
                    <a:pt x="1318" y="1686"/>
                  </a:lnTo>
                  <a:lnTo>
                    <a:pt x="1320" y="1686"/>
                  </a:lnTo>
                  <a:lnTo>
                    <a:pt x="1322" y="1684"/>
                  </a:lnTo>
                  <a:lnTo>
                    <a:pt x="1324" y="1684"/>
                  </a:lnTo>
                  <a:lnTo>
                    <a:pt x="1324" y="1688"/>
                  </a:lnTo>
                  <a:lnTo>
                    <a:pt x="1322" y="1690"/>
                  </a:lnTo>
                  <a:lnTo>
                    <a:pt x="1318" y="169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3" name="Freeform 282"/>
            <p:cNvSpPr>
              <a:spLocks/>
            </p:cNvSpPr>
            <p:nvPr/>
          </p:nvSpPr>
          <p:spPr bwMode="auto">
            <a:xfrm>
              <a:off x="3572" y="864"/>
              <a:ext cx="8" cy="4"/>
            </a:xfrm>
            <a:custGeom>
              <a:avLst/>
              <a:gdLst>
                <a:gd name="T0" fmla="*/ 4 w 8"/>
                <a:gd name="T1" fmla="*/ 4 h 4"/>
                <a:gd name="T2" fmla="*/ 2 w 8"/>
                <a:gd name="T3" fmla="*/ 4 h 4"/>
                <a:gd name="T4" fmla="*/ 0 w 8"/>
                <a:gd name="T5" fmla="*/ 2 h 4"/>
                <a:gd name="T6" fmla="*/ 2 w 8"/>
                <a:gd name="T7" fmla="*/ 0 h 4"/>
                <a:gd name="T8" fmla="*/ 4 w 8"/>
                <a:gd name="T9" fmla="*/ 0 h 4"/>
                <a:gd name="T10" fmla="*/ 6 w 8"/>
                <a:gd name="T11" fmla="*/ 0 h 4"/>
                <a:gd name="T12" fmla="*/ 8 w 8"/>
                <a:gd name="T13" fmla="*/ 0 h 4"/>
                <a:gd name="T14" fmla="*/ 8 w 8"/>
                <a:gd name="T15" fmla="*/ 2 h 4"/>
                <a:gd name="T16" fmla="*/ 8 w 8"/>
                <a:gd name="T17" fmla="*/ 4 h 4"/>
                <a:gd name="T18" fmla="*/ 4 w 8"/>
                <a:gd name="T19" fmla="*/ 4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4"/>
                <a:gd name="T32" fmla="*/ 8 w 8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4">
                  <a:moveTo>
                    <a:pt x="4" y="4"/>
                  </a:move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4" name="Freeform 283"/>
            <p:cNvSpPr>
              <a:spLocks/>
            </p:cNvSpPr>
            <p:nvPr/>
          </p:nvSpPr>
          <p:spPr bwMode="auto">
            <a:xfrm>
              <a:off x="3574" y="868"/>
              <a:ext cx="12" cy="14"/>
            </a:xfrm>
            <a:custGeom>
              <a:avLst/>
              <a:gdLst>
                <a:gd name="T0" fmla="*/ 6 w 12"/>
                <a:gd name="T1" fmla="*/ 14 h 14"/>
                <a:gd name="T2" fmla="*/ 4 w 12"/>
                <a:gd name="T3" fmla="*/ 12 h 14"/>
                <a:gd name="T4" fmla="*/ 0 w 12"/>
                <a:gd name="T5" fmla="*/ 6 h 14"/>
                <a:gd name="T6" fmla="*/ 0 w 12"/>
                <a:gd name="T7" fmla="*/ 4 h 14"/>
                <a:gd name="T8" fmla="*/ 2 w 12"/>
                <a:gd name="T9" fmla="*/ 2 h 14"/>
                <a:gd name="T10" fmla="*/ 6 w 12"/>
                <a:gd name="T11" fmla="*/ 0 h 14"/>
                <a:gd name="T12" fmla="*/ 8 w 12"/>
                <a:gd name="T13" fmla="*/ 0 h 14"/>
                <a:gd name="T14" fmla="*/ 8 w 12"/>
                <a:gd name="T15" fmla="*/ 2 h 14"/>
                <a:gd name="T16" fmla="*/ 10 w 12"/>
                <a:gd name="T17" fmla="*/ 6 h 14"/>
                <a:gd name="T18" fmla="*/ 12 w 12"/>
                <a:gd name="T19" fmla="*/ 8 h 14"/>
                <a:gd name="T20" fmla="*/ 12 w 12"/>
                <a:gd name="T21" fmla="*/ 10 h 14"/>
                <a:gd name="T22" fmla="*/ 10 w 12"/>
                <a:gd name="T23" fmla="*/ 10 h 14"/>
                <a:gd name="T24" fmla="*/ 8 w 12"/>
                <a:gd name="T25" fmla="*/ 12 h 14"/>
                <a:gd name="T26" fmla="*/ 6 w 12"/>
                <a:gd name="T27" fmla="*/ 14 h 1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14"/>
                <a:gd name="T44" fmla="*/ 12 w 12"/>
                <a:gd name="T45" fmla="*/ 14 h 1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14">
                  <a:moveTo>
                    <a:pt x="6" y="14"/>
                  </a:moveTo>
                  <a:lnTo>
                    <a:pt x="4" y="12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5" name="Freeform 284"/>
            <p:cNvSpPr>
              <a:spLocks/>
            </p:cNvSpPr>
            <p:nvPr/>
          </p:nvSpPr>
          <p:spPr bwMode="auto">
            <a:xfrm>
              <a:off x="3598" y="928"/>
              <a:ext cx="8" cy="6"/>
            </a:xfrm>
            <a:custGeom>
              <a:avLst/>
              <a:gdLst>
                <a:gd name="T0" fmla="*/ 2 w 8"/>
                <a:gd name="T1" fmla="*/ 6 h 6"/>
                <a:gd name="T2" fmla="*/ 0 w 8"/>
                <a:gd name="T3" fmla="*/ 6 h 6"/>
                <a:gd name="T4" fmla="*/ 0 w 8"/>
                <a:gd name="T5" fmla="*/ 4 h 6"/>
                <a:gd name="T6" fmla="*/ 2 w 8"/>
                <a:gd name="T7" fmla="*/ 0 h 6"/>
                <a:gd name="T8" fmla="*/ 4 w 8"/>
                <a:gd name="T9" fmla="*/ 0 h 6"/>
                <a:gd name="T10" fmla="*/ 6 w 8"/>
                <a:gd name="T11" fmla="*/ 0 h 6"/>
                <a:gd name="T12" fmla="*/ 8 w 8"/>
                <a:gd name="T13" fmla="*/ 0 h 6"/>
                <a:gd name="T14" fmla="*/ 8 w 8"/>
                <a:gd name="T15" fmla="*/ 2 h 6"/>
                <a:gd name="T16" fmla="*/ 6 w 8"/>
                <a:gd name="T17" fmla="*/ 2 h 6"/>
                <a:gd name="T18" fmla="*/ 4 w 8"/>
                <a:gd name="T19" fmla="*/ 4 h 6"/>
                <a:gd name="T20" fmla="*/ 4 w 8"/>
                <a:gd name="T21" fmla="*/ 6 h 6"/>
                <a:gd name="T22" fmla="*/ 2 w 8"/>
                <a:gd name="T23" fmla="*/ 6 h 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"/>
                <a:gd name="T37" fmla="*/ 0 h 6"/>
                <a:gd name="T38" fmla="*/ 8 w 8"/>
                <a:gd name="T39" fmla="*/ 6 h 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" h="6">
                  <a:moveTo>
                    <a:pt x="2" y="6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6" name="Freeform 285"/>
            <p:cNvSpPr>
              <a:spLocks/>
            </p:cNvSpPr>
            <p:nvPr/>
          </p:nvSpPr>
          <p:spPr bwMode="auto">
            <a:xfrm>
              <a:off x="3588" y="934"/>
              <a:ext cx="14" cy="12"/>
            </a:xfrm>
            <a:custGeom>
              <a:avLst/>
              <a:gdLst>
                <a:gd name="T0" fmla="*/ 0 w 14"/>
                <a:gd name="T1" fmla="*/ 12 h 12"/>
                <a:gd name="T2" fmla="*/ 0 w 14"/>
                <a:gd name="T3" fmla="*/ 10 h 12"/>
                <a:gd name="T4" fmla="*/ 0 w 14"/>
                <a:gd name="T5" fmla="*/ 8 h 12"/>
                <a:gd name="T6" fmla="*/ 0 w 14"/>
                <a:gd name="T7" fmla="*/ 6 h 12"/>
                <a:gd name="T8" fmla="*/ 2 w 14"/>
                <a:gd name="T9" fmla="*/ 6 h 12"/>
                <a:gd name="T10" fmla="*/ 2 w 14"/>
                <a:gd name="T11" fmla="*/ 4 h 12"/>
                <a:gd name="T12" fmla="*/ 4 w 14"/>
                <a:gd name="T13" fmla="*/ 4 h 12"/>
                <a:gd name="T14" fmla="*/ 4 w 14"/>
                <a:gd name="T15" fmla="*/ 2 h 12"/>
                <a:gd name="T16" fmla="*/ 6 w 14"/>
                <a:gd name="T17" fmla="*/ 2 h 12"/>
                <a:gd name="T18" fmla="*/ 8 w 14"/>
                <a:gd name="T19" fmla="*/ 2 h 12"/>
                <a:gd name="T20" fmla="*/ 10 w 14"/>
                <a:gd name="T21" fmla="*/ 4 h 12"/>
                <a:gd name="T22" fmla="*/ 12 w 14"/>
                <a:gd name="T23" fmla="*/ 4 h 12"/>
                <a:gd name="T24" fmla="*/ 14 w 14"/>
                <a:gd name="T25" fmla="*/ 0 h 12"/>
                <a:gd name="T26" fmla="*/ 14 w 14"/>
                <a:gd name="T27" fmla="*/ 2 h 12"/>
                <a:gd name="T28" fmla="*/ 12 w 14"/>
                <a:gd name="T29" fmla="*/ 8 h 12"/>
                <a:gd name="T30" fmla="*/ 10 w 14"/>
                <a:gd name="T31" fmla="*/ 8 h 12"/>
                <a:gd name="T32" fmla="*/ 10 w 14"/>
                <a:gd name="T33" fmla="*/ 10 h 12"/>
                <a:gd name="T34" fmla="*/ 8 w 14"/>
                <a:gd name="T35" fmla="*/ 10 h 12"/>
                <a:gd name="T36" fmla="*/ 6 w 14"/>
                <a:gd name="T37" fmla="*/ 10 h 12"/>
                <a:gd name="T38" fmla="*/ 0 w 14"/>
                <a:gd name="T39" fmla="*/ 12 h 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"/>
                <a:gd name="T61" fmla="*/ 0 h 12"/>
                <a:gd name="T62" fmla="*/ 14 w 14"/>
                <a:gd name="T63" fmla="*/ 12 h 1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" h="12">
                  <a:moveTo>
                    <a:pt x="0" y="12"/>
                  </a:move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7" name="Freeform 286"/>
            <p:cNvSpPr>
              <a:spLocks/>
            </p:cNvSpPr>
            <p:nvPr/>
          </p:nvSpPr>
          <p:spPr bwMode="auto">
            <a:xfrm>
              <a:off x="3584" y="950"/>
              <a:ext cx="16" cy="16"/>
            </a:xfrm>
            <a:custGeom>
              <a:avLst/>
              <a:gdLst>
                <a:gd name="T0" fmla="*/ 4 w 16"/>
                <a:gd name="T1" fmla="*/ 16 h 16"/>
                <a:gd name="T2" fmla="*/ 2 w 16"/>
                <a:gd name="T3" fmla="*/ 16 h 16"/>
                <a:gd name="T4" fmla="*/ 2 w 16"/>
                <a:gd name="T5" fmla="*/ 14 h 16"/>
                <a:gd name="T6" fmla="*/ 0 w 16"/>
                <a:gd name="T7" fmla="*/ 14 h 16"/>
                <a:gd name="T8" fmla="*/ 0 w 16"/>
                <a:gd name="T9" fmla="*/ 12 h 16"/>
                <a:gd name="T10" fmla="*/ 0 w 16"/>
                <a:gd name="T11" fmla="*/ 10 h 16"/>
                <a:gd name="T12" fmla="*/ 2 w 16"/>
                <a:gd name="T13" fmla="*/ 8 h 16"/>
                <a:gd name="T14" fmla="*/ 4 w 16"/>
                <a:gd name="T15" fmla="*/ 4 h 16"/>
                <a:gd name="T16" fmla="*/ 6 w 16"/>
                <a:gd name="T17" fmla="*/ 4 h 16"/>
                <a:gd name="T18" fmla="*/ 14 w 16"/>
                <a:gd name="T19" fmla="*/ 0 h 16"/>
                <a:gd name="T20" fmla="*/ 16 w 16"/>
                <a:gd name="T21" fmla="*/ 2 h 16"/>
                <a:gd name="T22" fmla="*/ 16 w 16"/>
                <a:gd name="T23" fmla="*/ 4 h 16"/>
                <a:gd name="T24" fmla="*/ 16 w 16"/>
                <a:gd name="T25" fmla="*/ 6 h 16"/>
                <a:gd name="T26" fmla="*/ 10 w 16"/>
                <a:gd name="T27" fmla="*/ 14 h 16"/>
                <a:gd name="T28" fmla="*/ 6 w 16"/>
                <a:gd name="T29" fmla="*/ 16 h 16"/>
                <a:gd name="T30" fmla="*/ 4 w 16"/>
                <a:gd name="T31" fmla="*/ 16 h 1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6"/>
                <a:gd name="T49" fmla="*/ 0 h 16"/>
                <a:gd name="T50" fmla="*/ 16 w 16"/>
                <a:gd name="T51" fmla="*/ 16 h 1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6" h="16">
                  <a:moveTo>
                    <a:pt x="4" y="16"/>
                  </a:moveTo>
                  <a:lnTo>
                    <a:pt x="2" y="16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2" y="8"/>
                  </a:lnTo>
                  <a:lnTo>
                    <a:pt x="4" y="4"/>
                  </a:lnTo>
                  <a:lnTo>
                    <a:pt x="6" y="4"/>
                  </a:lnTo>
                  <a:lnTo>
                    <a:pt x="14" y="0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0" y="14"/>
                  </a:lnTo>
                  <a:lnTo>
                    <a:pt x="6" y="16"/>
                  </a:lnTo>
                  <a:lnTo>
                    <a:pt x="4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8" name="Freeform 287"/>
            <p:cNvSpPr>
              <a:spLocks/>
            </p:cNvSpPr>
            <p:nvPr/>
          </p:nvSpPr>
          <p:spPr bwMode="auto">
            <a:xfrm>
              <a:off x="3574" y="952"/>
              <a:ext cx="10" cy="24"/>
            </a:xfrm>
            <a:custGeom>
              <a:avLst/>
              <a:gdLst>
                <a:gd name="T0" fmla="*/ 4 w 10"/>
                <a:gd name="T1" fmla="*/ 24 h 24"/>
                <a:gd name="T2" fmla="*/ 0 w 10"/>
                <a:gd name="T3" fmla="*/ 24 h 24"/>
                <a:gd name="T4" fmla="*/ 0 w 10"/>
                <a:gd name="T5" fmla="*/ 22 h 24"/>
                <a:gd name="T6" fmla="*/ 0 w 10"/>
                <a:gd name="T7" fmla="*/ 20 h 24"/>
                <a:gd name="T8" fmla="*/ 2 w 10"/>
                <a:gd name="T9" fmla="*/ 20 h 24"/>
                <a:gd name="T10" fmla="*/ 2 w 10"/>
                <a:gd name="T11" fmla="*/ 18 h 24"/>
                <a:gd name="T12" fmla="*/ 2 w 10"/>
                <a:gd name="T13" fmla="*/ 16 h 24"/>
                <a:gd name="T14" fmla="*/ 4 w 10"/>
                <a:gd name="T15" fmla="*/ 16 h 24"/>
                <a:gd name="T16" fmla="*/ 4 w 10"/>
                <a:gd name="T17" fmla="*/ 14 h 24"/>
                <a:gd name="T18" fmla="*/ 4 w 10"/>
                <a:gd name="T19" fmla="*/ 8 h 24"/>
                <a:gd name="T20" fmla="*/ 6 w 10"/>
                <a:gd name="T21" fmla="*/ 4 h 24"/>
                <a:gd name="T22" fmla="*/ 8 w 10"/>
                <a:gd name="T23" fmla="*/ 0 h 24"/>
                <a:gd name="T24" fmla="*/ 8 w 10"/>
                <a:gd name="T25" fmla="*/ 2 h 24"/>
                <a:gd name="T26" fmla="*/ 10 w 10"/>
                <a:gd name="T27" fmla="*/ 6 h 24"/>
                <a:gd name="T28" fmla="*/ 8 w 10"/>
                <a:gd name="T29" fmla="*/ 8 h 24"/>
                <a:gd name="T30" fmla="*/ 8 w 10"/>
                <a:gd name="T31" fmla="*/ 10 h 24"/>
                <a:gd name="T32" fmla="*/ 8 w 10"/>
                <a:gd name="T33" fmla="*/ 12 h 24"/>
                <a:gd name="T34" fmla="*/ 10 w 10"/>
                <a:gd name="T35" fmla="*/ 12 h 24"/>
                <a:gd name="T36" fmla="*/ 10 w 10"/>
                <a:gd name="T37" fmla="*/ 14 h 24"/>
                <a:gd name="T38" fmla="*/ 10 w 10"/>
                <a:gd name="T39" fmla="*/ 16 h 24"/>
                <a:gd name="T40" fmla="*/ 10 w 10"/>
                <a:gd name="T41" fmla="*/ 18 h 24"/>
                <a:gd name="T42" fmla="*/ 10 w 10"/>
                <a:gd name="T43" fmla="*/ 20 h 24"/>
                <a:gd name="T44" fmla="*/ 8 w 10"/>
                <a:gd name="T45" fmla="*/ 20 h 24"/>
                <a:gd name="T46" fmla="*/ 6 w 10"/>
                <a:gd name="T47" fmla="*/ 20 h 24"/>
                <a:gd name="T48" fmla="*/ 6 w 10"/>
                <a:gd name="T49" fmla="*/ 22 h 24"/>
                <a:gd name="T50" fmla="*/ 4 w 10"/>
                <a:gd name="T51" fmla="*/ 24 h 2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"/>
                <a:gd name="T79" fmla="*/ 0 h 24"/>
                <a:gd name="T80" fmla="*/ 10 w 10"/>
                <a:gd name="T81" fmla="*/ 24 h 2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" h="24">
                  <a:moveTo>
                    <a:pt x="4" y="24"/>
                  </a:move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4" y="8"/>
                  </a:lnTo>
                  <a:lnTo>
                    <a:pt x="6" y="4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6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10" y="20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6" y="22"/>
                  </a:lnTo>
                  <a:lnTo>
                    <a:pt x="4" y="2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9" name="Freeform 288"/>
            <p:cNvSpPr>
              <a:spLocks/>
            </p:cNvSpPr>
            <p:nvPr/>
          </p:nvSpPr>
          <p:spPr bwMode="auto">
            <a:xfrm>
              <a:off x="3580" y="966"/>
              <a:ext cx="42" cy="24"/>
            </a:xfrm>
            <a:custGeom>
              <a:avLst/>
              <a:gdLst>
                <a:gd name="T0" fmla="*/ 22 w 42"/>
                <a:gd name="T1" fmla="*/ 24 h 24"/>
                <a:gd name="T2" fmla="*/ 20 w 42"/>
                <a:gd name="T3" fmla="*/ 20 h 24"/>
                <a:gd name="T4" fmla="*/ 18 w 42"/>
                <a:gd name="T5" fmla="*/ 20 h 24"/>
                <a:gd name="T6" fmla="*/ 16 w 42"/>
                <a:gd name="T7" fmla="*/ 18 h 24"/>
                <a:gd name="T8" fmla="*/ 14 w 42"/>
                <a:gd name="T9" fmla="*/ 18 h 24"/>
                <a:gd name="T10" fmla="*/ 12 w 42"/>
                <a:gd name="T11" fmla="*/ 18 h 24"/>
                <a:gd name="T12" fmla="*/ 10 w 42"/>
                <a:gd name="T13" fmla="*/ 18 h 24"/>
                <a:gd name="T14" fmla="*/ 8 w 42"/>
                <a:gd name="T15" fmla="*/ 18 h 24"/>
                <a:gd name="T16" fmla="*/ 6 w 42"/>
                <a:gd name="T17" fmla="*/ 18 h 24"/>
                <a:gd name="T18" fmla="*/ 4 w 42"/>
                <a:gd name="T19" fmla="*/ 18 h 24"/>
                <a:gd name="T20" fmla="*/ 2 w 42"/>
                <a:gd name="T21" fmla="*/ 18 h 24"/>
                <a:gd name="T22" fmla="*/ 0 w 42"/>
                <a:gd name="T23" fmla="*/ 14 h 24"/>
                <a:gd name="T24" fmla="*/ 0 w 42"/>
                <a:gd name="T25" fmla="*/ 10 h 24"/>
                <a:gd name="T26" fmla="*/ 2 w 42"/>
                <a:gd name="T27" fmla="*/ 8 h 24"/>
                <a:gd name="T28" fmla="*/ 6 w 42"/>
                <a:gd name="T29" fmla="*/ 8 h 24"/>
                <a:gd name="T30" fmla="*/ 8 w 42"/>
                <a:gd name="T31" fmla="*/ 8 h 24"/>
                <a:gd name="T32" fmla="*/ 12 w 42"/>
                <a:gd name="T33" fmla="*/ 8 h 24"/>
                <a:gd name="T34" fmla="*/ 14 w 42"/>
                <a:gd name="T35" fmla="*/ 8 h 24"/>
                <a:gd name="T36" fmla="*/ 16 w 42"/>
                <a:gd name="T37" fmla="*/ 6 h 24"/>
                <a:gd name="T38" fmla="*/ 18 w 42"/>
                <a:gd name="T39" fmla="*/ 4 h 24"/>
                <a:gd name="T40" fmla="*/ 20 w 42"/>
                <a:gd name="T41" fmla="*/ 4 h 24"/>
                <a:gd name="T42" fmla="*/ 22 w 42"/>
                <a:gd name="T43" fmla="*/ 4 h 24"/>
                <a:gd name="T44" fmla="*/ 24 w 42"/>
                <a:gd name="T45" fmla="*/ 4 h 24"/>
                <a:gd name="T46" fmla="*/ 28 w 42"/>
                <a:gd name="T47" fmla="*/ 2 h 24"/>
                <a:gd name="T48" fmla="*/ 32 w 42"/>
                <a:gd name="T49" fmla="*/ 2 h 24"/>
                <a:gd name="T50" fmla="*/ 36 w 42"/>
                <a:gd name="T51" fmla="*/ 2 h 24"/>
                <a:gd name="T52" fmla="*/ 36 w 42"/>
                <a:gd name="T53" fmla="*/ 0 h 24"/>
                <a:gd name="T54" fmla="*/ 38 w 42"/>
                <a:gd name="T55" fmla="*/ 0 h 24"/>
                <a:gd name="T56" fmla="*/ 38 w 42"/>
                <a:gd name="T57" fmla="*/ 2 h 24"/>
                <a:gd name="T58" fmla="*/ 40 w 42"/>
                <a:gd name="T59" fmla="*/ 2 h 24"/>
                <a:gd name="T60" fmla="*/ 40 w 42"/>
                <a:gd name="T61" fmla="*/ 4 h 24"/>
                <a:gd name="T62" fmla="*/ 42 w 42"/>
                <a:gd name="T63" fmla="*/ 4 h 24"/>
                <a:gd name="T64" fmla="*/ 42 w 42"/>
                <a:gd name="T65" fmla="*/ 6 h 24"/>
                <a:gd name="T66" fmla="*/ 42 w 42"/>
                <a:gd name="T67" fmla="*/ 8 h 24"/>
                <a:gd name="T68" fmla="*/ 40 w 42"/>
                <a:gd name="T69" fmla="*/ 8 h 24"/>
                <a:gd name="T70" fmla="*/ 40 w 42"/>
                <a:gd name="T71" fmla="*/ 10 h 24"/>
                <a:gd name="T72" fmla="*/ 38 w 42"/>
                <a:gd name="T73" fmla="*/ 10 h 24"/>
                <a:gd name="T74" fmla="*/ 34 w 42"/>
                <a:gd name="T75" fmla="*/ 12 h 24"/>
                <a:gd name="T76" fmla="*/ 32 w 42"/>
                <a:gd name="T77" fmla="*/ 14 h 24"/>
                <a:gd name="T78" fmla="*/ 30 w 42"/>
                <a:gd name="T79" fmla="*/ 16 h 24"/>
                <a:gd name="T80" fmla="*/ 30 w 42"/>
                <a:gd name="T81" fmla="*/ 18 h 24"/>
                <a:gd name="T82" fmla="*/ 28 w 42"/>
                <a:gd name="T83" fmla="*/ 18 h 24"/>
                <a:gd name="T84" fmla="*/ 28 w 42"/>
                <a:gd name="T85" fmla="*/ 20 h 24"/>
                <a:gd name="T86" fmla="*/ 28 w 42"/>
                <a:gd name="T87" fmla="*/ 22 h 24"/>
                <a:gd name="T88" fmla="*/ 26 w 42"/>
                <a:gd name="T89" fmla="*/ 22 h 24"/>
                <a:gd name="T90" fmla="*/ 22 w 42"/>
                <a:gd name="T91" fmla="*/ 24 h 2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2"/>
                <a:gd name="T139" fmla="*/ 0 h 24"/>
                <a:gd name="T140" fmla="*/ 42 w 42"/>
                <a:gd name="T141" fmla="*/ 24 h 2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2" h="24">
                  <a:moveTo>
                    <a:pt x="22" y="24"/>
                  </a:moveTo>
                  <a:lnTo>
                    <a:pt x="20" y="20"/>
                  </a:lnTo>
                  <a:lnTo>
                    <a:pt x="18" y="20"/>
                  </a:lnTo>
                  <a:lnTo>
                    <a:pt x="16" y="18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8"/>
                  </a:lnTo>
                  <a:lnTo>
                    <a:pt x="6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6" y="6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24" y="4"/>
                  </a:lnTo>
                  <a:lnTo>
                    <a:pt x="28" y="2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2" y="8"/>
                  </a:lnTo>
                  <a:lnTo>
                    <a:pt x="40" y="8"/>
                  </a:lnTo>
                  <a:lnTo>
                    <a:pt x="40" y="10"/>
                  </a:lnTo>
                  <a:lnTo>
                    <a:pt x="38" y="10"/>
                  </a:lnTo>
                  <a:lnTo>
                    <a:pt x="34" y="12"/>
                  </a:lnTo>
                  <a:lnTo>
                    <a:pt x="32" y="14"/>
                  </a:lnTo>
                  <a:lnTo>
                    <a:pt x="30" y="16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8" y="20"/>
                  </a:lnTo>
                  <a:lnTo>
                    <a:pt x="28" y="22"/>
                  </a:lnTo>
                  <a:lnTo>
                    <a:pt x="26" y="22"/>
                  </a:lnTo>
                  <a:lnTo>
                    <a:pt x="22" y="2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0" name="Freeform 289"/>
            <p:cNvSpPr>
              <a:spLocks/>
            </p:cNvSpPr>
            <p:nvPr/>
          </p:nvSpPr>
          <p:spPr bwMode="auto">
            <a:xfrm>
              <a:off x="3566" y="974"/>
              <a:ext cx="12" cy="14"/>
            </a:xfrm>
            <a:custGeom>
              <a:avLst/>
              <a:gdLst>
                <a:gd name="T0" fmla="*/ 10 w 12"/>
                <a:gd name="T1" fmla="*/ 14 h 14"/>
                <a:gd name="T2" fmla="*/ 8 w 12"/>
                <a:gd name="T3" fmla="*/ 14 h 14"/>
                <a:gd name="T4" fmla="*/ 8 w 12"/>
                <a:gd name="T5" fmla="*/ 12 h 14"/>
                <a:gd name="T6" fmla="*/ 6 w 12"/>
                <a:gd name="T7" fmla="*/ 12 h 14"/>
                <a:gd name="T8" fmla="*/ 4 w 12"/>
                <a:gd name="T9" fmla="*/ 10 h 14"/>
                <a:gd name="T10" fmla="*/ 2 w 12"/>
                <a:gd name="T11" fmla="*/ 8 h 14"/>
                <a:gd name="T12" fmla="*/ 0 w 12"/>
                <a:gd name="T13" fmla="*/ 6 h 14"/>
                <a:gd name="T14" fmla="*/ 0 w 12"/>
                <a:gd name="T15" fmla="*/ 4 h 14"/>
                <a:gd name="T16" fmla="*/ 2 w 12"/>
                <a:gd name="T17" fmla="*/ 2 h 14"/>
                <a:gd name="T18" fmla="*/ 4 w 12"/>
                <a:gd name="T19" fmla="*/ 0 h 14"/>
                <a:gd name="T20" fmla="*/ 10 w 12"/>
                <a:gd name="T21" fmla="*/ 4 h 14"/>
                <a:gd name="T22" fmla="*/ 12 w 12"/>
                <a:gd name="T23" fmla="*/ 4 h 14"/>
                <a:gd name="T24" fmla="*/ 12 w 12"/>
                <a:gd name="T25" fmla="*/ 6 h 14"/>
                <a:gd name="T26" fmla="*/ 12 w 12"/>
                <a:gd name="T27" fmla="*/ 10 h 14"/>
                <a:gd name="T28" fmla="*/ 12 w 12"/>
                <a:gd name="T29" fmla="*/ 12 h 14"/>
                <a:gd name="T30" fmla="*/ 10 w 12"/>
                <a:gd name="T31" fmla="*/ 14 h 1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"/>
                <a:gd name="T49" fmla="*/ 0 h 14"/>
                <a:gd name="T50" fmla="*/ 12 w 12"/>
                <a:gd name="T51" fmla="*/ 14 h 1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" h="14">
                  <a:moveTo>
                    <a:pt x="10" y="14"/>
                  </a:moveTo>
                  <a:lnTo>
                    <a:pt x="8" y="14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2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4" y="0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0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1" name="Freeform 290"/>
            <p:cNvSpPr>
              <a:spLocks/>
            </p:cNvSpPr>
            <p:nvPr/>
          </p:nvSpPr>
          <p:spPr bwMode="auto">
            <a:xfrm>
              <a:off x="3610" y="982"/>
              <a:ext cx="26" cy="12"/>
            </a:xfrm>
            <a:custGeom>
              <a:avLst/>
              <a:gdLst>
                <a:gd name="T0" fmla="*/ 8 w 26"/>
                <a:gd name="T1" fmla="*/ 12 h 12"/>
                <a:gd name="T2" fmla="*/ 2 w 26"/>
                <a:gd name="T3" fmla="*/ 10 h 12"/>
                <a:gd name="T4" fmla="*/ 0 w 26"/>
                <a:gd name="T5" fmla="*/ 8 h 12"/>
                <a:gd name="T6" fmla="*/ 6 w 26"/>
                <a:gd name="T7" fmla="*/ 4 h 12"/>
                <a:gd name="T8" fmla="*/ 8 w 26"/>
                <a:gd name="T9" fmla="*/ 2 h 12"/>
                <a:gd name="T10" fmla="*/ 10 w 26"/>
                <a:gd name="T11" fmla="*/ 0 h 12"/>
                <a:gd name="T12" fmla="*/ 14 w 26"/>
                <a:gd name="T13" fmla="*/ 0 h 12"/>
                <a:gd name="T14" fmla="*/ 16 w 26"/>
                <a:gd name="T15" fmla="*/ 0 h 12"/>
                <a:gd name="T16" fmla="*/ 18 w 26"/>
                <a:gd name="T17" fmla="*/ 0 h 12"/>
                <a:gd name="T18" fmla="*/ 20 w 26"/>
                <a:gd name="T19" fmla="*/ 0 h 12"/>
                <a:gd name="T20" fmla="*/ 22 w 26"/>
                <a:gd name="T21" fmla="*/ 2 h 12"/>
                <a:gd name="T22" fmla="*/ 24 w 26"/>
                <a:gd name="T23" fmla="*/ 2 h 12"/>
                <a:gd name="T24" fmla="*/ 26 w 26"/>
                <a:gd name="T25" fmla="*/ 4 h 12"/>
                <a:gd name="T26" fmla="*/ 26 w 26"/>
                <a:gd name="T27" fmla="*/ 6 h 12"/>
                <a:gd name="T28" fmla="*/ 26 w 26"/>
                <a:gd name="T29" fmla="*/ 8 h 12"/>
                <a:gd name="T30" fmla="*/ 24 w 26"/>
                <a:gd name="T31" fmla="*/ 10 h 12"/>
                <a:gd name="T32" fmla="*/ 22 w 26"/>
                <a:gd name="T33" fmla="*/ 10 h 12"/>
                <a:gd name="T34" fmla="*/ 18 w 26"/>
                <a:gd name="T35" fmla="*/ 12 h 12"/>
                <a:gd name="T36" fmla="*/ 14 w 26"/>
                <a:gd name="T37" fmla="*/ 12 h 12"/>
                <a:gd name="T38" fmla="*/ 12 w 26"/>
                <a:gd name="T39" fmla="*/ 12 h 12"/>
                <a:gd name="T40" fmla="*/ 10 w 26"/>
                <a:gd name="T41" fmla="*/ 12 h 12"/>
                <a:gd name="T42" fmla="*/ 8 w 26"/>
                <a:gd name="T43" fmla="*/ 12 h 1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6"/>
                <a:gd name="T67" fmla="*/ 0 h 12"/>
                <a:gd name="T68" fmla="*/ 26 w 26"/>
                <a:gd name="T69" fmla="*/ 12 h 1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6" h="12">
                  <a:moveTo>
                    <a:pt x="8" y="12"/>
                  </a:moveTo>
                  <a:lnTo>
                    <a:pt x="2" y="10"/>
                  </a:lnTo>
                  <a:lnTo>
                    <a:pt x="0" y="8"/>
                  </a:lnTo>
                  <a:lnTo>
                    <a:pt x="6" y="4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4"/>
                  </a:lnTo>
                  <a:lnTo>
                    <a:pt x="26" y="6"/>
                  </a:lnTo>
                  <a:lnTo>
                    <a:pt x="26" y="8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18" y="12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0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2" name="Freeform 291"/>
            <p:cNvSpPr>
              <a:spLocks/>
            </p:cNvSpPr>
            <p:nvPr/>
          </p:nvSpPr>
          <p:spPr bwMode="auto">
            <a:xfrm>
              <a:off x="3552" y="982"/>
              <a:ext cx="12" cy="6"/>
            </a:xfrm>
            <a:custGeom>
              <a:avLst/>
              <a:gdLst>
                <a:gd name="T0" fmla="*/ 2 w 12"/>
                <a:gd name="T1" fmla="*/ 4 h 6"/>
                <a:gd name="T2" fmla="*/ 4 w 12"/>
                <a:gd name="T3" fmla="*/ 2 h 6"/>
                <a:gd name="T4" fmla="*/ 6 w 12"/>
                <a:gd name="T5" fmla="*/ 2 h 6"/>
                <a:gd name="T6" fmla="*/ 8 w 12"/>
                <a:gd name="T7" fmla="*/ 0 h 6"/>
                <a:gd name="T8" fmla="*/ 10 w 12"/>
                <a:gd name="T9" fmla="*/ 0 h 6"/>
                <a:gd name="T10" fmla="*/ 10 w 12"/>
                <a:gd name="T11" fmla="*/ 2 h 6"/>
                <a:gd name="T12" fmla="*/ 12 w 12"/>
                <a:gd name="T13" fmla="*/ 2 h 6"/>
                <a:gd name="T14" fmla="*/ 12 w 12"/>
                <a:gd name="T15" fmla="*/ 4 h 6"/>
                <a:gd name="T16" fmla="*/ 10 w 12"/>
                <a:gd name="T17" fmla="*/ 4 h 6"/>
                <a:gd name="T18" fmla="*/ 6 w 12"/>
                <a:gd name="T19" fmla="*/ 6 h 6"/>
                <a:gd name="T20" fmla="*/ 4 w 12"/>
                <a:gd name="T21" fmla="*/ 6 h 6"/>
                <a:gd name="T22" fmla="*/ 2 w 12"/>
                <a:gd name="T23" fmla="*/ 6 h 6"/>
                <a:gd name="T24" fmla="*/ 0 w 12"/>
                <a:gd name="T25" fmla="*/ 6 h 6"/>
                <a:gd name="T26" fmla="*/ 0 w 12"/>
                <a:gd name="T27" fmla="*/ 4 h 6"/>
                <a:gd name="T28" fmla="*/ 2 w 12"/>
                <a:gd name="T29" fmla="*/ 4 h 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6"/>
                <a:gd name="T47" fmla="*/ 12 w 12"/>
                <a:gd name="T48" fmla="*/ 6 h 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6">
                  <a:moveTo>
                    <a:pt x="2" y="4"/>
                  </a:moveTo>
                  <a:lnTo>
                    <a:pt x="4" y="2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3" name="Freeform 292"/>
            <p:cNvSpPr>
              <a:spLocks/>
            </p:cNvSpPr>
            <p:nvPr/>
          </p:nvSpPr>
          <p:spPr bwMode="auto">
            <a:xfrm>
              <a:off x="3546" y="986"/>
              <a:ext cx="26" cy="16"/>
            </a:xfrm>
            <a:custGeom>
              <a:avLst/>
              <a:gdLst>
                <a:gd name="T0" fmla="*/ 10 w 26"/>
                <a:gd name="T1" fmla="*/ 16 h 16"/>
                <a:gd name="T2" fmla="*/ 8 w 26"/>
                <a:gd name="T3" fmla="*/ 16 h 16"/>
                <a:gd name="T4" fmla="*/ 6 w 26"/>
                <a:gd name="T5" fmla="*/ 16 h 16"/>
                <a:gd name="T6" fmla="*/ 0 w 26"/>
                <a:gd name="T7" fmla="*/ 14 h 16"/>
                <a:gd name="T8" fmla="*/ 0 w 26"/>
                <a:gd name="T9" fmla="*/ 12 h 16"/>
                <a:gd name="T10" fmla="*/ 0 w 26"/>
                <a:gd name="T11" fmla="*/ 10 h 16"/>
                <a:gd name="T12" fmla="*/ 0 w 26"/>
                <a:gd name="T13" fmla="*/ 8 h 16"/>
                <a:gd name="T14" fmla="*/ 2 w 26"/>
                <a:gd name="T15" fmla="*/ 8 h 16"/>
                <a:gd name="T16" fmla="*/ 2 w 26"/>
                <a:gd name="T17" fmla="*/ 6 h 16"/>
                <a:gd name="T18" fmla="*/ 4 w 26"/>
                <a:gd name="T19" fmla="*/ 4 h 16"/>
                <a:gd name="T20" fmla="*/ 6 w 26"/>
                <a:gd name="T21" fmla="*/ 4 h 16"/>
                <a:gd name="T22" fmla="*/ 10 w 26"/>
                <a:gd name="T23" fmla="*/ 4 h 16"/>
                <a:gd name="T24" fmla="*/ 14 w 26"/>
                <a:gd name="T25" fmla="*/ 2 h 16"/>
                <a:gd name="T26" fmla="*/ 16 w 26"/>
                <a:gd name="T27" fmla="*/ 2 h 16"/>
                <a:gd name="T28" fmla="*/ 16 w 26"/>
                <a:gd name="T29" fmla="*/ 0 h 16"/>
                <a:gd name="T30" fmla="*/ 18 w 26"/>
                <a:gd name="T31" fmla="*/ 0 h 16"/>
                <a:gd name="T32" fmla="*/ 22 w 26"/>
                <a:gd name="T33" fmla="*/ 0 h 16"/>
                <a:gd name="T34" fmla="*/ 26 w 26"/>
                <a:gd name="T35" fmla="*/ 2 h 16"/>
                <a:gd name="T36" fmla="*/ 26 w 26"/>
                <a:gd name="T37" fmla="*/ 4 h 16"/>
                <a:gd name="T38" fmla="*/ 20 w 26"/>
                <a:gd name="T39" fmla="*/ 10 h 16"/>
                <a:gd name="T40" fmla="*/ 18 w 26"/>
                <a:gd name="T41" fmla="*/ 10 h 16"/>
                <a:gd name="T42" fmla="*/ 16 w 26"/>
                <a:gd name="T43" fmla="*/ 10 h 16"/>
                <a:gd name="T44" fmla="*/ 14 w 26"/>
                <a:gd name="T45" fmla="*/ 12 h 16"/>
                <a:gd name="T46" fmla="*/ 12 w 26"/>
                <a:gd name="T47" fmla="*/ 14 h 16"/>
                <a:gd name="T48" fmla="*/ 10 w 26"/>
                <a:gd name="T49" fmla="*/ 16 h 1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6"/>
                <a:gd name="T76" fmla="*/ 0 h 16"/>
                <a:gd name="T77" fmla="*/ 26 w 26"/>
                <a:gd name="T78" fmla="*/ 16 h 1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6" h="16">
                  <a:moveTo>
                    <a:pt x="10" y="16"/>
                  </a:moveTo>
                  <a:lnTo>
                    <a:pt x="8" y="16"/>
                  </a:lnTo>
                  <a:lnTo>
                    <a:pt x="6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4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6" y="2"/>
                  </a:lnTo>
                  <a:lnTo>
                    <a:pt x="26" y="4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2" y="14"/>
                  </a:lnTo>
                  <a:lnTo>
                    <a:pt x="10" y="16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4" name="Freeform 293"/>
            <p:cNvSpPr>
              <a:spLocks/>
            </p:cNvSpPr>
            <p:nvPr/>
          </p:nvSpPr>
          <p:spPr bwMode="auto">
            <a:xfrm>
              <a:off x="3558" y="992"/>
              <a:ext cx="132" cy="96"/>
            </a:xfrm>
            <a:custGeom>
              <a:avLst/>
              <a:gdLst>
                <a:gd name="T0" fmla="*/ 100 w 132"/>
                <a:gd name="T1" fmla="*/ 80 h 96"/>
                <a:gd name="T2" fmla="*/ 78 w 132"/>
                <a:gd name="T3" fmla="*/ 86 h 96"/>
                <a:gd name="T4" fmla="*/ 68 w 132"/>
                <a:gd name="T5" fmla="*/ 88 h 96"/>
                <a:gd name="T6" fmla="*/ 58 w 132"/>
                <a:gd name="T7" fmla="*/ 90 h 96"/>
                <a:gd name="T8" fmla="*/ 56 w 132"/>
                <a:gd name="T9" fmla="*/ 86 h 96"/>
                <a:gd name="T10" fmla="*/ 58 w 132"/>
                <a:gd name="T11" fmla="*/ 88 h 96"/>
                <a:gd name="T12" fmla="*/ 58 w 132"/>
                <a:gd name="T13" fmla="*/ 92 h 96"/>
                <a:gd name="T14" fmla="*/ 54 w 132"/>
                <a:gd name="T15" fmla="*/ 94 h 96"/>
                <a:gd name="T16" fmla="*/ 48 w 132"/>
                <a:gd name="T17" fmla="*/ 92 h 96"/>
                <a:gd name="T18" fmla="*/ 40 w 132"/>
                <a:gd name="T19" fmla="*/ 88 h 96"/>
                <a:gd name="T20" fmla="*/ 38 w 132"/>
                <a:gd name="T21" fmla="*/ 92 h 96"/>
                <a:gd name="T22" fmla="*/ 24 w 132"/>
                <a:gd name="T23" fmla="*/ 96 h 96"/>
                <a:gd name="T24" fmla="*/ 12 w 132"/>
                <a:gd name="T25" fmla="*/ 94 h 96"/>
                <a:gd name="T26" fmla="*/ 8 w 132"/>
                <a:gd name="T27" fmla="*/ 90 h 96"/>
                <a:gd name="T28" fmla="*/ 6 w 132"/>
                <a:gd name="T29" fmla="*/ 82 h 96"/>
                <a:gd name="T30" fmla="*/ 2 w 132"/>
                <a:gd name="T31" fmla="*/ 76 h 96"/>
                <a:gd name="T32" fmla="*/ 0 w 132"/>
                <a:gd name="T33" fmla="*/ 68 h 96"/>
                <a:gd name="T34" fmla="*/ 4 w 132"/>
                <a:gd name="T35" fmla="*/ 56 h 96"/>
                <a:gd name="T36" fmla="*/ 8 w 132"/>
                <a:gd name="T37" fmla="*/ 58 h 96"/>
                <a:gd name="T38" fmla="*/ 14 w 132"/>
                <a:gd name="T39" fmla="*/ 56 h 96"/>
                <a:gd name="T40" fmla="*/ 8 w 132"/>
                <a:gd name="T41" fmla="*/ 54 h 96"/>
                <a:gd name="T42" fmla="*/ 2 w 132"/>
                <a:gd name="T43" fmla="*/ 52 h 96"/>
                <a:gd name="T44" fmla="*/ 2 w 132"/>
                <a:gd name="T45" fmla="*/ 46 h 96"/>
                <a:gd name="T46" fmla="*/ 4 w 132"/>
                <a:gd name="T47" fmla="*/ 28 h 96"/>
                <a:gd name="T48" fmla="*/ 12 w 132"/>
                <a:gd name="T49" fmla="*/ 32 h 96"/>
                <a:gd name="T50" fmla="*/ 12 w 132"/>
                <a:gd name="T51" fmla="*/ 30 h 96"/>
                <a:gd name="T52" fmla="*/ 8 w 132"/>
                <a:gd name="T53" fmla="*/ 28 h 96"/>
                <a:gd name="T54" fmla="*/ 6 w 132"/>
                <a:gd name="T55" fmla="*/ 24 h 96"/>
                <a:gd name="T56" fmla="*/ 6 w 132"/>
                <a:gd name="T57" fmla="*/ 16 h 96"/>
                <a:gd name="T58" fmla="*/ 8 w 132"/>
                <a:gd name="T59" fmla="*/ 10 h 96"/>
                <a:gd name="T60" fmla="*/ 12 w 132"/>
                <a:gd name="T61" fmla="*/ 6 h 96"/>
                <a:gd name="T62" fmla="*/ 16 w 132"/>
                <a:gd name="T63" fmla="*/ 2 h 96"/>
                <a:gd name="T64" fmla="*/ 20 w 132"/>
                <a:gd name="T65" fmla="*/ 0 h 96"/>
                <a:gd name="T66" fmla="*/ 24 w 132"/>
                <a:gd name="T67" fmla="*/ 0 h 96"/>
                <a:gd name="T68" fmla="*/ 36 w 132"/>
                <a:gd name="T69" fmla="*/ 2 h 96"/>
                <a:gd name="T70" fmla="*/ 54 w 132"/>
                <a:gd name="T71" fmla="*/ 6 h 96"/>
                <a:gd name="T72" fmla="*/ 64 w 132"/>
                <a:gd name="T73" fmla="*/ 8 h 96"/>
                <a:gd name="T74" fmla="*/ 78 w 132"/>
                <a:gd name="T75" fmla="*/ 6 h 96"/>
                <a:gd name="T76" fmla="*/ 80 w 132"/>
                <a:gd name="T77" fmla="*/ 2 h 96"/>
                <a:gd name="T78" fmla="*/ 90 w 132"/>
                <a:gd name="T79" fmla="*/ 2 h 96"/>
                <a:gd name="T80" fmla="*/ 108 w 132"/>
                <a:gd name="T81" fmla="*/ 6 h 96"/>
                <a:gd name="T82" fmla="*/ 130 w 132"/>
                <a:gd name="T83" fmla="*/ 10 h 96"/>
                <a:gd name="T84" fmla="*/ 132 w 132"/>
                <a:gd name="T85" fmla="*/ 12 h 96"/>
                <a:gd name="T86" fmla="*/ 132 w 132"/>
                <a:gd name="T87" fmla="*/ 16 h 96"/>
                <a:gd name="T88" fmla="*/ 128 w 132"/>
                <a:gd name="T89" fmla="*/ 24 h 96"/>
                <a:gd name="T90" fmla="*/ 126 w 132"/>
                <a:gd name="T91" fmla="*/ 32 h 96"/>
                <a:gd name="T92" fmla="*/ 124 w 132"/>
                <a:gd name="T93" fmla="*/ 42 h 96"/>
                <a:gd name="T94" fmla="*/ 122 w 132"/>
                <a:gd name="T95" fmla="*/ 46 h 96"/>
                <a:gd name="T96" fmla="*/ 118 w 132"/>
                <a:gd name="T97" fmla="*/ 46 h 96"/>
                <a:gd name="T98" fmla="*/ 118 w 132"/>
                <a:gd name="T99" fmla="*/ 50 h 96"/>
                <a:gd name="T100" fmla="*/ 118 w 132"/>
                <a:gd name="T101" fmla="*/ 54 h 96"/>
                <a:gd name="T102" fmla="*/ 106 w 132"/>
                <a:gd name="T103" fmla="*/ 76 h 9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2"/>
                <a:gd name="T157" fmla="*/ 0 h 96"/>
                <a:gd name="T158" fmla="*/ 132 w 132"/>
                <a:gd name="T159" fmla="*/ 96 h 9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2" h="96">
                  <a:moveTo>
                    <a:pt x="104" y="78"/>
                  </a:moveTo>
                  <a:lnTo>
                    <a:pt x="100" y="80"/>
                  </a:lnTo>
                  <a:lnTo>
                    <a:pt x="90" y="84"/>
                  </a:lnTo>
                  <a:lnTo>
                    <a:pt x="78" y="86"/>
                  </a:lnTo>
                  <a:lnTo>
                    <a:pt x="70" y="84"/>
                  </a:lnTo>
                  <a:lnTo>
                    <a:pt x="68" y="88"/>
                  </a:lnTo>
                  <a:lnTo>
                    <a:pt x="62" y="92"/>
                  </a:lnTo>
                  <a:lnTo>
                    <a:pt x="58" y="90"/>
                  </a:lnTo>
                  <a:lnTo>
                    <a:pt x="58" y="84"/>
                  </a:lnTo>
                  <a:lnTo>
                    <a:pt x="56" y="86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8" y="92"/>
                  </a:lnTo>
                  <a:lnTo>
                    <a:pt x="56" y="94"/>
                  </a:lnTo>
                  <a:lnTo>
                    <a:pt x="54" y="94"/>
                  </a:lnTo>
                  <a:lnTo>
                    <a:pt x="50" y="94"/>
                  </a:lnTo>
                  <a:lnTo>
                    <a:pt x="48" y="92"/>
                  </a:lnTo>
                  <a:lnTo>
                    <a:pt x="46" y="92"/>
                  </a:lnTo>
                  <a:lnTo>
                    <a:pt x="40" y="88"/>
                  </a:lnTo>
                  <a:lnTo>
                    <a:pt x="40" y="90"/>
                  </a:lnTo>
                  <a:lnTo>
                    <a:pt x="38" y="92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2" y="94"/>
                  </a:lnTo>
                  <a:lnTo>
                    <a:pt x="10" y="92"/>
                  </a:lnTo>
                  <a:lnTo>
                    <a:pt x="8" y="90"/>
                  </a:lnTo>
                  <a:lnTo>
                    <a:pt x="8" y="84"/>
                  </a:lnTo>
                  <a:lnTo>
                    <a:pt x="6" y="82"/>
                  </a:lnTo>
                  <a:lnTo>
                    <a:pt x="4" y="80"/>
                  </a:lnTo>
                  <a:lnTo>
                    <a:pt x="2" y="76"/>
                  </a:lnTo>
                  <a:lnTo>
                    <a:pt x="0" y="74"/>
                  </a:lnTo>
                  <a:lnTo>
                    <a:pt x="0" y="68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10" y="58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8" y="54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30"/>
                  </a:lnTo>
                  <a:lnTo>
                    <a:pt x="4" y="28"/>
                  </a:lnTo>
                  <a:lnTo>
                    <a:pt x="6" y="30"/>
                  </a:lnTo>
                  <a:lnTo>
                    <a:pt x="12" y="32"/>
                  </a:lnTo>
                  <a:lnTo>
                    <a:pt x="14" y="32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8" y="28"/>
                  </a:lnTo>
                  <a:lnTo>
                    <a:pt x="6" y="28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8" y="10"/>
                  </a:lnTo>
                  <a:lnTo>
                    <a:pt x="8" y="8"/>
                  </a:lnTo>
                  <a:lnTo>
                    <a:pt x="12" y="6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54" y="6"/>
                  </a:lnTo>
                  <a:lnTo>
                    <a:pt x="60" y="6"/>
                  </a:lnTo>
                  <a:lnTo>
                    <a:pt x="64" y="8"/>
                  </a:lnTo>
                  <a:lnTo>
                    <a:pt x="76" y="6"/>
                  </a:lnTo>
                  <a:lnTo>
                    <a:pt x="78" y="6"/>
                  </a:lnTo>
                  <a:lnTo>
                    <a:pt x="78" y="4"/>
                  </a:lnTo>
                  <a:lnTo>
                    <a:pt x="80" y="2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8" y="2"/>
                  </a:lnTo>
                  <a:lnTo>
                    <a:pt x="108" y="6"/>
                  </a:lnTo>
                  <a:lnTo>
                    <a:pt x="118" y="6"/>
                  </a:lnTo>
                  <a:lnTo>
                    <a:pt x="130" y="10"/>
                  </a:lnTo>
                  <a:lnTo>
                    <a:pt x="132" y="10"/>
                  </a:lnTo>
                  <a:lnTo>
                    <a:pt x="132" y="12"/>
                  </a:lnTo>
                  <a:lnTo>
                    <a:pt x="132" y="14"/>
                  </a:lnTo>
                  <a:lnTo>
                    <a:pt x="132" y="16"/>
                  </a:lnTo>
                  <a:lnTo>
                    <a:pt x="130" y="1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26" y="32"/>
                  </a:lnTo>
                  <a:lnTo>
                    <a:pt x="126" y="34"/>
                  </a:lnTo>
                  <a:lnTo>
                    <a:pt x="124" y="42"/>
                  </a:lnTo>
                  <a:lnTo>
                    <a:pt x="124" y="44"/>
                  </a:lnTo>
                  <a:lnTo>
                    <a:pt x="122" y="46"/>
                  </a:lnTo>
                  <a:lnTo>
                    <a:pt x="120" y="46"/>
                  </a:lnTo>
                  <a:lnTo>
                    <a:pt x="118" y="46"/>
                  </a:lnTo>
                  <a:lnTo>
                    <a:pt x="118" y="48"/>
                  </a:lnTo>
                  <a:lnTo>
                    <a:pt x="118" y="50"/>
                  </a:lnTo>
                  <a:lnTo>
                    <a:pt x="118" y="52"/>
                  </a:lnTo>
                  <a:lnTo>
                    <a:pt x="118" y="54"/>
                  </a:lnTo>
                  <a:lnTo>
                    <a:pt x="112" y="64"/>
                  </a:lnTo>
                  <a:lnTo>
                    <a:pt x="106" y="76"/>
                  </a:lnTo>
                  <a:lnTo>
                    <a:pt x="104" y="7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5" name="Freeform 294"/>
            <p:cNvSpPr>
              <a:spLocks/>
            </p:cNvSpPr>
            <p:nvPr/>
          </p:nvSpPr>
          <p:spPr bwMode="auto">
            <a:xfrm>
              <a:off x="3526" y="992"/>
              <a:ext cx="18" cy="22"/>
            </a:xfrm>
            <a:custGeom>
              <a:avLst/>
              <a:gdLst>
                <a:gd name="T0" fmla="*/ 0 w 18"/>
                <a:gd name="T1" fmla="*/ 22 h 22"/>
                <a:gd name="T2" fmla="*/ 0 w 18"/>
                <a:gd name="T3" fmla="*/ 20 h 22"/>
                <a:gd name="T4" fmla="*/ 0 w 18"/>
                <a:gd name="T5" fmla="*/ 18 h 22"/>
                <a:gd name="T6" fmla="*/ 2 w 18"/>
                <a:gd name="T7" fmla="*/ 16 h 22"/>
                <a:gd name="T8" fmla="*/ 6 w 18"/>
                <a:gd name="T9" fmla="*/ 10 h 22"/>
                <a:gd name="T10" fmla="*/ 8 w 18"/>
                <a:gd name="T11" fmla="*/ 8 h 22"/>
                <a:gd name="T12" fmla="*/ 8 w 18"/>
                <a:gd name="T13" fmla="*/ 6 h 22"/>
                <a:gd name="T14" fmla="*/ 10 w 18"/>
                <a:gd name="T15" fmla="*/ 6 h 22"/>
                <a:gd name="T16" fmla="*/ 10 w 18"/>
                <a:gd name="T17" fmla="*/ 4 h 22"/>
                <a:gd name="T18" fmla="*/ 12 w 18"/>
                <a:gd name="T19" fmla="*/ 2 h 22"/>
                <a:gd name="T20" fmla="*/ 16 w 18"/>
                <a:gd name="T21" fmla="*/ 0 h 22"/>
                <a:gd name="T22" fmla="*/ 18 w 18"/>
                <a:gd name="T23" fmla="*/ 0 h 22"/>
                <a:gd name="T24" fmla="*/ 18 w 18"/>
                <a:gd name="T25" fmla="*/ 2 h 22"/>
                <a:gd name="T26" fmla="*/ 16 w 18"/>
                <a:gd name="T27" fmla="*/ 6 h 22"/>
                <a:gd name="T28" fmla="*/ 14 w 18"/>
                <a:gd name="T29" fmla="*/ 10 h 22"/>
                <a:gd name="T30" fmla="*/ 10 w 18"/>
                <a:gd name="T31" fmla="*/ 14 h 22"/>
                <a:gd name="T32" fmla="*/ 8 w 18"/>
                <a:gd name="T33" fmla="*/ 16 h 22"/>
                <a:gd name="T34" fmla="*/ 4 w 18"/>
                <a:gd name="T35" fmla="*/ 18 h 22"/>
                <a:gd name="T36" fmla="*/ 4 w 18"/>
                <a:gd name="T37" fmla="*/ 20 h 22"/>
                <a:gd name="T38" fmla="*/ 2 w 18"/>
                <a:gd name="T39" fmla="*/ 20 h 22"/>
                <a:gd name="T40" fmla="*/ 0 w 18"/>
                <a:gd name="T41" fmla="*/ 22 h 2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8"/>
                <a:gd name="T64" fmla="*/ 0 h 22"/>
                <a:gd name="T65" fmla="*/ 18 w 18"/>
                <a:gd name="T66" fmla="*/ 22 h 2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8" h="22">
                  <a:moveTo>
                    <a:pt x="0" y="22"/>
                  </a:moveTo>
                  <a:lnTo>
                    <a:pt x="0" y="20"/>
                  </a:lnTo>
                  <a:lnTo>
                    <a:pt x="0" y="18"/>
                  </a:lnTo>
                  <a:lnTo>
                    <a:pt x="2" y="16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6" y="6"/>
                  </a:lnTo>
                  <a:lnTo>
                    <a:pt x="14" y="10"/>
                  </a:lnTo>
                  <a:lnTo>
                    <a:pt x="10" y="14"/>
                  </a:lnTo>
                  <a:lnTo>
                    <a:pt x="8" y="16"/>
                  </a:lnTo>
                  <a:lnTo>
                    <a:pt x="4" y="18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6" name="Freeform 295"/>
            <p:cNvSpPr>
              <a:spLocks/>
            </p:cNvSpPr>
            <p:nvPr/>
          </p:nvSpPr>
          <p:spPr bwMode="auto">
            <a:xfrm>
              <a:off x="3554" y="998"/>
              <a:ext cx="8" cy="8"/>
            </a:xfrm>
            <a:custGeom>
              <a:avLst/>
              <a:gdLst>
                <a:gd name="T0" fmla="*/ 2 w 8"/>
                <a:gd name="T1" fmla="*/ 8 h 8"/>
                <a:gd name="T2" fmla="*/ 0 w 8"/>
                <a:gd name="T3" fmla="*/ 8 h 8"/>
                <a:gd name="T4" fmla="*/ 0 w 8"/>
                <a:gd name="T5" fmla="*/ 6 h 8"/>
                <a:gd name="T6" fmla="*/ 2 w 8"/>
                <a:gd name="T7" fmla="*/ 6 h 8"/>
                <a:gd name="T8" fmla="*/ 8 w 8"/>
                <a:gd name="T9" fmla="*/ 0 h 8"/>
                <a:gd name="T10" fmla="*/ 8 w 8"/>
                <a:gd name="T11" fmla="*/ 2 h 8"/>
                <a:gd name="T12" fmla="*/ 8 w 8"/>
                <a:gd name="T13" fmla="*/ 4 h 8"/>
                <a:gd name="T14" fmla="*/ 8 w 8"/>
                <a:gd name="T15" fmla="*/ 6 h 8"/>
                <a:gd name="T16" fmla="*/ 6 w 8"/>
                <a:gd name="T17" fmla="*/ 8 h 8"/>
                <a:gd name="T18" fmla="*/ 4 w 8"/>
                <a:gd name="T19" fmla="*/ 8 h 8"/>
                <a:gd name="T20" fmla="*/ 2 w 8"/>
                <a:gd name="T21" fmla="*/ 8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"/>
                <a:gd name="T34" fmla="*/ 0 h 8"/>
                <a:gd name="T35" fmla="*/ 8 w 8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" h="8">
                  <a:moveTo>
                    <a:pt x="2" y="8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2" y="6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7" name="Freeform 296"/>
            <p:cNvSpPr>
              <a:spLocks/>
            </p:cNvSpPr>
            <p:nvPr/>
          </p:nvSpPr>
          <p:spPr bwMode="auto">
            <a:xfrm>
              <a:off x="3540" y="1002"/>
              <a:ext cx="10" cy="14"/>
            </a:xfrm>
            <a:custGeom>
              <a:avLst/>
              <a:gdLst>
                <a:gd name="T0" fmla="*/ 2 w 10"/>
                <a:gd name="T1" fmla="*/ 14 h 14"/>
                <a:gd name="T2" fmla="*/ 0 w 10"/>
                <a:gd name="T3" fmla="*/ 14 h 14"/>
                <a:gd name="T4" fmla="*/ 0 w 10"/>
                <a:gd name="T5" fmla="*/ 12 h 14"/>
                <a:gd name="T6" fmla="*/ 2 w 10"/>
                <a:gd name="T7" fmla="*/ 6 h 14"/>
                <a:gd name="T8" fmla="*/ 6 w 10"/>
                <a:gd name="T9" fmla="*/ 0 h 14"/>
                <a:gd name="T10" fmla="*/ 10 w 10"/>
                <a:gd name="T11" fmla="*/ 2 h 14"/>
                <a:gd name="T12" fmla="*/ 10 w 10"/>
                <a:gd name="T13" fmla="*/ 4 h 14"/>
                <a:gd name="T14" fmla="*/ 8 w 10"/>
                <a:gd name="T15" fmla="*/ 4 h 14"/>
                <a:gd name="T16" fmla="*/ 6 w 10"/>
                <a:gd name="T17" fmla="*/ 4 h 14"/>
                <a:gd name="T18" fmla="*/ 6 w 10"/>
                <a:gd name="T19" fmla="*/ 6 h 14"/>
                <a:gd name="T20" fmla="*/ 4 w 10"/>
                <a:gd name="T21" fmla="*/ 8 h 14"/>
                <a:gd name="T22" fmla="*/ 4 w 10"/>
                <a:gd name="T23" fmla="*/ 10 h 14"/>
                <a:gd name="T24" fmla="*/ 4 w 10"/>
                <a:gd name="T25" fmla="*/ 12 h 14"/>
                <a:gd name="T26" fmla="*/ 4 w 10"/>
                <a:gd name="T27" fmla="*/ 14 h 14"/>
                <a:gd name="T28" fmla="*/ 2 w 10"/>
                <a:gd name="T29" fmla="*/ 14 h 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"/>
                <a:gd name="T46" fmla="*/ 0 h 14"/>
                <a:gd name="T47" fmla="*/ 10 w 10"/>
                <a:gd name="T48" fmla="*/ 14 h 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" h="14">
                  <a:moveTo>
                    <a:pt x="2" y="14"/>
                  </a:moveTo>
                  <a:lnTo>
                    <a:pt x="0" y="14"/>
                  </a:lnTo>
                  <a:lnTo>
                    <a:pt x="0" y="12"/>
                  </a:lnTo>
                  <a:lnTo>
                    <a:pt x="2" y="6"/>
                  </a:lnTo>
                  <a:lnTo>
                    <a:pt x="6" y="0"/>
                  </a:lnTo>
                  <a:lnTo>
                    <a:pt x="10" y="2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6"/>
                  </a:lnTo>
                  <a:lnTo>
                    <a:pt x="4" y="8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2" y="14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8" name="Freeform 297"/>
            <p:cNvSpPr>
              <a:spLocks/>
            </p:cNvSpPr>
            <p:nvPr/>
          </p:nvSpPr>
          <p:spPr bwMode="auto">
            <a:xfrm>
              <a:off x="3548" y="1006"/>
              <a:ext cx="14" cy="12"/>
            </a:xfrm>
            <a:custGeom>
              <a:avLst/>
              <a:gdLst>
                <a:gd name="T0" fmla="*/ 0 w 14"/>
                <a:gd name="T1" fmla="*/ 12 h 12"/>
                <a:gd name="T2" fmla="*/ 2 w 14"/>
                <a:gd name="T3" fmla="*/ 10 h 12"/>
                <a:gd name="T4" fmla="*/ 6 w 14"/>
                <a:gd name="T5" fmla="*/ 2 h 12"/>
                <a:gd name="T6" fmla="*/ 8 w 14"/>
                <a:gd name="T7" fmla="*/ 0 h 12"/>
                <a:gd name="T8" fmla="*/ 10 w 14"/>
                <a:gd name="T9" fmla="*/ 0 h 12"/>
                <a:gd name="T10" fmla="*/ 12 w 14"/>
                <a:gd name="T11" fmla="*/ 0 h 12"/>
                <a:gd name="T12" fmla="*/ 12 w 14"/>
                <a:gd name="T13" fmla="*/ 2 h 12"/>
                <a:gd name="T14" fmla="*/ 14 w 14"/>
                <a:gd name="T15" fmla="*/ 2 h 12"/>
                <a:gd name="T16" fmla="*/ 14 w 14"/>
                <a:gd name="T17" fmla="*/ 4 h 12"/>
                <a:gd name="T18" fmla="*/ 14 w 14"/>
                <a:gd name="T19" fmla="*/ 6 h 12"/>
                <a:gd name="T20" fmla="*/ 12 w 14"/>
                <a:gd name="T21" fmla="*/ 6 h 12"/>
                <a:gd name="T22" fmla="*/ 10 w 14"/>
                <a:gd name="T23" fmla="*/ 8 h 12"/>
                <a:gd name="T24" fmla="*/ 2 w 14"/>
                <a:gd name="T25" fmla="*/ 12 h 12"/>
                <a:gd name="T26" fmla="*/ 0 w 14"/>
                <a:gd name="T27" fmla="*/ 12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4"/>
                <a:gd name="T43" fmla="*/ 0 h 12"/>
                <a:gd name="T44" fmla="*/ 14 w 14"/>
                <a:gd name="T45" fmla="*/ 12 h 1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4" h="12">
                  <a:moveTo>
                    <a:pt x="0" y="12"/>
                  </a:moveTo>
                  <a:lnTo>
                    <a:pt x="2" y="10"/>
                  </a:lnTo>
                  <a:lnTo>
                    <a:pt x="6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2" y="6"/>
                  </a:lnTo>
                  <a:lnTo>
                    <a:pt x="10" y="8"/>
                  </a:lnTo>
                  <a:lnTo>
                    <a:pt x="2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9" name="Freeform 298"/>
            <p:cNvSpPr>
              <a:spLocks/>
            </p:cNvSpPr>
            <p:nvPr/>
          </p:nvSpPr>
          <p:spPr bwMode="auto">
            <a:xfrm>
              <a:off x="3544" y="1006"/>
              <a:ext cx="10" cy="12"/>
            </a:xfrm>
            <a:custGeom>
              <a:avLst/>
              <a:gdLst>
                <a:gd name="T0" fmla="*/ 0 w 10"/>
                <a:gd name="T1" fmla="*/ 12 h 12"/>
                <a:gd name="T2" fmla="*/ 0 w 10"/>
                <a:gd name="T3" fmla="*/ 10 h 12"/>
                <a:gd name="T4" fmla="*/ 0 w 10"/>
                <a:gd name="T5" fmla="*/ 8 h 12"/>
                <a:gd name="T6" fmla="*/ 0 w 10"/>
                <a:gd name="T7" fmla="*/ 6 h 12"/>
                <a:gd name="T8" fmla="*/ 4 w 10"/>
                <a:gd name="T9" fmla="*/ 4 h 12"/>
                <a:gd name="T10" fmla="*/ 6 w 10"/>
                <a:gd name="T11" fmla="*/ 2 h 12"/>
                <a:gd name="T12" fmla="*/ 8 w 10"/>
                <a:gd name="T13" fmla="*/ 2 h 12"/>
                <a:gd name="T14" fmla="*/ 10 w 10"/>
                <a:gd name="T15" fmla="*/ 0 h 12"/>
                <a:gd name="T16" fmla="*/ 8 w 10"/>
                <a:gd name="T17" fmla="*/ 2 h 12"/>
                <a:gd name="T18" fmla="*/ 6 w 10"/>
                <a:gd name="T19" fmla="*/ 8 h 12"/>
                <a:gd name="T20" fmla="*/ 4 w 10"/>
                <a:gd name="T21" fmla="*/ 10 h 12"/>
                <a:gd name="T22" fmla="*/ 0 w 10"/>
                <a:gd name="T23" fmla="*/ 12 h 1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"/>
                <a:gd name="T37" fmla="*/ 0 h 12"/>
                <a:gd name="T38" fmla="*/ 10 w 10"/>
                <a:gd name="T39" fmla="*/ 12 h 1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" h="12">
                  <a:moveTo>
                    <a:pt x="0" y="12"/>
                  </a:move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8"/>
                  </a:lnTo>
                  <a:lnTo>
                    <a:pt x="4" y="1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0" name="Freeform 299"/>
            <p:cNvSpPr>
              <a:spLocks/>
            </p:cNvSpPr>
            <p:nvPr/>
          </p:nvSpPr>
          <p:spPr bwMode="auto">
            <a:xfrm>
              <a:off x="3496" y="1016"/>
              <a:ext cx="44" cy="52"/>
            </a:xfrm>
            <a:custGeom>
              <a:avLst/>
              <a:gdLst>
                <a:gd name="T0" fmla="*/ 4 w 44"/>
                <a:gd name="T1" fmla="*/ 52 h 52"/>
                <a:gd name="T2" fmla="*/ 2 w 44"/>
                <a:gd name="T3" fmla="*/ 52 h 52"/>
                <a:gd name="T4" fmla="*/ 0 w 44"/>
                <a:gd name="T5" fmla="*/ 50 h 52"/>
                <a:gd name="T6" fmla="*/ 0 w 44"/>
                <a:gd name="T7" fmla="*/ 48 h 52"/>
                <a:gd name="T8" fmla="*/ 2 w 44"/>
                <a:gd name="T9" fmla="*/ 46 h 52"/>
                <a:gd name="T10" fmla="*/ 4 w 44"/>
                <a:gd name="T11" fmla="*/ 44 h 52"/>
                <a:gd name="T12" fmla="*/ 4 w 44"/>
                <a:gd name="T13" fmla="*/ 42 h 52"/>
                <a:gd name="T14" fmla="*/ 4 w 44"/>
                <a:gd name="T15" fmla="*/ 40 h 52"/>
                <a:gd name="T16" fmla="*/ 4 w 44"/>
                <a:gd name="T17" fmla="*/ 38 h 52"/>
                <a:gd name="T18" fmla="*/ 4 w 44"/>
                <a:gd name="T19" fmla="*/ 36 h 52"/>
                <a:gd name="T20" fmla="*/ 6 w 44"/>
                <a:gd name="T21" fmla="*/ 34 h 52"/>
                <a:gd name="T22" fmla="*/ 8 w 44"/>
                <a:gd name="T23" fmla="*/ 34 h 52"/>
                <a:gd name="T24" fmla="*/ 12 w 44"/>
                <a:gd name="T25" fmla="*/ 34 h 52"/>
                <a:gd name="T26" fmla="*/ 14 w 44"/>
                <a:gd name="T27" fmla="*/ 32 h 52"/>
                <a:gd name="T28" fmla="*/ 16 w 44"/>
                <a:gd name="T29" fmla="*/ 30 h 52"/>
                <a:gd name="T30" fmla="*/ 16 w 44"/>
                <a:gd name="T31" fmla="*/ 28 h 52"/>
                <a:gd name="T32" fmla="*/ 16 w 44"/>
                <a:gd name="T33" fmla="*/ 26 h 52"/>
                <a:gd name="T34" fmla="*/ 16 w 44"/>
                <a:gd name="T35" fmla="*/ 24 h 52"/>
                <a:gd name="T36" fmla="*/ 16 w 44"/>
                <a:gd name="T37" fmla="*/ 22 h 52"/>
                <a:gd name="T38" fmla="*/ 16 w 44"/>
                <a:gd name="T39" fmla="*/ 20 h 52"/>
                <a:gd name="T40" fmla="*/ 16 w 44"/>
                <a:gd name="T41" fmla="*/ 18 h 52"/>
                <a:gd name="T42" fmla="*/ 18 w 44"/>
                <a:gd name="T43" fmla="*/ 10 h 52"/>
                <a:gd name="T44" fmla="*/ 22 w 44"/>
                <a:gd name="T45" fmla="*/ 6 h 52"/>
                <a:gd name="T46" fmla="*/ 24 w 44"/>
                <a:gd name="T47" fmla="*/ 4 h 52"/>
                <a:gd name="T48" fmla="*/ 26 w 44"/>
                <a:gd name="T49" fmla="*/ 4 h 52"/>
                <a:gd name="T50" fmla="*/ 30 w 44"/>
                <a:gd name="T51" fmla="*/ 0 h 52"/>
                <a:gd name="T52" fmla="*/ 36 w 44"/>
                <a:gd name="T53" fmla="*/ 0 h 52"/>
                <a:gd name="T54" fmla="*/ 42 w 44"/>
                <a:gd name="T55" fmla="*/ 0 h 52"/>
                <a:gd name="T56" fmla="*/ 42 w 44"/>
                <a:gd name="T57" fmla="*/ 2 h 52"/>
                <a:gd name="T58" fmla="*/ 44 w 44"/>
                <a:gd name="T59" fmla="*/ 6 h 52"/>
                <a:gd name="T60" fmla="*/ 44 w 44"/>
                <a:gd name="T61" fmla="*/ 8 h 52"/>
                <a:gd name="T62" fmla="*/ 42 w 44"/>
                <a:gd name="T63" fmla="*/ 12 h 52"/>
                <a:gd name="T64" fmla="*/ 40 w 44"/>
                <a:gd name="T65" fmla="*/ 14 h 52"/>
                <a:gd name="T66" fmla="*/ 40 w 44"/>
                <a:gd name="T67" fmla="*/ 16 h 52"/>
                <a:gd name="T68" fmla="*/ 38 w 44"/>
                <a:gd name="T69" fmla="*/ 20 h 52"/>
                <a:gd name="T70" fmla="*/ 38 w 44"/>
                <a:gd name="T71" fmla="*/ 24 h 52"/>
                <a:gd name="T72" fmla="*/ 36 w 44"/>
                <a:gd name="T73" fmla="*/ 26 h 52"/>
                <a:gd name="T74" fmla="*/ 32 w 44"/>
                <a:gd name="T75" fmla="*/ 28 h 52"/>
                <a:gd name="T76" fmla="*/ 32 w 44"/>
                <a:gd name="T77" fmla="*/ 30 h 52"/>
                <a:gd name="T78" fmla="*/ 30 w 44"/>
                <a:gd name="T79" fmla="*/ 32 h 52"/>
                <a:gd name="T80" fmla="*/ 30 w 44"/>
                <a:gd name="T81" fmla="*/ 34 h 52"/>
                <a:gd name="T82" fmla="*/ 28 w 44"/>
                <a:gd name="T83" fmla="*/ 36 h 52"/>
                <a:gd name="T84" fmla="*/ 28 w 44"/>
                <a:gd name="T85" fmla="*/ 38 h 52"/>
                <a:gd name="T86" fmla="*/ 26 w 44"/>
                <a:gd name="T87" fmla="*/ 38 h 52"/>
                <a:gd name="T88" fmla="*/ 26 w 44"/>
                <a:gd name="T89" fmla="*/ 40 h 52"/>
                <a:gd name="T90" fmla="*/ 22 w 44"/>
                <a:gd name="T91" fmla="*/ 42 h 52"/>
                <a:gd name="T92" fmla="*/ 16 w 44"/>
                <a:gd name="T93" fmla="*/ 46 h 52"/>
                <a:gd name="T94" fmla="*/ 12 w 44"/>
                <a:gd name="T95" fmla="*/ 48 h 52"/>
                <a:gd name="T96" fmla="*/ 8 w 44"/>
                <a:gd name="T97" fmla="*/ 50 h 52"/>
                <a:gd name="T98" fmla="*/ 4 w 44"/>
                <a:gd name="T99" fmla="*/ 52 h 5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4"/>
                <a:gd name="T151" fmla="*/ 0 h 52"/>
                <a:gd name="T152" fmla="*/ 44 w 44"/>
                <a:gd name="T153" fmla="*/ 52 h 5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4" h="52">
                  <a:moveTo>
                    <a:pt x="4" y="52"/>
                  </a:moveTo>
                  <a:lnTo>
                    <a:pt x="2" y="52"/>
                  </a:lnTo>
                  <a:lnTo>
                    <a:pt x="0" y="50"/>
                  </a:lnTo>
                  <a:lnTo>
                    <a:pt x="0" y="48"/>
                  </a:lnTo>
                  <a:lnTo>
                    <a:pt x="2" y="46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6" y="34"/>
                  </a:lnTo>
                  <a:lnTo>
                    <a:pt x="8" y="34"/>
                  </a:lnTo>
                  <a:lnTo>
                    <a:pt x="12" y="34"/>
                  </a:lnTo>
                  <a:lnTo>
                    <a:pt x="14" y="32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6" y="22"/>
                  </a:lnTo>
                  <a:lnTo>
                    <a:pt x="16" y="20"/>
                  </a:lnTo>
                  <a:lnTo>
                    <a:pt x="16" y="18"/>
                  </a:lnTo>
                  <a:lnTo>
                    <a:pt x="18" y="10"/>
                  </a:lnTo>
                  <a:lnTo>
                    <a:pt x="22" y="6"/>
                  </a:lnTo>
                  <a:lnTo>
                    <a:pt x="24" y="4"/>
                  </a:lnTo>
                  <a:lnTo>
                    <a:pt x="26" y="4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2" y="2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8" y="20"/>
                  </a:lnTo>
                  <a:lnTo>
                    <a:pt x="38" y="24"/>
                  </a:lnTo>
                  <a:lnTo>
                    <a:pt x="36" y="26"/>
                  </a:lnTo>
                  <a:lnTo>
                    <a:pt x="32" y="28"/>
                  </a:lnTo>
                  <a:lnTo>
                    <a:pt x="32" y="30"/>
                  </a:lnTo>
                  <a:lnTo>
                    <a:pt x="30" y="32"/>
                  </a:lnTo>
                  <a:lnTo>
                    <a:pt x="30" y="34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2" y="42"/>
                  </a:lnTo>
                  <a:lnTo>
                    <a:pt x="16" y="46"/>
                  </a:lnTo>
                  <a:lnTo>
                    <a:pt x="12" y="48"/>
                  </a:lnTo>
                  <a:lnTo>
                    <a:pt x="8" y="50"/>
                  </a:lnTo>
                  <a:lnTo>
                    <a:pt x="4" y="5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1" name="Freeform 300"/>
            <p:cNvSpPr>
              <a:spLocks/>
            </p:cNvSpPr>
            <p:nvPr/>
          </p:nvSpPr>
          <p:spPr bwMode="auto">
            <a:xfrm>
              <a:off x="3540" y="1018"/>
              <a:ext cx="18" cy="20"/>
            </a:xfrm>
            <a:custGeom>
              <a:avLst/>
              <a:gdLst>
                <a:gd name="T0" fmla="*/ 0 w 18"/>
                <a:gd name="T1" fmla="*/ 20 h 20"/>
                <a:gd name="T2" fmla="*/ 0 w 18"/>
                <a:gd name="T3" fmla="*/ 16 h 20"/>
                <a:gd name="T4" fmla="*/ 2 w 18"/>
                <a:gd name="T5" fmla="*/ 10 h 20"/>
                <a:gd name="T6" fmla="*/ 4 w 18"/>
                <a:gd name="T7" fmla="*/ 8 h 20"/>
                <a:gd name="T8" fmla="*/ 4 w 18"/>
                <a:gd name="T9" fmla="*/ 6 h 20"/>
                <a:gd name="T10" fmla="*/ 10 w 18"/>
                <a:gd name="T11" fmla="*/ 2 h 20"/>
                <a:gd name="T12" fmla="*/ 14 w 18"/>
                <a:gd name="T13" fmla="*/ 0 h 20"/>
                <a:gd name="T14" fmla="*/ 16 w 18"/>
                <a:gd name="T15" fmla="*/ 0 h 20"/>
                <a:gd name="T16" fmla="*/ 18 w 18"/>
                <a:gd name="T17" fmla="*/ 0 h 20"/>
                <a:gd name="T18" fmla="*/ 18 w 18"/>
                <a:gd name="T19" fmla="*/ 2 h 20"/>
                <a:gd name="T20" fmla="*/ 18 w 18"/>
                <a:gd name="T21" fmla="*/ 6 h 20"/>
                <a:gd name="T22" fmla="*/ 16 w 18"/>
                <a:gd name="T23" fmla="*/ 6 h 20"/>
                <a:gd name="T24" fmla="*/ 14 w 18"/>
                <a:gd name="T25" fmla="*/ 6 h 20"/>
                <a:gd name="T26" fmla="*/ 12 w 18"/>
                <a:gd name="T27" fmla="*/ 8 h 20"/>
                <a:gd name="T28" fmla="*/ 10 w 18"/>
                <a:gd name="T29" fmla="*/ 10 h 20"/>
                <a:gd name="T30" fmla="*/ 6 w 18"/>
                <a:gd name="T31" fmla="*/ 16 h 20"/>
                <a:gd name="T32" fmla="*/ 2 w 18"/>
                <a:gd name="T33" fmla="*/ 20 h 20"/>
                <a:gd name="T34" fmla="*/ 0 w 18"/>
                <a:gd name="T35" fmla="*/ 2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8"/>
                <a:gd name="T55" fmla="*/ 0 h 20"/>
                <a:gd name="T56" fmla="*/ 18 w 18"/>
                <a:gd name="T57" fmla="*/ 20 h 2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8" h="20">
                  <a:moveTo>
                    <a:pt x="0" y="20"/>
                  </a:moveTo>
                  <a:lnTo>
                    <a:pt x="0" y="16"/>
                  </a:lnTo>
                  <a:lnTo>
                    <a:pt x="2" y="10"/>
                  </a:lnTo>
                  <a:lnTo>
                    <a:pt x="4" y="8"/>
                  </a:lnTo>
                  <a:lnTo>
                    <a:pt x="4" y="6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8"/>
                  </a:lnTo>
                  <a:lnTo>
                    <a:pt x="10" y="10"/>
                  </a:lnTo>
                  <a:lnTo>
                    <a:pt x="6" y="16"/>
                  </a:lnTo>
                  <a:lnTo>
                    <a:pt x="2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2" name="Freeform 301"/>
            <p:cNvSpPr>
              <a:spLocks/>
            </p:cNvSpPr>
            <p:nvPr/>
          </p:nvSpPr>
          <p:spPr bwMode="auto">
            <a:xfrm>
              <a:off x="3550" y="1026"/>
              <a:ext cx="6" cy="8"/>
            </a:xfrm>
            <a:custGeom>
              <a:avLst/>
              <a:gdLst>
                <a:gd name="T0" fmla="*/ 2 w 6"/>
                <a:gd name="T1" fmla="*/ 8 h 8"/>
                <a:gd name="T2" fmla="*/ 0 w 6"/>
                <a:gd name="T3" fmla="*/ 8 h 8"/>
                <a:gd name="T4" fmla="*/ 0 w 6"/>
                <a:gd name="T5" fmla="*/ 6 h 8"/>
                <a:gd name="T6" fmla="*/ 2 w 6"/>
                <a:gd name="T7" fmla="*/ 0 h 8"/>
                <a:gd name="T8" fmla="*/ 4 w 6"/>
                <a:gd name="T9" fmla="*/ 0 h 8"/>
                <a:gd name="T10" fmla="*/ 6 w 6"/>
                <a:gd name="T11" fmla="*/ 0 h 8"/>
                <a:gd name="T12" fmla="*/ 6 w 6"/>
                <a:gd name="T13" fmla="*/ 2 h 8"/>
                <a:gd name="T14" fmla="*/ 6 w 6"/>
                <a:gd name="T15" fmla="*/ 6 h 8"/>
                <a:gd name="T16" fmla="*/ 2 w 6"/>
                <a:gd name="T17" fmla="*/ 6 h 8"/>
                <a:gd name="T18" fmla="*/ 2 w 6"/>
                <a:gd name="T19" fmla="*/ 8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8"/>
                <a:gd name="T32" fmla="*/ 6 w 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8">
                  <a:moveTo>
                    <a:pt x="2" y="8"/>
                  </a:moveTo>
                  <a:lnTo>
                    <a:pt x="0" y="8"/>
                  </a:lnTo>
                  <a:lnTo>
                    <a:pt x="0" y="6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6"/>
                  </a:lnTo>
                  <a:lnTo>
                    <a:pt x="2" y="6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3" name="Freeform 302"/>
            <p:cNvSpPr>
              <a:spLocks/>
            </p:cNvSpPr>
            <p:nvPr/>
          </p:nvSpPr>
          <p:spPr bwMode="auto">
            <a:xfrm>
              <a:off x="3526" y="1032"/>
              <a:ext cx="12" cy="22"/>
            </a:xfrm>
            <a:custGeom>
              <a:avLst/>
              <a:gdLst>
                <a:gd name="T0" fmla="*/ 0 w 12"/>
                <a:gd name="T1" fmla="*/ 22 h 22"/>
                <a:gd name="T2" fmla="*/ 0 w 12"/>
                <a:gd name="T3" fmla="*/ 20 h 22"/>
                <a:gd name="T4" fmla="*/ 2 w 12"/>
                <a:gd name="T5" fmla="*/ 16 h 22"/>
                <a:gd name="T6" fmla="*/ 6 w 12"/>
                <a:gd name="T7" fmla="*/ 14 h 22"/>
                <a:gd name="T8" fmla="*/ 6 w 12"/>
                <a:gd name="T9" fmla="*/ 12 h 22"/>
                <a:gd name="T10" fmla="*/ 8 w 12"/>
                <a:gd name="T11" fmla="*/ 12 h 22"/>
                <a:gd name="T12" fmla="*/ 8 w 12"/>
                <a:gd name="T13" fmla="*/ 10 h 22"/>
                <a:gd name="T14" fmla="*/ 10 w 12"/>
                <a:gd name="T15" fmla="*/ 8 h 22"/>
                <a:gd name="T16" fmla="*/ 10 w 12"/>
                <a:gd name="T17" fmla="*/ 6 h 22"/>
                <a:gd name="T18" fmla="*/ 10 w 12"/>
                <a:gd name="T19" fmla="*/ 4 h 22"/>
                <a:gd name="T20" fmla="*/ 10 w 12"/>
                <a:gd name="T21" fmla="*/ 2 h 22"/>
                <a:gd name="T22" fmla="*/ 12 w 12"/>
                <a:gd name="T23" fmla="*/ 0 h 22"/>
                <a:gd name="T24" fmla="*/ 12 w 12"/>
                <a:gd name="T25" fmla="*/ 2 h 22"/>
                <a:gd name="T26" fmla="*/ 12 w 12"/>
                <a:gd name="T27" fmla="*/ 4 h 22"/>
                <a:gd name="T28" fmla="*/ 12 w 12"/>
                <a:gd name="T29" fmla="*/ 6 h 22"/>
                <a:gd name="T30" fmla="*/ 12 w 12"/>
                <a:gd name="T31" fmla="*/ 8 h 22"/>
                <a:gd name="T32" fmla="*/ 12 w 12"/>
                <a:gd name="T33" fmla="*/ 10 h 22"/>
                <a:gd name="T34" fmla="*/ 8 w 12"/>
                <a:gd name="T35" fmla="*/ 18 h 22"/>
                <a:gd name="T36" fmla="*/ 8 w 12"/>
                <a:gd name="T37" fmla="*/ 20 h 22"/>
                <a:gd name="T38" fmla="*/ 6 w 12"/>
                <a:gd name="T39" fmla="*/ 20 h 22"/>
                <a:gd name="T40" fmla="*/ 2 w 12"/>
                <a:gd name="T41" fmla="*/ 22 h 22"/>
                <a:gd name="T42" fmla="*/ 0 w 12"/>
                <a:gd name="T43" fmla="*/ 22 h 2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2"/>
                <a:gd name="T67" fmla="*/ 0 h 22"/>
                <a:gd name="T68" fmla="*/ 12 w 12"/>
                <a:gd name="T69" fmla="*/ 22 h 2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2" h="22">
                  <a:moveTo>
                    <a:pt x="0" y="22"/>
                  </a:moveTo>
                  <a:lnTo>
                    <a:pt x="0" y="20"/>
                  </a:lnTo>
                  <a:lnTo>
                    <a:pt x="2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10" y="8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8" y="18"/>
                  </a:lnTo>
                  <a:lnTo>
                    <a:pt x="8" y="20"/>
                  </a:lnTo>
                  <a:lnTo>
                    <a:pt x="6" y="20"/>
                  </a:lnTo>
                  <a:lnTo>
                    <a:pt x="2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4" name="Freeform 303"/>
            <p:cNvSpPr>
              <a:spLocks/>
            </p:cNvSpPr>
            <p:nvPr/>
          </p:nvSpPr>
          <p:spPr bwMode="auto">
            <a:xfrm>
              <a:off x="3538" y="1034"/>
              <a:ext cx="14" cy="12"/>
            </a:xfrm>
            <a:custGeom>
              <a:avLst/>
              <a:gdLst>
                <a:gd name="T0" fmla="*/ 12 w 14"/>
                <a:gd name="T1" fmla="*/ 0 h 12"/>
                <a:gd name="T2" fmla="*/ 14 w 14"/>
                <a:gd name="T3" fmla="*/ 0 h 12"/>
                <a:gd name="T4" fmla="*/ 12 w 14"/>
                <a:gd name="T5" fmla="*/ 2 h 12"/>
                <a:gd name="T6" fmla="*/ 10 w 14"/>
                <a:gd name="T7" fmla="*/ 2 h 12"/>
                <a:gd name="T8" fmla="*/ 8 w 14"/>
                <a:gd name="T9" fmla="*/ 4 h 12"/>
                <a:gd name="T10" fmla="*/ 8 w 14"/>
                <a:gd name="T11" fmla="*/ 6 h 12"/>
                <a:gd name="T12" fmla="*/ 8 w 14"/>
                <a:gd name="T13" fmla="*/ 8 h 12"/>
                <a:gd name="T14" fmla="*/ 6 w 14"/>
                <a:gd name="T15" fmla="*/ 10 h 12"/>
                <a:gd name="T16" fmla="*/ 2 w 14"/>
                <a:gd name="T17" fmla="*/ 12 h 12"/>
                <a:gd name="T18" fmla="*/ 0 w 14"/>
                <a:gd name="T19" fmla="*/ 12 h 12"/>
                <a:gd name="T20" fmla="*/ 0 w 14"/>
                <a:gd name="T21" fmla="*/ 8 h 12"/>
                <a:gd name="T22" fmla="*/ 2 w 14"/>
                <a:gd name="T23" fmla="*/ 8 h 12"/>
                <a:gd name="T24" fmla="*/ 2 w 14"/>
                <a:gd name="T25" fmla="*/ 6 h 12"/>
                <a:gd name="T26" fmla="*/ 6 w 14"/>
                <a:gd name="T27" fmla="*/ 2 h 12"/>
                <a:gd name="T28" fmla="*/ 8 w 14"/>
                <a:gd name="T29" fmla="*/ 2 h 12"/>
                <a:gd name="T30" fmla="*/ 8 w 14"/>
                <a:gd name="T31" fmla="*/ 0 h 12"/>
                <a:gd name="T32" fmla="*/ 10 w 14"/>
                <a:gd name="T33" fmla="*/ 0 h 12"/>
                <a:gd name="T34" fmla="*/ 12 w 14"/>
                <a:gd name="T35" fmla="*/ 0 h 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4"/>
                <a:gd name="T55" fmla="*/ 0 h 12"/>
                <a:gd name="T56" fmla="*/ 14 w 14"/>
                <a:gd name="T57" fmla="*/ 12 h 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4" h="12">
                  <a:moveTo>
                    <a:pt x="12" y="0"/>
                  </a:moveTo>
                  <a:lnTo>
                    <a:pt x="14" y="0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8" y="4"/>
                  </a:lnTo>
                  <a:lnTo>
                    <a:pt x="8" y="6"/>
                  </a:lnTo>
                  <a:lnTo>
                    <a:pt x="8" y="8"/>
                  </a:lnTo>
                  <a:lnTo>
                    <a:pt x="6" y="10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6" y="2"/>
                  </a:lnTo>
                  <a:lnTo>
                    <a:pt x="8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5" name="Freeform 304"/>
            <p:cNvSpPr>
              <a:spLocks/>
            </p:cNvSpPr>
            <p:nvPr/>
          </p:nvSpPr>
          <p:spPr bwMode="auto">
            <a:xfrm>
              <a:off x="3686" y="1046"/>
              <a:ext cx="6" cy="8"/>
            </a:xfrm>
            <a:custGeom>
              <a:avLst/>
              <a:gdLst>
                <a:gd name="T0" fmla="*/ 4 w 6"/>
                <a:gd name="T1" fmla="*/ 8 h 8"/>
                <a:gd name="T2" fmla="*/ 2 w 6"/>
                <a:gd name="T3" fmla="*/ 8 h 8"/>
                <a:gd name="T4" fmla="*/ 0 w 6"/>
                <a:gd name="T5" fmla="*/ 6 h 8"/>
                <a:gd name="T6" fmla="*/ 0 w 6"/>
                <a:gd name="T7" fmla="*/ 4 h 8"/>
                <a:gd name="T8" fmla="*/ 2 w 6"/>
                <a:gd name="T9" fmla="*/ 0 h 8"/>
                <a:gd name="T10" fmla="*/ 4 w 6"/>
                <a:gd name="T11" fmla="*/ 0 h 8"/>
                <a:gd name="T12" fmla="*/ 6 w 6"/>
                <a:gd name="T13" fmla="*/ 0 h 8"/>
                <a:gd name="T14" fmla="*/ 6 w 6"/>
                <a:gd name="T15" fmla="*/ 2 h 8"/>
                <a:gd name="T16" fmla="*/ 6 w 6"/>
                <a:gd name="T17" fmla="*/ 4 h 8"/>
                <a:gd name="T18" fmla="*/ 6 w 6"/>
                <a:gd name="T19" fmla="*/ 6 h 8"/>
                <a:gd name="T20" fmla="*/ 6 w 6"/>
                <a:gd name="T21" fmla="*/ 8 h 8"/>
                <a:gd name="T22" fmla="*/ 4 w 6"/>
                <a:gd name="T23" fmla="*/ 8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8"/>
                <a:gd name="T38" fmla="*/ 6 w 6"/>
                <a:gd name="T39" fmla="*/ 8 h 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8">
                  <a:moveTo>
                    <a:pt x="4" y="8"/>
                  </a:moveTo>
                  <a:lnTo>
                    <a:pt x="2" y="8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6" name="Freeform 305"/>
            <p:cNvSpPr>
              <a:spLocks/>
            </p:cNvSpPr>
            <p:nvPr/>
          </p:nvSpPr>
          <p:spPr bwMode="auto">
            <a:xfrm>
              <a:off x="3470" y="1062"/>
              <a:ext cx="14" cy="8"/>
            </a:xfrm>
            <a:custGeom>
              <a:avLst/>
              <a:gdLst>
                <a:gd name="T0" fmla="*/ 0 w 14"/>
                <a:gd name="T1" fmla="*/ 8 h 8"/>
                <a:gd name="T2" fmla="*/ 0 w 14"/>
                <a:gd name="T3" fmla="*/ 6 h 8"/>
                <a:gd name="T4" fmla="*/ 12 w 14"/>
                <a:gd name="T5" fmla="*/ 0 h 8"/>
                <a:gd name="T6" fmla="*/ 14 w 14"/>
                <a:gd name="T7" fmla="*/ 2 h 8"/>
                <a:gd name="T8" fmla="*/ 12 w 14"/>
                <a:gd name="T9" fmla="*/ 4 h 8"/>
                <a:gd name="T10" fmla="*/ 10 w 14"/>
                <a:gd name="T11" fmla="*/ 6 h 8"/>
                <a:gd name="T12" fmla="*/ 2 w 14"/>
                <a:gd name="T13" fmla="*/ 8 h 8"/>
                <a:gd name="T14" fmla="*/ 0 w 14"/>
                <a:gd name="T15" fmla="*/ 8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8"/>
                <a:gd name="T26" fmla="*/ 14 w 14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8">
                  <a:moveTo>
                    <a:pt x="0" y="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2" y="4"/>
                  </a:lnTo>
                  <a:lnTo>
                    <a:pt x="10" y="6"/>
                  </a:lnTo>
                  <a:lnTo>
                    <a:pt x="2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7" name="Freeform 306"/>
            <p:cNvSpPr>
              <a:spLocks/>
            </p:cNvSpPr>
            <p:nvPr/>
          </p:nvSpPr>
          <p:spPr bwMode="auto">
            <a:xfrm>
              <a:off x="3482" y="1066"/>
              <a:ext cx="16" cy="10"/>
            </a:xfrm>
            <a:custGeom>
              <a:avLst/>
              <a:gdLst>
                <a:gd name="T0" fmla="*/ 0 w 16"/>
                <a:gd name="T1" fmla="*/ 10 h 10"/>
                <a:gd name="T2" fmla="*/ 2 w 16"/>
                <a:gd name="T3" fmla="*/ 8 h 10"/>
                <a:gd name="T4" fmla="*/ 0 w 16"/>
                <a:gd name="T5" fmla="*/ 8 h 10"/>
                <a:gd name="T6" fmla="*/ 0 w 16"/>
                <a:gd name="T7" fmla="*/ 6 h 10"/>
                <a:gd name="T8" fmla="*/ 2 w 16"/>
                <a:gd name="T9" fmla="*/ 2 h 10"/>
                <a:gd name="T10" fmla="*/ 10 w 16"/>
                <a:gd name="T11" fmla="*/ 0 h 10"/>
                <a:gd name="T12" fmla="*/ 12 w 16"/>
                <a:gd name="T13" fmla="*/ 0 h 10"/>
                <a:gd name="T14" fmla="*/ 14 w 16"/>
                <a:gd name="T15" fmla="*/ 2 h 10"/>
                <a:gd name="T16" fmla="*/ 16 w 16"/>
                <a:gd name="T17" fmla="*/ 4 h 10"/>
                <a:gd name="T18" fmla="*/ 16 w 16"/>
                <a:gd name="T19" fmla="*/ 6 h 10"/>
                <a:gd name="T20" fmla="*/ 14 w 16"/>
                <a:gd name="T21" fmla="*/ 6 h 10"/>
                <a:gd name="T22" fmla="*/ 12 w 16"/>
                <a:gd name="T23" fmla="*/ 8 h 10"/>
                <a:gd name="T24" fmla="*/ 10 w 16"/>
                <a:gd name="T25" fmla="*/ 8 h 10"/>
                <a:gd name="T26" fmla="*/ 8 w 16"/>
                <a:gd name="T27" fmla="*/ 8 h 10"/>
                <a:gd name="T28" fmla="*/ 6 w 16"/>
                <a:gd name="T29" fmla="*/ 8 h 10"/>
                <a:gd name="T30" fmla="*/ 4 w 16"/>
                <a:gd name="T31" fmla="*/ 8 h 10"/>
                <a:gd name="T32" fmla="*/ 2 w 16"/>
                <a:gd name="T33" fmla="*/ 10 h 10"/>
                <a:gd name="T34" fmla="*/ 0 w 16"/>
                <a:gd name="T35" fmla="*/ 10 h 1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6"/>
                <a:gd name="T55" fmla="*/ 0 h 10"/>
                <a:gd name="T56" fmla="*/ 16 w 16"/>
                <a:gd name="T57" fmla="*/ 10 h 1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6" h="10">
                  <a:moveTo>
                    <a:pt x="0" y="10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6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8" name="Freeform 307"/>
            <p:cNvSpPr>
              <a:spLocks/>
            </p:cNvSpPr>
            <p:nvPr/>
          </p:nvSpPr>
          <p:spPr bwMode="auto">
            <a:xfrm>
              <a:off x="3654" y="1074"/>
              <a:ext cx="8" cy="12"/>
            </a:xfrm>
            <a:custGeom>
              <a:avLst/>
              <a:gdLst>
                <a:gd name="T0" fmla="*/ 4 w 8"/>
                <a:gd name="T1" fmla="*/ 12 h 12"/>
                <a:gd name="T2" fmla="*/ 2 w 8"/>
                <a:gd name="T3" fmla="*/ 12 h 12"/>
                <a:gd name="T4" fmla="*/ 0 w 8"/>
                <a:gd name="T5" fmla="*/ 10 h 12"/>
                <a:gd name="T6" fmla="*/ 0 w 8"/>
                <a:gd name="T7" fmla="*/ 6 h 12"/>
                <a:gd name="T8" fmla="*/ 0 w 8"/>
                <a:gd name="T9" fmla="*/ 2 h 12"/>
                <a:gd name="T10" fmla="*/ 2 w 8"/>
                <a:gd name="T11" fmla="*/ 2 h 12"/>
                <a:gd name="T12" fmla="*/ 6 w 8"/>
                <a:gd name="T13" fmla="*/ 0 h 12"/>
                <a:gd name="T14" fmla="*/ 8 w 8"/>
                <a:gd name="T15" fmla="*/ 0 h 12"/>
                <a:gd name="T16" fmla="*/ 8 w 8"/>
                <a:gd name="T17" fmla="*/ 2 h 12"/>
                <a:gd name="T18" fmla="*/ 4 w 8"/>
                <a:gd name="T19" fmla="*/ 10 h 12"/>
                <a:gd name="T20" fmla="*/ 4 w 8"/>
                <a:gd name="T21" fmla="*/ 12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"/>
                <a:gd name="T34" fmla="*/ 0 h 12"/>
                <a:gd name="T35" fmla="*/ 8 w 8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" h="12">
                  <a:moveTo>
                    <a:pt x="4" y="12"/>
                  </a:moveTo>
                  <a:lnTo>
                    <a:pt x="2" y="12"/>
                  </a:lnTo>
                  <a:lnTo>
                    <a:pt x="0" y="10"/>
                  </a:lnTo>
                  <a:lnTo>
                    <a:pt x="0" y="6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4" y="10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9" name="Freeform 308"/>
            <p:cNvSpPr>
              <a:spLocks/>
            </p:cNvSpPr>
            <p:nvPr/>
          </p:nvSpPr>
          <p:spPr bwMode="auto">
            <a:xfrm>
              <a:off x="3648" y="1082"/>
              <a:ext cx="8" cy="8"/>
            </a:xfrm>
            <a:custGeom>
              <a:avLst/>
              <a:gdLst>
                <a:gd name="T0" fmla="*/ 0 w 8"/>
                <a:gd name="T1" fmla="*/ 8 h 8"/>
                <a:gd name="T2" fmla="*/ 0 w 8"/>
                <a:gd name="T3" fmla="*/ 6 h 8"/>
                <a:gd name="T4" fmla="*/ 2 w 8"/>
                <a:gd name="T5" fmla="*/ 2 h 8"/>
                <a:gd name="T6" fmla="*/ 4 w 8"/>
                <a:gd name="T7" fmla="*/ 0 h 8"/>
                <a:gd name="T8" fmla="*/ 6 w 8"/>
                <a:gd name="T9" fmla="*/ 0 h 8"/>
                <a:gd name="T10" fmla="*/ 6 w 8"/>
                <a:gd name="T11" fmla="*/ 2 h 8"/>
                <a:gd name="T12" fmla="*/ 6 w 8"/>
                <a:gd name="T13" fmla="*/ 4 h 8"/>
                <a:gd name="T14" fmla="*/ 8 w 8"/>
                <a:gd name="T15" fmla="*/ 4 h 8"/>
                <a:gd name="T16" fmla="*/ 6 w 8"/>
                <a:gd name="T17" fmla="*/ 6 h 8"/>
                <a:gd name="T18" fmla="*/ 6 w 8"/>
                <a:gd name="T19" fmla="*/ 8 h 8"/>
                <a:gd name="T20" fmla="*/ 4 w 8"/>
                <a:gd name="T21" fmla="*/ 6 h 8"/>
                <a:gd name="T22" fmla="*/ 0 w 8"/>
                <a:gd name="T23" fmla="*/ 8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"/>
                <a:gd name="T37" fmla="*/ 0 h 8"/>
                <a:gd name="T38" fmla="*/ 8 w 8"/>
                <a:gd name="T39" fmla="*/ 8 h 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" h="8">
                  <a:moveTo>
                    <a:pt x="0" y="8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4"/>
                  </a:lnTo>
                  <a:lnTo>
                    <a:pt x="8" y="4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0" name="Freeform 309"/>
            <p:cNvSpPr>
              <a:spLocks/>
            </p:cNvSpPr>
            <p:nvPr/>
          </p:nvSpPr>
          <p:spPr bwMode="auto">
            <a:xfrm>
              <a:off x="3540" y="1088"/>
              <a:ext cx="16" cy="8"/>
            </a:xfrm>
            <a:custGeom>
              <a:avLst/>
              <a:gdLst>
                <a:gd name="T0" fmla="*/ 16 w 16"/>
                <a:gd name="T1" fmla="*/ 8 h 8"/>
                <a:gd name="T2" fmla="*/ 14 w 16"/>
                <a:gd name="T3" fmla="*/ 8 h 8"/>
                <a:gd name="T4" fmla="*/ 12 w 16"/>
                <a:gd name="T5" fmla="*/ 8 h 8"/>
                <a:gd name="T6" fmla="*/ 10 w 16"/>
                <a:gd name="T7" fmla="*/ 6 h 8"/>
                <a:gd name="T8" fmla="*/ 8 w 16"/>
                <a:gd name="T9" fmla="*/ 8 h 8"/>
                <a:gd name="T10" fmla="*/ 6 w 16"/>
                <a:gd name="T11" fmla="*/ 8 h 8"/>
                <a:gd name="T12" fmla="*/ 4 w 16"/>
                <a:gd name="T13" fmla="*/ 6 h 8"/>
                <a:gd name="T14" fmla="*/ 2 w 16"/>
                <a:gd name="T15" fmla="*/ 4 h 8"/>
                <a:gd name="T16" fmla="*/ 0 w 16"/>
                <a:gd name="T17" fmla="*/ 2 h 8"/>
                <a:gd name="T18" fmla="*/ 0 w 16"/>
                <a:gd name="T19" fmla="*/ 0 h 8"/>
                <a:gd name="T20" fmla="*/ 4 w 16"/>
                <a:gd name="T21" fmla="*/ 0 h 8"/>
                <a:gd name="T22" fmla="*/ 8 w 16"/>
                <a:gd name="T23" fmla="*/ 0 h 8"/>
                <a:gd name="T24" fmla="*/ 14 w 16"/>
                <a:gd name="T25" fmla="*/ 4 h 8"/>
                <a:gd name="T26" fmla="*/ 16 w 16"/>
                <a:gd name="T27" fmla="*/ 8 h 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"/>
                <a:gd name="T43" fmla="*/ 0 h 8"/>
                <a:gd name="T44" fmla="*/ 16 w 16"/>
                <a:gd name="T45" fmla="*/ 8 h 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" h="8">
                  <a:moveTo>
                    <a:pt x="16" y="8"/>
                  </a:moveTo>
                  <a:lnTo>
                    <a:pt x="14" y="8"/>
                  </a:lnTo>
                  <a:lnTo>
                    <a:pt x="12" y="8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6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4" y="4"/>
                  </a:lnTo>
                  <a:lnTo>
                    <a:pt x="16" y="8"/>
                  </a:lnTo>
                  <a:close/>
                </a:path>
              </a:pathLst>
            </a:custGeom>
            <a:grpFill/>
            <a:ln w="3175" cmpd="sng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pic>
        <p:nvPicPr>
          <p:cNvPr id="242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162162" y="3655272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3" name="Picture 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358233" y="3518096"/>
            <a:ext cx="357190" cy="146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4" name="Picture 5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233597" y="3798148"/>
            <a:ext cx="288656" cy="2047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5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926186" y="4094160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6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710165" y="4310184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7" name="Picture 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070201" y="3014040"/>
            <a:ext cx="357190" cy="146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8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430248" y="3014040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9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766467" y="2654000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0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206245" y="2068816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1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062089" y="2509984"/>
            <a:ext cx="428628" cy="12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2" name="Picture 3" descr="image00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728768" y="3553559"/>
            <a:ext cx="216024" cy="261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3" name="Rectangle 334"/>
          <p:cNvSpPr>
            <a:spLocks noChangeArrowheads="1"/>
          </p:cNvSpPr>
          <p:nvPr/>
        </p:nvSpPr>
        <p:spPr bwMode="auto">
          <a:xfrm>
            <a:off x="4933066" y="2576862"/>
            <a:ext cx="47128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000" b="1" dirty="0" smtClean="0">
                <a:solidFill>
                  <a:prstClr val="white"/>
                </a:solidFill>
              </a:rPr>
              <a:t>BRAZIL</a:t>
            </a:r>
            <a:endParaRPr lang="en-US" sz="1000" b="1" dirty="0">
              <a:solidFill>
                <a:prstClr val="white"/>
              </a:solidFill>
            </a:endParaRPr>
          </a:p>
        </p:txBody>
      </p:sp>
      <p:pic>
        <p:nvPicPr>
          <p:cNvPr id="256" name="Picture 2"/>
          <p:cNvPicPr>
            <a:picLocks noChangeAspect="1" noChangeArrowheads="1"/>
          </p:cNvPicPr>
          <p:nvPr/>
        </p:nvPicPr>
        <p:blipFill>
          <a:blip r:embed="rId14" cstate="print"/>
          <a:srcRect t="29252" b="21462"/>
          <a:stretch>
            <a:fillRect/>
          </a:stretch>
        </p:blipFill>
        <p:spPr bwMode="auto">
          <a:xfrm>
            <a:off x="5566732" y="3819223"/>
            <a:ext cx="438269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7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004334" y="4720078"/>
            <a:ext cx="380988" cy="21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8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432828" y="3934187"/>
            <a:ext cx="380988" cy="21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9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432828" y="3077004"/>
            <a:ext cx="380988" cy="21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0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432828" y="1648172"/>
            <a:ext cx="380988" cy="21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861593" y="3362684"/>
            <a:ext cx="380988" cy="21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2" name="Rectangle 334"/>
          <p:cNvSpPr>
            <a:spLocks noChangeArrowheads="1"/>
          </p:cNvSpPr>
          <p:nvPr/>
        </p:nvSpPr>
        <p:spPr bwMode="auto">
          <a:xfrm>
            <a:off x="2584241" y="403932"/>
            <a:ext cx="45525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900" b="1" dirty="0" smtClean="0">
                <a:solidFill>
                  <a:prstClr val="black"/>
                </a:solidFill>
              </a:rPr>
              <a:t>MEXICO</a:t>
            </a:r>
            <a:endParaRPr lang="en-US" sz="1400" b="1" dirty="0">
              <a:solidFill>
                <a:prstClr val="black"/>
              </a:solidFill>
            </a:endParaRPr>
          </a:p>
        </p:txBody>
      </p:sp>
      <p:pic>
        <p:nvPicPr>
          <p:cNvPr id="263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931158" y="613731"/>
            <a:ext cx="380988" cy="214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0" name="Picture 2" descr="Inicio Espomega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123104" y="947924"/>
            <a:ext cx="576064" cy="77769"/>
          </a:xfrm>
          <a:prstGeom prst="rect">
            <a:avLst/>
          </a:prstGeom>
          <a:noFill/>
        </p:spPr>
      </p:pic>
      <p:pic>
        <p:nvPicPr>
          <p:cNvPr id="271" name="Picture 2" descr="http://www.proepta.com/images/logo.png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2635095" y="867609"/>
            <a:ext cx="360040" cy="390044"/>
          </a:xfrm>
          <a:prstGeom prst="rect">
            <a:avLst/>
          </a:prstGeom>
          <a:noFill/>
        </p:spPr>
      </p:pic>
      <p:pic>
        <p:nvPicPr>
          <p:cNvPr id="272" name="Imagem 1" descr="De Santis Distribuidora Logo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263391" y="3365036"/>
            <a:ext cx="432049" cy="112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3" name="Picture 4" descr="Logo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 l="8630" r="84245"/>
          <a:stretch>
            <a:fillRect/>
          </a:stretch>
        </p:blipFill>
        <p:spPr bwMode="auto">
          <a:xfrm>
            <a:off x="3440833" y="4221088"/>
            <a:ext cx="216024" cy="292100"/>
          </a:xfrm>
          <a:prstGeom prst="rect">
            <a:avLst/>
          </a:prstGeom>
          <a:noFill/>
        </p:spPr>
      </p:pic>
      <p:pic>
        <p:nvPicPr>
          <p:cNvPr id="284" name="Picture 6" descr="https://www.jplus.com.br/images/logo.png"/>
          <p:cNvPicPr>
            <a:picLocks noChangeAspect="1" noChangeArrowheads="1"/>
          </p:cNvPicPr>
          <p:nvPr/>
        </p:nvPicPr>
        <p:blipFill>
          <a:blip r:embed="rId4" cstate="print"/>
          <a:srcRect l="24545"/>
          <a:stretch>
            <a:fillRect/>
          </a:stretch>
        </p:blipFill>
        <p:spPr bwMode="auto">
          <a:xfrm>
            <a:off x="5385090" y="4077073"/>
            <a:ext cx="446267" cy="128656"/>
          </a:xfrm>
          <a:prstGeom prst="rect">
            <a:avLst/>
          </a:prstGeom>
          <a:noFill/>
        </p:spPr>
      </p:pic>
      <p:pic>
        <p:nvPicPr>
          <p:cNvPr id="285" name="Picture 2"/>
          <p:cNvPicPr>
            <a:picLocks noChangeAspect="1" noChangeArrowheads="1"/>
          </p:cNvPicPr>
          <p:nvPr/>
        </p:nvPicPr>
        <p:blipFill>
          <a:blip r:embed="rId5" cstate="print"/>
          <a:srcRect l="23439" t="13245" r="58115" b="76009"/>
          <a:stretch>
            <a:fillRect/>
          </a:stretch>
        </p:blipFill>
        <p:spPr bwMode="auto">
          <a:xfrm>
            <a:off x="5529064" y="4221088"/>
            <a:ext cx="414688" cy="134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1" name="Rectangle 240"/>
          <p:cNvSpPr/>
          <p:nvPr/>
        </p:nvSpPr>
        <p:spPr>
          <a:xfrm>
            <a:off x="388274" y="2626331"/>
            <a:ext cx="1972445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4400" b="1" spc="-20" dirty="0" smtClean="0">
                <a:solidFill>
                  <a:srgbClr val="7AC142"/>
                </a:solidFill>
              </a:rPr>
              <a:t>12 </a:t>
            </a:r>
          </a:p>
          <a:p>
            <a:r>
              <a:rPr lang="en-GB" sz="1600" b="1" spc="-20" dirty="0" smtClean="0">
                <a:solidFill>
                  <a:srgbClr val="003E7E"/>
                </a:solidFill>
              </a:rPr>
              <a:t>anchor and bolt-on acquisitions since 2008</a:t>
            </a:r>
            <a:endParaRPr lang="en-GB" sz="1600" b="1" spc="-20" dirty="0">
              <a:solidFill>
                <a:srgbClr val="003E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57101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" dur="50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3" dur="50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6" dur="500"/>
                                        <p:tgtEl>
                                          <p:spTgt spid="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9" dur="5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2" dur="5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0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3"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6" dur="50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9" dur="50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7" dur="50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0" dur="500"/>
                                        <p:tgtEl>
                                          <p:spTgt spid="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3" dur="500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trong growth in LATAM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6A69B5-200B-4E8E-9012-4EBB91306B1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648745" y="637282"/>
            <a:ext cx="6876407" cy="4655980"/>
            <a:chOff x="1064568" y="699336"/>
            <a:chExt cx="8074274" cy="5013794"/>
          </a:xfrm>
        </p:grpSpPr>
        <p:graphicFrame>
          <p:nvGraphicFramePr>
            <p:cNvPr id="37" name="Chart 36"/>
            <p:cNvGraphicFramePr/>
            <p:nvPr>
              <p:extLst>
                <p:ext uri="{D42A27DB-BD31-4B8C-83A1-F6EECF244321}">
                  <p14:modId xmlns:p14="http://schemas.microsoft.com/office/powerpoint/2010/main" xmlns="" val="1886216789"/>
                </p:ext>
              </p:extLst>
            </p:nvPr>
          </p:nvGraphicFramePr>
          <p:xfrm>
            <a:off x="1712640" y="1340767"/>
            <a:ext cx="7416824" cy="259228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6" name="Line 18"/>
            <p:cNvSpPr>
              <a:spLocks noChangeShapeType="1"/>
            </p:cNvSpPr>
            <p:nvPr/>
          </p:nvSpPr>
          <p:spPr bwMode="auto">
            <a:xfrm flipV="1">
              <a:off x="2039516" y="4306739"/>
              <a:ext cx="7099326" cy="4382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grpSp>
          <p:nvGrpSpPr>
            <p:cNvPr id="7" name="Group 10"/>
            <p:cNvGrpSpPr>
              <a:grpSpLocks/>
            </p:cNvGrpSpPr>
            <p:nvPr/>
          </p:nvGrpSpPr>
          <p:grpSpPr bwMode="auto">
            <a:xfrm>
              <a:off x="1064568" y="3970763"/>
              <a:ext cx="900143" cy="1742367"/>
              <a:chOff x="158" y="2647"/>
              <a:chExt cx="408" cy="1054"/>
            </a:xfrm>
          </p:grpSpPr>
          <p:sp>
            <p:nvSpPr>
              <p:cNvPr id="8" name="AutoShape 7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58" y="2647"/>
                <a:ext cx="408" cy="183"/>
              </a:xfrm>
              <a:prstGeom prst="flowChartAlternateProcess">
                <a:avLst/>
              </a:prstGeom>
              <a:solidFill>
                <a:srgbClr val="012C57"/>
              </a:solidFill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0" tIns="0" rIns="0" bIns="0" anchor="ctr"/>
              <a:lstStyle/>
              <a:p>
                <a:pPr algn="ctr">
                  <a:lnSpc>
                    <a:spcPct val="75000"/>
                  </a:lnSpc>
                </a:pPr>
                <a:r>
                  <a:rPr lang="en-US" sz="1000" b="1" dirty="0" smtClean="0">
                    <a:solidFill>
                      <a:prstClr val="white"/>
                    </a:solidFill>
                    <a:cs typeface="Arial" pitchFamily="34" charset="0"/>
                  </a:rPr>
                  <a:t>Safety</a:t>
                </a:r>
                <a:endParaRPr lang="en-US" sz="1000" b="1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  <p:sp>
            <p:nvSpPr>
              <p:cNvPr id="9" name="AutoShape 7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58" y="2865"/>
                <a:ext cx="408" cy="183"/>
              </a:xfrm>
              <a:prstGeom prst="flowChartAlternateProcess">
                <a:avLst/>
              </a:prstGeom>
              <a:solidFill>
                <a:srgbClr val="012C57"/>
              </a:solidFill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0" tIns="0" rIns="0" bIns="0" anchor="ctr"/>
              <a:lstStyle/>
              <a:p>
                <a:pPr algn="ctr">
                  <a:lnSpc>
                    <a:spcPct val="75000"/>
                  </a:lnSpc>
                </a:pPr>
                <a:r>
                  <a:rPr lang="en-US" sz="1000" b="1" dirty="0" smtClean="0">
                    <a:solidFill>
                      <a:prstClr val="white"/>
                    </a:solidFill>
                    <a:cs typeface="Arial" charset="0"/>
                  </a:rPr>
                  <a:t>Cleaning &amp; </a:t>
                </a:r>
              </a:p>
              <a:p>
                <a:pPr algn="ctr">
                  <a:lnSpc>
                    <a:spcPct val="75000"/>
                  </a:lnSpc>
                </a:pPr>
                <a:r>
                  <a:rPr lang="en-US" sz="1000" b="1" dirty="0" smtClean="0">
                    <a:solidFill>
                      <a:prstClr val="white"/>
                    </a:solidFill>
                    <a:cs typeface="Arial" charset="0"/>
                  </a:rPr>
                  <a:t>hygiene</a:t>
                </a:r>
              </a:p>
            </p:txBody>
          </p:sp>
          <p:sp>
            <p:nvSpPr>
              <p:cNvPr id="10" name="AutoShape 7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58" y="3082"/>
                <a:ext cx="408" cy="183"/>
              </a:xfrm>
              <a:prstGeom prst="flowChartAlternateProcess">
                <a:avLst/>
              </a:prstGeom>
              <a:solidFill>
                <a:srgbClr val="012C57"/>
              </a:solidFill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0" tIns="0" rIns="0" bIns="0" anchor="ctr"/>
              <a:lstStyle/>
              <a:p>
                <a:pPr algn="ctr">
                  <a:lnSpc>
                    <a:spcPct val="75000"/>
                  </a:lnSpc>
                </a:pPr>
                <a:r>
                  <a:rPr lang="en-US" sz="1000" b="1" dirty="0" smtClean="0">
                    <a:solidFill>
                      <a:prstClr val="white"/>
                    </a:solidFill>
                    <a:cs typeface="Arial" charset="0"/>
                  </a:rPr>
                  <a:t>Foodservice</a:t>
                </a:r>
              </a:p>
            </p:txBody>
          </p:sp>
          <p:sp>
            <p:nvSpPr>
              <p:cNvPr id="11" name="AutoShape 7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58" y="3300"/>
                <a:ext cx="408" cy="182"/>
              </a:xfrm>
              <a:prstGeom prst="flowChartAlternateProcess">
                <a:avLst/>
              </a:prstGeom>
              <a:solidFill>
                <a:srgbClr val="012C57"/>
              </a:solidFill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0" tIns="0" rIns="0" bIns="0" anchor="ctr"/>
              <a:lstStyle/>
              <a:p>
                <a:pPr algn="ctr">
                  <a:lnSpc>
                    <a:spcPct val="75000"/>
                  </a:lnSpc>
                </a:pPr>
                <a:r>
                  <a:rPr lang="en-US" sz="1000" b="1" dirty="0">
                    <a:solidFill>
                      <a:prstClr val="white"/>
                    </a:solidFill>
                    <a:cs typeface="Arial" pitchFamily="34" charset="0"/>
                  </a:rPr>
                  <a:t>Healthcare</a:t>
                </a:r>
              </a:p>
            </p:txBody>
          </p:sp>
          <p:sp>
            <p:nvSpPr>
              <p:cNvPr id="12" name="AutoShape 7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158" y="3518"/>
                <a:ext cx="408" cy="183"/>
              </a:xfrm>
              <a:prstGeom prst="flowChartAlternateProcess">
                <a:avLst/>
              </a:prstGeom>
              <a:solidFill>
                <a:srgbClr val="012C57"/>
              </a:solidFill>
              <a:ln w="9525" algn="ctr">
                <a:noFill/>
                <a:miter lim="800000"/>
                <a:headEnd type="none" w="lg" len="lg"/>
                <a:tailEnd type="none" w="lg" len="lg"/>
              </a:ln>
            </p:spPr>
            <p:txBody>
              <a:bodyPr wrap="none" lIns="0" tIns="0" rIns="0" bIns="0" anchor="ctr"/>
              <a:lstStyle/>
              <a:p>
                <a:pPr algn="ctr">
                  <a:lnSpc>
                    <a:spcPct val="75000"/>
                  </a:lnSpc>
                </a:pPr>
                <a:r>
                  <a:rPr lang="en-US" sz="1000" b="1" dirty="0" smtClean="0">
                    <a:solidFill>
                      <a:prstClr val="white"/>
                    </a:solidFill>
                    <a:cs typeface="Arial" pitchFamily="34" charset="0"/>
                  </a:rPr>
                  <a:t>Retail</a:t>
                </a:r>
                <a:endParaRPr lang="en-US" sz="1000" b="1" dirty="0">
                  <a:solidFill>
                    <a:prstClr val="white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13" name="Line 17"/>
            <p:cNvSpPr>
              <a:spLocks noChangeShapeType="1"/>
            </p:cNvSpPr>
            <p:nvPr/>
          </p:nvSpPr>
          <p:spPr bwMode="auto">
            <a:xfrm flipV="1">
              <a:off x="2037736" y="3951788"/>
              <a:ext cx="7101106" cy="0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" name="Line 19"/>
            <p:cNvSpPr>
              <a:spLocks noChangeShapeType="1"/>
            </p:cNvSpPr>
            <p:nvPr/>
          </p:nvSpPr>
          <p:spPr bwMode="auto">
            <a:xfrm flipV="1">
              <a:off x="2037736" y="4663929"/>
              <a:ext cx="7101105" cy="7192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5" name="Line 20"/>
            <p:cNvSpPr>
              <a:spLocks noChangeShapeType="1"/>
            </p:cNvSpPr>
            <p:nvPr/>
          </p:nvSpPr>
          <p:spPr bwMode="auto">
            <a:xfrm flipV="1">
              <a:off x="2066480" y="5030644"/>
              <a:ext cx="7072362" cy="0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6" name="Line 21"/>
            <p:cNvSpPr>
              <a:spLocks noChangeShapeType="1"/>
            </p:cNvSpPr>
            <p:nvPr/>
          </p:nvSpPr>
          <p:spPr bwMode="auto">
            <a:xfrm flipV="1">
              <a:off x="2037736" y="5378309"/>
              <a:ext cx="7101106" cy="12812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7" name="Line 22"/>
            <p:cNvSpPr>
              <a:spLocks noChangeShapeType="1"/>
            </p:cNvSpPr>
            <p:nvPr/>
          </p:nvSpPr>
          <p:spPr bwMode="auto">
            <a:xfrm flipV="1">
              <a:off x="2039516" y="5697399"/>
              <a:ext cx="7099326" cy="15622"/>
            </a:xfrm>
            <a:prstGeom prst="line">
              <a:avLst/>
            </a:prstGeom>
            <a:noFill/>
            <a:ln w="19050">
              <a:solidFill>
                <a:srgbClr val="99CC0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8" name="Text Box 11"/>
            <p:cNvSpPr txBox="1">
              <a:spLocks noChangeArrowheads="1"/>
            </p:cNvSpPr>
            <p:nvPr/>
          </p:nvSpPr>
          <p:spPr bwMode="auto">
            <a:xfrm>
              <a:off x="2998845" y="2770989"/>
              <a:ext cx="1295400" cy="322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13488" tIns="56745" rIns="113488" bIns="56745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200" b="1" dirty="0" smtClean="0">
                  <a:solidFill>
                    <a:srgbClr val="091C5A"/>
                  </a:solidFill>
                </a:rPr>
                <a:t>AM Supply</a:t>
              </a:r>
              <a:endParaRPr lang="en-US" sz="1200" b="1" dirty="0">
                <a:solidFill>
                  <a:srgbClr val="091C5A"/>
                </a:solidFill>
              </a:endParaRPr>
            </a:p>
          </p:txBody>
        </p:sp>
        <p:sp>
          <p:nvSpPr>
            <p:cNvPr id="19" name="Text Box 11"/>
            <p:cNvSpPr txBox="1">
              <a:spLocks noChangeArrowheads="1"/>
            </p:cNvSpPr>
            <p:nvPr/>
          </p:nvSpPr>
          <p:spPr bwMode="auto">
            <a:xfrm>
              <a:off x="1832630" y="2885771"/>
              <a:ext cx="1272365" cy="322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13488" tIns="56745" rIns="113488" bIns="56745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GB" sz="1200" b="1" dirty="0" smtClean="0">
                  <a:solidFill>
                    <a:srgbClr val="091C5A"/>
                  </a:solidFill>
                </a:rPr>
                <a:t>Prot-Cap</a:t>
              </a:r>
              <a:endParaRPr lang="en-US" sz="1200" b="1" dirty="0">
                <a:solidFill>
                  <a:srgbClr val="091C5A"/>
                </a:solidFill>
              </a:endParaRPr>
            </a:p>
          </p:txBody>
        </p:sp>
        <p:sp>
          <p:nvSpPr>
            <p:cNvPr id="20" name="Text Box 11"/>
            <p:cNvSpPr txBox="1">
              <a:spLocks noChangeArrowheads="1"/>
            </p:cNvSpPr>
            <p:nvPr/>
          </p:nvSpPr>
          <p:spPr bwMode="auto">
            <a:xfrm>
              <a:off x="4145521" y="2441014"/>
              <a:ext cx="1363665" cy="5211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13488" tIns="56745" rIns="113488" bIns="56745">
              <a:spAutoFit/>
            </a:bodyPr>
            <a:lstStyle/>
            <a:p>
              <a:pPr algn="ctr" eaLnBrk="0" hangingPunct="0"/>
              <a:r>
                <a:rPr lang="en-GB" sz="1200" b="1" dirty="0" smtClean="0">
                  <a:solidFill>
                    <a:srgbClr val="091C5A"/>
                  </a:solidFill>
                </a:rPr>
                <a:t>Ideal</a:t>
              </a:r>
            </a:p>
            <a:p>
              <a:pPr algn="ctr" eaLnBrk="0" hangingPunct="0"/>
              <a:r>
                <a:rPr lang="en-GB" sz="1200" b="1" dirty="0" smtClean="0">
                  <a:solidFill>
                    <a:srgbClr val="091C5A"/>
                  </a:solidFill>
                </a:rPr>
                <a:t>Danny</a:t>
              </a:r>
              <a:endParaRPr lang="en-US" sz="1200" b="1" dirty="0">
                <a:solidFill>
                  <a:srgbClr val="091C5A"/>
                </a:solidFill>
              </a:endParaRPr>
            </a:p>
          </p:txBody>
        </p:sp>
        <p:sp>
          <p:nvSpPr>
            <p:cNvPr id="21" name="Freeform 35"/>
            <p:cNvSpPr>
              <a:spLocks/>
            </p:cNvSpPr>
            <p:nvPr/>
          </p:nvSpPr>
          <p:spPr bwMode="gray">
            <a:xfrm>
              <a:off x="4736976" y="4405166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2" name="Text Box 48"/>
            <p:cNvSpPr txBox="1">
              <a:spLocks noChangeArrowheads="1"/>
            </p:cNvSpPr>
            <p:nvPr/>
          </p:nvSpPr>
          <p:spPr bwMode="auto">
            <a:xfrm>
              <a:off x="4585477" y="699336"/>
              <a:ext cx="1346183" cy="3977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/>
              <a:r>
                <a:rPr lang="en-GB" b="1" dirty="0" smtClean="0">
                  <a:solidFill>
                    <a:srgbClr val="012C57"/>
                  </a:solidFill>
                </a:rPr>
                <a:t>Revenue</a:t>
              </a:r>
              <a:endParaRPr lang="en-GB" b="1" dirty="0">
                <a:solidFill>
                  <a:srgbClr val="012C57"/>
                </a:solidFill>
              </a:endParaRPr>
            </a:p>
          </p:txBody>
        </p:sp>
        <p:grpSp>
          <p:nvGrpSpPr>
            <p:cNvPr id="23" name="Group 55"/>
            <p:cNvGrpSpPr>
              <a:grpSpLocks/>
            </p:cNvGrpSpPr>
            <p:nvPr/>
          </p:nvGrpSpPr>
          <p:grpSpPr bwMode="auto">
            <a:xfrm>
              <a:off x="3334116" y="3597190"/>
              <a:ext cx="73025" cy="147638"/>
              <a:chOff x="68" y="2024"/>
              <a:chExt cx="46" cy="93"/>
            </a:xfrm>
          </p:grpSpPr>
          <p:sp>
            <p:nvSpPr>
              <p:cNvPr id="24" name="Line 39"/>
              <p:cNvSpPr>
                <a:spLocks noChangeShapeType="1"/>
              </p:cNvSpPr>
              <p:nvPr>
                <p:custDataLst>
                  <p:tags r:id="rId1"/>
                </p:custDataLst>
              </p:nvPr>
            </p:nvSpPr>
            <p:spPr bwMode="gray">
              <a:xfrm flipH="1">
                <a:off x="89" y="2025"/>
                <a:ext cx="25" cy="92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wrap="none" tIns="91440" bIns="91440" anchor="ctr"/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5" name="Line 40"/>
              <p:cNvSpPr>
                <a:spLocks noChangeShapeType="1"/>
              </p:cNvSpPr>
              <p:nvPr>
                <p:custDataLst>
                  <p:tags r:id="rId2"/>
                </p:custDataLst>
              </p:nvPr>
            </p:nvSpPr>
            <p:spPr bwMode="gray">
              <a:xfrm flipH="1">
                <a:off x="68" y="2024"/>
                <a:ext cx="25" cy="92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wrap="none" tIns="91440" bIns="91440" anchor="ctr"/>
              <a:lstStyle/>
              <a:p>
                <a:endParaRPr lang="en-GB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6" name="Text Box 11"/>
            <p:cNvSpPr txBox="1">
              <a:spLocks noChangeArrowheads="1"/>
            </p:cNvSpPr>
            <p:nvPr/>
          </p:nvSpPr>
          <p:spPr bwMode="auto">
            <a:xfrm>
              <a:off x="5322979" y="2386746"/>
              <a:ext cx="1363665" cy="3222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13488" tIns="56745" rIns="113488" bIns="56745">
              <a:spAutoFit/>
            </a:bodyPr>
            <a:lstStyle/>
            <a:p>
              <a:pPr algn="ctr" eaLnBrk="0" hangingPunct="0"/>
              <a:r>
                <a:rPr lang="en-GB" sz="1200" b="1" dirty="0" smtClean="0">
                  <a:solidFill>
                    <a:srgbClr val="091C5A"/>
                  </a:solidFill>
                </a:rPr>
                <a:t>Vicsa</a:t>
              </a:r>
              <a:endParaRPr lang="en-US" sz="1200" b="1" dirty="0">
                <a:solidFill>
                  <a:srgbClr val="091C5A"/>
                </a:solidFill>
              </a:endParaRPr>
            </a:p>
          </p:txBody>
        </p:sp>
        <p:sp>
          <p:nvSpPr>
            <p:cNvPr id="27" name="Text Box 11"/>
            <p:cNvSpPr txBox="1">
              <a:spLocks noChangeArrowheads="1"/>
            </p:cNvSpPr>
            <p:nvPr/>
          </p:nvSpPr>
          <p:spPr bwMode="auto">
            <a:xfrm>
              <a:off x="6235261" y="1268760"/>
              <a:ext cx="1944216" cy="9188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113488" tIns="56745" rIns="113488" bIns="56745">
              <a:spAutoFit/>
            </a:bodyPr>
            <a:lstStyle/>
            <a:p>
              <a:pPr algn="ctr" eaLnBrk="0" hangingPunct="0"/>
              <a:r>
                <a:rPr lang="en-GB" sz="1200" b="1" dirty="0" smtClean="0">
                  <a:solidFill>
                    <a:srgbClr val="091C5A"/>
                  </a:solidFill>
                </a:rPr>
                <a:t>Labor</a:t>
              </a:r>
            </a:p>
            <a:p>
              <a:pPr algn="ctr" eaLnBrk="0" hangingPunct="0"/>
              <a:r>
                <a:rPr lang="en-GB" sz="1200" b="1" dirty="0" smtClean="0">
                  <a:solidFill>
                    <a:srgbClr val="091C5A"/>
                  </a:solidFill>
                </a:rPr>
                <a:t>Espomega</a:t>
              </a:r>
            </a:p>
            <a:p>
              <a:pPr algn="ctr" eaLnBrk="0" hangingPunct="0"/>
              <a:r>
                <a:rPr lang="en-GB" sz="1200" b="1" dirty="0" smtClean="0">
                  <a:solidFill>
                    <a:srgbClr val="091C5A"/>
                  </a:solidFill>
                </a:rPr>
                <a:t>ProEpta</a:t>
              </a:r>
            </a:p>
            <a:p>
              <a:pPr algn="ctr" eaLnBrk="0" hangingPunct="0"/>
              <a:r>
                <a:rPr lang="en-GB" sz="1200" b="1" dirty="0" smtClean="0">
                  <a:solidFill>
                    <a:srgbClr val="091C5A"/>
                  </a:solidFill>
                </a:rPr>
                <a:t>De Santis</a:t>
              </a:r>
              <a:endParaRPr lang="en-US" sz="1200" b="1" dirty="0">
                <a:solidFill>
                  <a:srgbClr val="091C5A"/>
                </a:solidFill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gray">
            <a:xfrm>
              <a:off x="7125614" y="5120265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35"/>
            <p:cNvSpPr>
              <a:spLocks/>
            </p:cNvSpPr>
            <p:nvPr/>
          </p:nvSpPr>
          <p:spPr bwMode="gray">
            <a:xfrm>
              <a:off x="5908982" y="4405166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35"/>
            <p:cNvSpPr>
              <a:spLocks/>
            </p:cNvSpPr>
            <p:nvPr/>
          </p:nvSpPr>
          <p:spPr bwMode="gray">
            <a:xfrm>
              <a:off x="5908982" y="4035265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35"/>
            <p:cNvSpPr>
              <a:spLocks/>
            </p:cNvSpPr>
            <p:nvPr/>
          </p:nvSpPr>
          <p:spPr bwMode="gray">
            <a:xfrm>
              <a:off x="7125614" y="4405166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35"/>
            <p:cNvSpPr>
              <a:spLocks/>
            </p:cNvSpPr>
            <p:nvPr/>
          </p:nvSpPr>
          <p:spPr bwMode="gray">
            <a:xfrm>
              <a:off x="7125614" y="4035265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35"/>
            <p:cNvSpPr>
              <a:spLocks/>
            </p:cNvSpPr>
            <p:nvPr/>
          </p:nvSpPr>
          <p:spPr bwMode="gray">
            <a:xfrm>
              <a:off x="4736976" y="4035265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35"/>
            <p:cNvSpPr>
              <a:spLocks/>
            </p:cNvSpPr>
            <p:nvPr/>
          </p:nvSpPr>
          <p:spPr bwMode="gray">
            <a:xfrm>
              <a:off x="3512840" y="4005064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gray">
            <a:xfrm>
              <a:off x="2360712" y="4035265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gray">
            <a:xfrm>
              <a:off x="7125614" y="4767501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gray">
            <a:xfrm>
              <a:off x="8337376" y="5123408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35"/>
            <p:cNvSpPr>
              <a:spLocks/>
            </p:cNvSpPr>
            <p:nvPr/>
          </p:nvSpPr>
          <p:spPr bwMode="gray">
            <a:xfrm>
              <a:off x="8337376" y="4408309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35"/>
            <p:cNvSpPr>
              <a:spLocks/>
            </p:cNvSpPr>
            <p:nvPr/>
          </p:nvSpPr>
          <p:spPr bwMode="gray">
            <a:xfrm>
              <a:off x="8337376" y="4038408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gray">
            <a:xfrm>
              <a:off x="8337376" y="4770644"/>
              <a:ext cx="163512" cy="177800"/>
            </a:xfrm>
            <a:custGeom>
              <a:avLst/>
              <a:gdLst/>
              <a:ahLst/>
              <a:cxnLst>
                <a:cxn ang="0">
                  <a:pos x="2" y="264"/>
                </a:cxn>
                <a:cxn ang="0">
                  <a:pos x="78" y="380"/>
                </a:cxn>
                <a:cxn ang="0">
                  <a:pos x="132" y="378"/>
                </a:cxn>
                <a:cxn ang="0">
                  <a:pos x="352" y="26"/>
                </a:cxn>
                <a:cxn ang="0">
                  <a:pos x="296" y="14"/>
                </a:cxn>
                <a:cxn ang="0">
                  <a:pos x="102" y="304"/>
                </a:cxn>
                <a:cxn ang="0">
                  <a:pos x="28" y="242"/>
                </a:cxn>
                <a:cxn ang="0">
                  <a:pos x="2" y="264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06C245"/>
            </a:solidFill>
            <a:ln w="9525" cap="flat" cmpd="sng">
              <a:solidFill>
                <a:srgbClr val="06C24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91440" bIns="91440" anchor="ctr"/>
            <a:lstStyle/>
            <a:p>
              <a:endParaRPr lang="en-GB" dirty="0">
                <a:solidFill>
                  <a:prstClr val="black"/>
                </a:solidFill>
              </a:endParaRPr>
            </a:p>
          </p:txBody>
        </p:sp>
      </p:grpSp>
      <p:sp>
        <p:nvSpPr>
          <p:cNvPr id="42" name="Text Box 11"/>
          <p:cNvSpPr txBox="1">
            <a:spLocks noChangeArrowheads="1"/>
          </p:cNvSpPr>
          <p:nvPr/>
        </p:nvSpPr>
        <p:spPr bwMode="auto">
          <a:xfrm>
            <a:off x="7940107" y="831771"/>
            <a:ext cx="1944216" cy="668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3488" tIns="56745" rIns="113488" bIns="56745">
            <a:spAutoFit/>
          </a:bodyPr>
          <a:lstStyle/>
          <a:p>
            <a:pPr algn="ctr" eaLnBrk="0" hangingPunct="0"/>
            <a:r>
              <a:rPr lang="en-US" sz="1200" b="1" dirty="0" smtClean="0">
                <a:solidFill>
                  <a:srgbClr val="091C5A"/>
                </a:solidFill>
              </a:rPr>
              <a:t>Lamedid</a:t>
            </a:r>
          </a:p>
          <a:p>
            <a:pPr algn="ctr" eaLnBrk="0" hangingPunct="0"/>
            <a:r>
              <a:rPr lang="en-US" sz="1200" b="1" dirty="0" err="1" smtClean="0">
                <a:solidFill>
                  <a:srgbClr val="091C5A"/>
                </a:solidFill>
              </a:rPr>
              <a:t>Tecno</a:t>
            </a:r>
            <a:r>
              <a:rPr lang="en-US" sz="1200" b="1" dirty="0" smtClean="0">
                <a:solidFill>
                  <a:srgbClr val="091C5A"/>
                </a:solidFill>
              </a:rPr>
              <a:t> </a:t>
            </a:r>
            <a:r>
              <a:rPr lang="en-US" sz="1200" b="1" dirty="0" err="1" smtClean="0">
                <a:solidFill>
                  <a:srgbClr val="091C5A"/>
                </a:solidFill>
              </a:rPr>
              <a:t>Boga</a:t>
            </a:r>
            <a:endParaRPr lang="en-US" sz="1200" b="1" dirty="0" smtClean="0">
              <a:solidFill>
                <a:srgbClr val="091C5A"/>
              </a:solidFill>
            </a:endParaRPr>
          </a:p>
          <a:p>
            <a:pPr algn="ctr" eaLnBrk="0" hangingPunct="0"/>
            <a:r>
              <a:rPr lang="en-US" sz="1200" b="1" dirty="0" smtClean="0">
                <a:solidFill>
                  <a:srgbClr val="091C5A"/>
                </a:solidFill>
              </a:rPr>
              <a:t>JPLUS</a:t>
            </a:r>
            <a:endParaRPr lang="en-US" sz="1200" b="1" dirty="0">
              <a:solidFill>
                <a:srgbClr val="091C5A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88274" y="2626331"/>
            <a:ext cx="204444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spc="-20" dirty="0" smtClean="0">
                <a:solidFill>
                  <a:srgbClr val="003E7E"/>
                </a:solidFill>
              </a:rPr>
              <a:t>Annualised </a:t>
            </a:r>
            <a:r>
              <a:rPr lang="en-GB" sz="1600" b="1" spc="-20" dirty="0">
                <a:solidFill>
                  <a:srgbClr val="003E7E"/>
                </a:solidFill>
              </a:rPr>
              <a:t>revenue </a:t>
            </a:r>
            <a:r>
              <a:rPr lang="en-GB" sz="1600" b="1" spc="-20" dirty="0" smtClean="0">
                <a:solidFill>
                  <a:srgbClr val="003E7E"/>
                </a:solidFill>
              </a:rPr>
              <a:t>now £234m with CAGR of  </a:t>
            </a:r>
          </a:p>
          <a:p>
            <a:r>
              <a:rPr lang="en-GB" sz="4400" b="1" spc="-20" dirty="0" smtClean="0">
                <a:solidFill>
                  <a:srgbClr val="7AC142"/>
                </a:solidFill>
              </a:rPr>
              <a:t>30%</a:t>
            </a:r>
            <a:endParaRPr lang="en-GB" sz="4400" b="1" spc="-20" dirty="0">
              <a:solidFill>
                <a:srgbClr val="7AC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0390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ys.zY3Gka.unNjtE5c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ys.zY3Gka.unNjtE5c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lQpdIhMUK7q458I_mw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lQpdIhMUK7q458I_mw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lQpdIhMUK7q458I_mw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lQpdIhMUK7q458I_mw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lQpdIhMUK7q458I_mwRg"/>
</p:tagLst>
</file>

<file path=ppt/theme/theme1.xml><?xml version="1.0" encoding="utf-8"?>
<a:theme xmlns:a="http://schemas.openxmlformats.org/drawingml/2006/main" name="A4MASTER_Template">
  <a:themeElements>
    <a:clrScheme name="Bunzl">
      <a:dk1>
        <a:sysClr val="windowText" lastClr="000000"/>
      </a:dk1>
      <a:lt1>
        <a:sysClr val="window" lastClr="FFFFFF"/>
      </a:lt1>
      <a:dk2>
        <a:srgbClr val="424242"/>
      </a:dk2>
      <a:lt2>
        <a:srgbClr val="EEECE1"/>
      </a:lt2>
      <a:accent1>
        <a:srgbClr val="012C57"/>
      </a:accent1>
      <a:accent2>
        <a:srgbClr val="7CC343"/>
      </a:accent2>
      <a:accent3>
        <a:srgbClr val="F7A42C"/>
      </a:accent3>
      <a:accent4>
        <a:srgbClr val="2B65B0"/>
      </a:accent4>
      <a:accent5>
        <a:srgbClr val="C25F9F"/>
      </a:accent5>
      <a:accent6>
        <a:srgbClr val="5EAA51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4MASTER_Template</Template>
  <TotalTime>5954</TotalTime>
  <Words>418</Words>
  <Application>Microsoft Office PowerPoint</Application>
  <PresentationFormat>A4 Paper (210x297 mm)</PresentationFormat>
  <Paragraphs>117</Paragraphs>
  <Slides>7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A4MASTER_Template</vt:lpstr>
      <vt:lpstr>Development of  business in LATAM   </vt:lpstr>
      <vt:lpstr>About us</vt:lpstr>
      <vt:lpstr>2013 Business area analysis</vt:lpstr>
      <vt:lpstr>Attractive customer markets </vt:lpstr>
      <vt:lpstr>Entry into Brazil</vt:lpstr>
      <vt:lpstr>Development of LATAM</vt:lpstr>
      <vt:lpstr>Strong growth in LATAM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4 Master Template</dc:title>
  <dc:creator>Victoria Cresswell</dc:creator>
  <cp:lastModifiedBy>gaynorp</cp:lastModifiedBy>
  <cp:revision>295</cp:revision>
  <cp:lastPrinted>2014-08-27T09:30:10Z</cp:lastPrinted>
  <dcterms:created xsi:type="dcterms:W3CDTF">2014-05-12T09:39:37Z</dcterms:created>
  <dcterms:modified xsi:type="dcterms:W3CDTF">2015-01-28T15:17:53Z</dcterms:modified>
</cp:coreProperties>
</file>